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Override6.xml" ContentType="application/vnd.openxmlformats-officedocument.themeOverride+xml"/>
  <Override PartName="/ppt/tags/tag10.xml" ContentType="application/vnd.openxmlformats-officedocument.presentationml.tags+xml"/>
  <Override PartName="/ppt/theme/themeOverride7.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8.xml" ContentType="application/vnd.openxmlformats-officedocument.themeOverride+xml"/>
  <Override PartName="/ppt/tags/tag13.xml" ContentType="application/vnd.openxmlformats-officedocument.presentationml.tags+xml"/>
  <Override PartName="/ppt/theme/themeOverride9.xml" ContentType="application/vnd.openxmlformats-officedocument.themeOverride+xml"/>
  <Override PartName="/ppt/tags/tag14.xml" ContentType="application/vnd.openxmlformats-officedocument.presentationml.tags+xml"/>
  <Override PartName="/ppt/theme/themeOverride10.xml" ContentType="application/vnd.openxmlformats-officedocument.themeOverride+xml"/>
  <Override PartName="/ppt/tags/tag15.xml" ContentType="application/vnd.openxmlformats-officedocument.presentationml.tags+xml"/>
  <Override PartName="/ppt/theme/themeOverride11.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heme/themeOverride12.xml" ContentType="application/vnd.openxmlformats-officedocument.themeOverride+xml"/>
  <Override PartName="/ppt/tags/tag18.xml" ContentType="application/vnd.openxmlformats-officedocument.presentationml.tags+xml"/>
  <Override PartName="/ppt/theme/themeOverride13.xml" ContentType="application/vnd.openxmlformats-officedocument.themeOverride+xml"/>
  <Override PartName="/ppt/tags/tag19.xml" ContentType="application/vnd.openxmlformats-officedocument.presentationml.tags+xml"/>
  <Override PartName="/ppt/theme/themeOverride14.xml" ContentType="application/vnd.openxmlformats-officedocument.themeOverride+xml"/>
  <Override PartName="/ppt/tags/tag20.xml" ContentType="application/vnd.openxmlformats-officedocument.presentationml.tags+xml"/>
  <Override PartName="/ppt/theme/themeOverride15.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theme/themeOverride16.xml" ContentType="application/vnd.openxmlformats-officedocument.themeOverride+xml"/>
  <Override PartName="/ppt/tags/tag23.xml" ContentType="application/vnd.openxmlformats-officedocument.presentationml.tags+xml"/>
  <Override PartName="/ppt/theme/themeOverride17.xml" ContentType="application/vnd.openxmlformats-officedocument.themeOverride+xml"/>
  <Override PartName="/ppt/tags/tag24.xml" ContentType="application/vnd.openxmlformats-officedocument.presentationml.tags+xml"/>
  <Override PartName="/ppt/theme/themeOverride18.xml" ContentType="application/vnd.openxmlformats-officedocument.themeOverride+xml"/>
  <Override PartName="/ppt/tags/tag25.xml" ContentType="application/vnd.openxmlformats-officedocument.presentationml.tags+xml"/>
  <Override PartName="/ppt/theme/themeOverride19.xml" ContentType="application/vnd.openxmlformats-officedocument.themeOverride+xml"/>
  <Override PartName="/ppt/tags/tag26.xml" ContentType="application/vnd.openxmlformats-officedocument.presentationml.tags+xml"/>
  <Override PartName="/ppt/theme/themeOverride20.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theme/themeOverride21.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theme/themeOverride22.xml" ContentType="application/vnd.openxmlformats-officedocument.themeOverride+xml"/>
  <Override PartName="/ppt/tags/tag31.xml" ContentType="application/vnd.openxmlformats-officedocument.presentationml.tags+xml"/>
  <Override PartName="/ppt/theme/themeOverride23.xml" ContentType="application/vnd.openxmlformats-officedocument.themeOverride+xml"/>
  <Override PartName="/ppt/tags/tag32.xml" ContentType="application/vnd.openxmlformats-officedocument.presentationml.tags+xml"/>
  <Override PartName="/ppt/theme/themeOverride24.xml" ContentType="application/vnd.openxmlformats-officedocument.themeOverride+xml"/>
  <Override PartName="/ppt/tags/tag33.xml" ContentType="application/vnd.openxmlformats-officedocument.presentationml.tags+xml"/>
  <Override PartName="/ppt/theme/themeOverride25.xml" ContentType="application/vnd.openxmlformats-officedocument.themeOverride+xml"/>
  <Override PartName="/ppt/tags/tag34.xml" ContentType="application/vnd.openxmlformats-officedocument.presentationml.tags+xml"/>
  <Override PartName="/ppt/theme/themeOverride26.xml" ContentType="application/vnd.openxmlformats-officedocument.themeOverride+xml"/>
  <Override PartName="/ppt/tags/tag35.xml" ContentType="application/vnd.openxmlformats-officedocument.presentationml.tags+xml"/>
  <Override PartName="/ppt/theme/themeOverride27.xml" ContentType="application/vnd.openxmlformats-officedocument.themeOverr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1"/>
  </p:notesMasterIdLst>
  <p:handoutMasterIdLst>
    <p:handoutMasterId r:id="rId32"/>
  </p:handoutMasterIdLst>
  <p:sldIdLst>
    <p:sldId id="256" r:id="rId2"/>
    <p:sldId id="269" r:id="rId3"/>
    <p:sldId id="258" r:id="rId4"/>
    <p:sldId id="273" r:id="rId5"/>
    <p:sldId id="274" r:id="rId6"/>
    <p:sldId id="275" r:id="rId7"/>
    <p:sldId id="276" r:id="rId8"/>
    <p:sldId id="278" r:id="rId9"/>
    <p:sldId id="279" r:id="rId10"/>
    <p:sldId id="280" r:id="rId11"/>
    <p:sldId id="281" r:id="rId12"/>
    <p:sldId id="282" r:id="rId13"/>
    <p:sldId id="284" r:id="rId14"/>
    <p:sldId id="285" r:id="rId15"/>
    <p:sldId id="286" r:id="rId16"/>
    <p:sldId id="287" r:id="rId17"/>
    <p:sldId id="290" r:id="rId18"/>
    <p:sldId id="291" r:id="rId19"/>
    <p:sldId id="292" r:id="rId20"/>
    <p:sldId id="293" r:id="rId21"/>
    <p:sldId id="294" r:id="rId22"/>
    <p:sldId id="296" r:id="rId23"/>
    <p:sldId id="297" r:id="rId24"/>
    <p:sldId id="299" r:id="rId25"/>
    <p:sldId id="300" r:id="rId26"/>
    <p:sldId id="301" r:id="rId27"/>
    <p:sldId id="261" r:id="rId28"/>
    <p:sldId id="302" r:id="rId29"/>
    <p:sldId id="303" r:id="rId30"/>
  </p:sldIdLst>
  <p:sldSz cx="12192000" cy="6858000"/>
  <p:notesSz cx="6858000" cy="9144000"/>
  <p:custDataLst>
    <p:tags r:id="rId3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8B7"/>
    <a:srgbClr val="F08300"/>
    <a:srgbClr val="001736"/>
    <a:srgbClr val="041A34"/>
    <a:srgbClr val="003478"/>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4" autoAdjust="0"/>
    <p:restoredTop sz="96182" autoAdjust="0"/>
  </p:normalViewPr>
  <p:slideViewPr>
    <p:cSldViewPr snapToGrid="0">
      <p:cViewPr varScale="1">
        <p:scale>
          <a:sx n="89" d="100"/>
          <a:sy n="89" d="100"/>
        </p:scale>
        <p:origin x="418" y="67"/>
      </p:cViewPr>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0" d="100"/>
          <a:sy n="80" d="100"/>
        </p:scale>
        <p:origin x="3918"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3/7/24/Mon</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7/24/Mon</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1252538"/>
            <a:ext cx="6010275" cy="3381375"/>
          </a:xfrm>
        </p:spPr>
      </p:sp>
      <p:sp>
        <p:nvSpPr>
          <p:cNvPr id="3" name="Notes Placeholder 2"/>
          <p:cNvSpPr>
            <a:spLocks noGrp="1"/>
          </p:cNvSpPr>
          <p:nvPr>
            <p:ph type="body" idx="1"/>
          </p:nvPr>
        </p:nvSpPr>
        <p:spPr/>
        <p:txBody>
          <a:bodyPr/>
          <a:lstStyle/>
          <a:p>
            <a:endParaRPr lang="en-US" altLang="zh-CN" dirty="0"/>
          </a:p>
        </p:txBody>
      </p:sp>
      <p:sp>
        <p:nvSpPr>
          <p:cNvPr id="4" name="Slide Number Placeholder 3"/>
          <p:cNvSpPr>
            <a:spLocks noGrp="1"/>
          </p:cNvSpPr>
          <p:nvPr>
            <p:ph type="sldNum" sz="quarter" idx="5"/>
          </p:nvPr>
        </p:nvSpPr>
        <p:spPr/>
        <p:txBody>
          <a:bodyPr/>
          <a:lstStyle/>
          <a:p>
            <a:fld id="{4428CBA8-7810-4766-B530-356872D47133}" type="slidenum">
              <a:rPr lang="zh-CN" altLang="en-US" smtClean="0"/>
              <a:t>28</a:t>
            </a:fld>
            <a:endParaRPr lang="zh-CN" altLang="en-US"/>
          </a:p>
        </p:txBody>
      </p:sp>
    </p:spTree>
    <p:extLst>
      <p:ext uri="{BB962C8B-B14F-4D97-AF65-F5344CB8AC3E}">
        <p14:creationId xmlns:p14="http://schemas.microsoft.com/office/powerpoint/2010/main" val="15406584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14" name="Picture 41">
            <a:extLst>
              <a:ext uri="{FF2B5EF4-FFF2-40B4-BE49-F238E27FC236}">
                <a16:creationId xmlns:a16="http://schemas.microsoft.com/office/drawing/2014/main" id="{C8656260-0DAA-4BCA-956E-5DF150AF42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í$ľîḓè">
            <a:extLst>
              <a:ext uri="{FF2B5EF4-FFF2-40B4-BE49-F238E27FC236}">
                <a16:creationId xmlns:a16="http://schemas.microsoft.com/office/drawing/2014/main" id="{39121CC9-492B-472F-AB60-7D1F2427930D}"/>
              </a:ext>
            </a:extLst>
          </p:cNvPr>
          <p:cNvSpPr/>
          <p:nvPr userDrawn="1"/>
        </p:nvSpPr>
        <p:spPr>
          <a:xfrm>
            <a:off x="-3604" y="0"/>
            <a:ext cx="12192000" cy="685800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îṩ1idê">
            <a:extLst>
              <a:ext uri="{FF2B5EF4-FFF2-40B4-BE49-F238E27FC236}">
                <a16:creationId xmlns:a16="http://schemas.microsoft.com/office/drawing/2014/main" id="{DE7B807E-E01A-4AFD-9A50-20210CD7B21B}"/>
              </a:ext>
            </a:extLst>
          </p:cNvPr>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blipFill>
            <a:blip r:embed="rId3">
              <a:duotone>
                <a:schemeClr val="accent5">
                  <a:shade val="45000"/>
                  <a:satMod val="135000"/>
                </a:schemeClr>
                <a:prstClr val="white"/>
              </a:duotone>
            </a:blip>
            <a:srcRect/>
            <a:stretch>
              <a:fillRect l="-10885" r="-108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ïṣḷíḋé">
            <a:extLst>
              <a:ext uri="{FF2B5EF4-FFF2-40B4-BE49-F238E27FC236}">
                <a16:creationId xmlns:a16="http://schemas.microsoft.com/office/drawing/2014/main" id="{15D53D93-35DC-4E96-95E2-01CE36D06BED}"/>
              </a:ext>
            </a:extLst>
          </p:cNvPr>
          <p:cNvSpPr/>
          <p:nvPr userDrawn="1"/>
        </p:nvSpPr>
        <p:spPr>
          <a:xfrm>
            <a:off x="4906913" y="0"/>
            <a:ext cx="3955516" cy="365590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 name="iş1îḑé">
            <a:extLst>
              <a:ext uri="{FF2B5EF4-FFF2-40B4-BE49-F238E27FC236}">
                <a16:creationId xmlns:a16="http://schemas.microsoft.com/office/drawing/2014/main" id="{729DEC4C-6670-452D-9EAA-A600ABE860D6}"/>
              </a:ext>
            </a:extLst>
          </p:cNvPr>
          <p:cNvSpPr/>
          <p:nvPr userDrawn="1"/>
        </p:nvSpPr>
        <p:spPr>
          <a:xfrm>
            <a:off x="10490882" y="2022031"/>
            <a:ext cx="1697514" cy="2819365"/>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í$ḻïḓé">
            <a:extLst>
              <a:ext uri="{FF2B5EF4-FFF2-40B4-BE49-F238E27FC236}">
                <a16:creationId xmlns:a16="http://schemas.microsoft.com/office/drawing/2014/main" id="{41844EB8-6924-4FA7-BD8C-153CC5338BA7}"/>
              </a:ext>
            </a:extLst>
          </p:cNvPr>
          <p:cNvSpPr/>
          <p:nvPr userDrawn="1"/>
        </p:nvSpPr>
        <p:spPr>
          <a:xfrm>
            <a:off x="10073794" y="2366994"/>
            <a:ext cx="2118206" cy="3564196"/>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1" name="ïŝļîḍè">
            <a:extLst>
              <a:ext uri="{FF2B5EF4-FFF2-40B4-BE49-F238E27FC236}">
                <a16:creationId xmlns:a16="http://schemas.microsoft.com/office/drawing/2014/main" id="{C9A33AB4-1CF5-41FD-AFD9-8EAFEBEF518F}"/>
              </a:ext>
            </a:extLst>
          </p:cNvPr>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801" name="副标题 9800"/>
          <p:cNvSpPr>
            <a:spLocks noGrp="1"/>
          </p:cNvSpPr>
          <p:nvPr userDrawn="1">
            <p:ph type="subTitle" idx="1" hasCustomPrompt="1"/>
          </p:nvPr>
        </p:nvSpPr>
        <p:spPr>
          <a:xfrm>
            <a:off x="1071789" y="2069508"/>
            <a:ext cx="10447110" cy="558799"/>
          </a:xfrm>
        </p:spPr>
        <p:txBody>
          <a:bodyPr vert="horz" lIns="91440" tIns="45720" rIns="91440" bIns="45720" rtlCol="0" anchor="t">
            <a:normAutofit/>
          </a:bodyPr>
          <a:lstStyle>
            <a:lvl1pPr marL="0" indent="0">
              <a:buNone/>
              <a:defRPr lang="en-US" b="0" i="0" kern="2000" spc="2000" dirty="0">
                <a:solidFill>
                  <a:schemeClr val="accent3"/>
                </a:solidFill>
                <a:effectLst/>
                <a:latin typeface="Microsoft YaHei" panose="020B0503020204020204" pitchFamily="34" charset="-122"/>
                <a:ea typeface="Microsoft YaHei" panose="020B0503020204020204" pitchFamily="34" charset="-122"/>
              </a:defRPr>
            </a:lvl1pPr>
          </a:lstStyle>
          <a:p>
            <a:pPr marL="228589" lvl="0" indent="-228589"/>
            <a:r>
              <a:rPr lang="en-US" dirty="0"/>
              <a:t>Click to edit Master subtitle style</a:t>
            </a:r>
          </a:p>
        </p:txBody>
      </p:sp>
      <p:sp>
        <p:nvSpPr>
          <p:cNvPr id="9802" name="标题 9801"/>
          <p:cNvSpPr>
            <a:spLocks noGrp="1"/>
          </p:cNvSpPr>
          <p:nvPr userDrawn="1">
            <p:ph type="ctrTitle" hasCustomPrompt="1"/>
          </p:nvPr>
        </p:nvSpPr>
        <p:spPr>
          <a:xfrm>
            <a:off x="1080509" y="2717966"/>
            <a:ext cx="10438390" cy="2087481"/>
          </a:xfrm>
        </p:spPr>
        <p:txBody>
          <a:bodyPr vert="horz" lIns="91440" tIns="45720" rIns="91440" bIns="45720" rtlCol="0" anchor="b">
            <a:normAutofit/>
          </a:bodyPr>
          <a:lstStyle>
            <a:lvl1pPr marL="571500" indent="-571500">
              <a:buFont typeface="Arial" panose="020B0604020202020204" pitchFamily="34" charset="0"/>
              <a:buNone/>
              <a:defRPr lang="zh-CN" altLang="en-US" sz="4000" b="0" dirty="0">
                <a:solidFill>
                  <a:schemeClr val="accent1">
                    <a:lumMod val="50000"/>
                  </a:schemeClr>
                </a:solidFill>
              </a:defRPr>
            </a:lvl1pPr>
          </a:lstStyle>
          <a:p>
            <a:pPr marL="0" lvl="0" indent="0" fontAlgn="b">
              <a:lnSpc>
                <a:spcPct val="100000"/>
              </a:lnSpc>
              <a:buFont typeface="Arial" panose="020B0604020202020204" pitchFamily="34" charset="0"/>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1071789" y="5387317"/>
            <a:ext cx="10447110" cy="296271"/>
          </a:xfrm>
        </p:spPr>
        <p:txBody>
          <a:bodyPr vert="horz" lIns="91440" tIns="45720" rIns="91440" bIns="45720" rtlCol="0" anchor="ctr">
            <a:noAutofit/>
          </a:bodyPr>
          <a:lstStyle>
            <a:lvl1pPr marL="0" indent="0">
              <a:buNone/>
              <a:defRPr lang="en-US" altLang="zh-CN" sz="1400" b="0" dirty="0">
                <a:solidFill>
                  <a:schemeClr val="tx2"/>
                </a:solidFill>
              </a:defRPr>
            </a:lvl1pPr>
          </a:lstStyle>
          <a:p>
            <a:pPr marL="228589" lvl="0" indent="-228589"/>
            <a:r>
              <a:rPr lang="en-US" altLang="zh-CN" dirty="0"/>
              <a:t>Signature</a:t>
            </a:r>
          </a:p>
        </p:txBody>
      </p:sp>
      <p:sp>
        <p:nvSpPr>
          <p:cNvPr id="13" name="文本占位符 12"/>
          <p:cNvSpPr>
            <a:spLocks noGrp="1"/>
          </p:cNvSpPr>
          <p:nvPr userDrawn="1">
            <p:ph type="body" sz="quarter" idx="11" hasCustomPrompt="1"/>
          </p:nvPr>
        </p:nvSpPr>
        <p:spPr>
          <a:xfrm>
            <a:off x="1071789" y="5683588"/>
            <a:ext cx="10447110" cy="296271"/>
          </a:xfrm>
        </p:spPr>
        <p:txBody>
          <a:bodyPr vert="horz" lIns="91440" tIns="45720" rIns="91440" bIns="45720" rtlCol="0" anchor="ctr">
            <a:noAutofit/>
          </a:bodyPr>
          <a:lstStyle>
            <a:lvl1pPr marL="0" indent="0">
              <a:buNone/>
              <a:defRPr lang="zh-CN" altLang="en-US" sz="1400" b="0" dirty="0">
                <a:solidFill>
                  <a:schemeClr val="tx2"/>
                </a:solidFill>
              </a:defRPr>
            </a:lvl1pPr>
          </a:lstStyle>
          <a:p>
            <a:pPr marL="228589" lvl="0" indent="-228589"/>
            <a:r>
              <a:rPr lang="en-US" altLang="zh-CN" dirty="0"/>
              <a:t>Date</a:t>
            </a:r>
            <a:endParaRPr lang="zh-CN" altLang="en-US" dirty="0"/>
          </a:p>
        </p:txBody>
      </p:sp>
      <p:grpSp>
        <p:nvGrpSpPr>
          <p:cNvPr id="2" name="组合 1">
            <a:extLst>
              <a:ext uri="{FF2B5EF4-FFF2-40B4-BE49-F238E27FC236}">
                <a16:creationId xmlns:a16="http://schemas.microsoft.com/office/drawing/2014/main" id="{EDBA6F86-4A2D-4B39-9997-6BF685C13150}"/>
              </a:ext>
            </a:extLst>
          </p:cNvPr>
          <p:cNvGrpSpPr/>
          <p:nvPr userDrawn="1"/>
        </p:nvGrpSpPr>
        <p:grpSpPr>
          <a:xfrm>
            <a:off x="1071789" y="916886"/>
            <a:ext cx="2217511" cy="499112"/>
            <a:chOff x="1071789" y="916886"/>
            <a:chExt cx="2217511" cy="499112"/>
          </a:xfrm>
        </p:grpSpPr>
        <p:grpSp>
          <p:nvGrpSpPr>
            <p:cNvPr id="15" name="ï$ļidê">
              <a:extLst>
                <a:ext uri="{FF2B5EF4-FFF2-40B4-BE49-F238E27FC236}">
                  <a16:creationId xmlns:a16="http://schemas.microsoft.com/office/drawing/2014/main" id="{9F05585E-0700-4BBB-A9DD-3CA7AE3B5D52}"/>
                </a:ext>
              </a:extLst>
            </p:cNvPr>
            <p:cNvGrpSpPr/>
            <p:nvPr userDrawn="1"/>
          </p:nvGrpSpPr>
          <p:grpSpPr>
            <a:xfrm>
              <a:off x="1071789" y="916886"/>
              <a:ext cx="496620" cy="499112"/>
              <a:chOff x="1905000" y="2476500"/>
              <a:chExt cx="1898650" cy="1908175"/>
            </a:xfrm>
          </p:grpSpPr>
          <p:sp>
            <p:nvSpPr>
              <p:cNvPr id="16" name="íṡḷïdè">
                <a:extLst>
                  <a:ext uri="{FF2B5EF4-FFF2-40B4-BE49-F238E27FC236}">
                    <a16:creationId xmlns:a16="http://schemas.microsoft.com/office/drawing/2014/main" id="{C9C1E94C-2E47-4839-BD57-269DDF0A0248}"/>
                  </a:ext>
                </a:extLst>
              </p:cNvPr>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ṣ1îḑè">
                <a:extLst>
                  <a:ext uri="{FF2B5EF4-FFF2-40B4-BE49-F238E27FC236}">
                    <a16:creationId xmlns:a16="http://schemas.microsoft.com/office/drawing/2014/main" id="{E30692F5-62AB-4E1C-B013-47986D1105E8}"/>
                  </a:ext>
                </a:extLst>
              </p:cNvPr>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s1ïḍê">
                <a:extLst>
                  <a:ext uri="{FF2B5EF4-FFF2-40B4-BE49-F238E27FC236}">
                    <a16:creationId xmlns:a16="http://schemas.microsoft.com/office/drawing/2014/main" id="{A2A2899E-53F9-406B-ACFE-E199A7E73BB8}"/>
                  </a:ext>
                </a:extLst>
              </p:cNvPr>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išļïḋé">
                <a:extLst>
                  <a:ext uri="{FF2B5EF4-FFF2-40B4-BE49-F238E27FC236}">
                    <a16:creationId xmlns:a16="http://schemas.microsoft.com/office/drawing/2014/main" id="{51DBB156-1DE8-48FD-9CB9-9AA3D7180C56}"/>
                  </a:ext>
                </a:extLst>
              </p:cNvPr>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şḷîḋè">
                <a:extLst>
                  <a:ext uri="{FF2B5EF4-FFF2-40B4-BE49-F238E27FC236}">
                    <a16:creationId xmlns:a16="http://schemas.microsoft.com/office/drawing/2014/main" id="{91BB4CBC-7C27-4E15-A850-D8401C643978}"/>
                  </a:ext>
                </a:extLst>
              </p:cNvPr>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íślídê">
                <a:extLst>
                  <a:ext uri="{FF2B5EF4-FFF2-40B4-BE49-F238E27FC236}">
                    <a16:creationId xmlns:a16="http://schemas.microsoft.com/office/drawing/2014/main" id="{311EAFB6-5AA6-4C7B-AA29-57FA3AA5C1C7}"/>
                  </a:ext>
                </a:extLst>
              </p:cNvPr>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ḻîḋe">
                <a:extLst>
                  <a:ext uri="{FF2B5EF4-FFF2-40B4-BE49-F238E27FC236}">
                    <a16:creationId xmlns:a16="http://schemas.microsoft.com/office/drawing/2014/main" id="{7FC06178-89EF-406E-90A7-6E036FF2E402}"/>
                  </a:ext>
                </a:extLst>
              </p:cNvPr>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ŝḷîḓé">
                <a:extLst>
                  <a:ext uri="{FF2B5EF4-FFF2-40B4-BE49-F238E27FC236}">
                    <a16:creationId xmlns:a16="http://schemas.microsoft.com/office/drawing/2014/main" id="{360A0ED6-F5EB-4B85-8BEB-170C2CA34DFD}"/>
                  </a:ext>
                </a:extLst>
              </p:cNvPr>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şlîḑé">
                <a:extLst>
                  <a:ext uri="{FF2B5EF4-FFF2-40B4-BE49-F238E27FC236}">
                    <a16:creationId xmlns:a16="http://schemas.microsoft.com/office/drawing/2014/main" id="{5EBE9075-CB89-4B07-BF6B-F76C14A6A250}"/>
                  </a:ext>
                </a:extLst>
              </p:cNvPr>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headEnd/>
                <a:tailEnd/>
              </a:ln>
            </p:spPr>
            <p:txBody>
              <a:bodyPr anchor="ctr"/>
              <a:lstStyle/>
              <a:p>
                <a:pPr algn="ctr"/>
                <a:endParaRPr/>
              </a:p>
            </p:txBody>
          </p:sp>
          <p:sp>
            <p:nvSpPr>
              <p:cNvPr id="25" name="ïṣliḍe">
                <a:extLst>
                  <a:ext uri="{FF2B5EF4-FFF2-40B4-BE49-F238E27FC236}">
                    <a16:creationId xmlns:a16="http://schemas.microsoft.com/office/drawing/2014/main" id="{E60C8BD0-583B-4A7B-85AA-4B0DCBCCF7E9}"/>
                  </a:ext>
                </a:extLst>
              </p:cNvPr>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26" name="îṧľîḍe">
                <a:extLst>
                  <a:ext uri="{FF2B5EF4-FFF2-40B4-BE49-F238E27FC236}">
                    <a16:creationId xmlns:a16="http://schemas.microsoft.com/office/drawing/2014/main" id="{F7520B1E-9FF6-4490-9AF5-A6CD7BC5F07A}"/>
                  </a:ext>
                </a:extLst>
              </p:cNvPr>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ŝ1iďe">
                <a:extLst>
                  <a:ext uri="{FF2B5EF4-FFF2-40B4-BE49-F238E27FC236}">
                    <a16:creationId xmlns:a16="http://schemas.microsoft.com/office/drawing/2014/main" id="{7AF0FB22-382E-4C2F-947B-F3EE610E0E8A}"/>
                  </a:ext>
                </a:extLst>
              </p:cNvPr>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ļîḋè">
                <a:extLst>
                  <a:ext uri="{FF2B5EF4-FFF2-40B4-BE49-F238E27FC236}">
                    <a16:creationId xmlns:a16="http://schemas.microsoft.com/office/drawing/2014/main" id="{6CB97203-D927-4E59-8380-B0F6F4099087}"/>
                  </a:ext>
                </a:extLst>
              </p:cNvPr>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ṧlide">
                <a:extLst>
                  <a:ext uri="{FF2B5EF4-FFF2-40B4-BE49-F238E27FC236}">
                    <a16:creationId xmlns:a16="http://schemas.microsoft.com/office/drawing/2014/main" id="{C54E38DC-5B65-432F-BDF6-4E99EC2D3B7A}"/>
                  </a:ext>
                </a:extLst>
              </p:cNvPr>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ṣḷîḍè">
                <a:extLst>
                  <a:ext uri="{FF2B5EF4-FFF2-40B4-BE49-F238E27FC236}">
                    <a16:creationId xmlns:a16="http://schemas.microsoft.com/office/drawing/2014/main" id="{0EF5FD93-45AD-46A4-8202-FF32E73CE5AC}"/>
                  </a:ext>
                </a:extLst>
              </p:cNvPr>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ïṧḷîďé">
                <a:extLst>
                  <a:ext uri="{FF2B5EF4-FFF2-40B4-BE49-F238E27FC236}">
                    <a16:creationId xmlns:a16="http://schemas.microsoft.com/office/drawing/2014/main" id="{522232E4-4E21-4976-BFF1-3669AE8F576B}"/>
                  </a:ext>
                </a:extLst>
              </p:cNvPr>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ľíḍe">
                <a:extLst>
                  <a:ext uri="{FF2B5EF4-FFF2-40B4-BE49-F238E27FC236}">
                    <a16:creationId xmlns:a16="http://schemas.microsoft.com/office/drawing/2014/main" id="{2F9CAD39-E743-47FE-B65F-037B65C92EAD}"/>
                  </a:ext>
                </a:extLst>
              </p:cNvPr>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33" name="iṡlïḓè">
              <a:extLst>
                <a:ext uri="{FF2B5EF4-FFF2-40B4-BE49-F238E27FC236}">
                  <a16:creationId xmlns:a16="http://schemas.microsoft.com/office/drawing/2014/main" id="{C4B7F650-2D08-48CE-8874-0B637795FC37}"/>
                </a:ext>
              </a:extLst>
            </p:cNvPr>
            <p:cNvGrpSpPr/>
            <p:nvPr userDrawn="1"/>
          </p:nvGrpSpPr>
          <p:grpSpPr>
            <a:xfrm>
              <a:off x="1682758" y="962385"/>
              <a:ext cx="1606542" cy="289834"/>
              <a:chOff x="4164013" y="2535238"/>
              <a:chExt cx="6142038" cy="1108075"/>
            </a:xfrm>
            <a:solidFill>
              <a:srgbClr val="001736"/>
            </a:solidFill>
          </p:grpSpPr>
          <p:sp>
            <p:nvSpPr>
              <p:cNvPr id="34" name="îś1iḑe">
                <a:extLst>
                  <a:ext uri="{FF2B5EF4-FFF2-40B4-BE49-F238E27FC236}">
                    <a16:creationId xmlns:a16="http://schemas.microsoft.com/office/drawing/2014/main" id="{B2E0B3C9-EAF4-4A46-8835-CAD2AD4AABEC}"/>
                  </a:ext>
                </a:extLst>
              </p:cNvPr>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iṡlïḋé">
                <a:extLst>
                  <a:ext uri="{FF2B5EF4-FFF2-40B4-BE49-F238E27FC236}">
                    <a16:creationId xmlns:a16="http://schemas.microsoft.com/office/drawing/2014/main" id="{A1DA236C-E443-4CA3-8E69-9ED93BCF8C5B}"/>
                  </a:ext>
                </a:extLst>
              </p:cNvPr>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ṣḷiḑé">
                <a:extLst>
                  <a:ext uri="{FF2B5EF4-FFF2-40B4-BE49-F238E27FC236}">
                    <a16:creationId xmlns:a16="http://schemas.microsoft.com/office/drawing/2014/main" id="{E15FF73D-F61A-427D-AB3B-511EA8DE1FC5}"/>
                  </a:ext>
                </a:extLst>
              </p:cNvPr>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îṣlîḍe">
                <a:extLst>
                  <a:ext uri="{FF2B5EF4-FFF2-40B4-BE49-F238E27FC236}">
                    <a16:creationId xmlns:a16="http://schemas.microsoft.com/office/drawing/2014/main" id="{D3DE80C0-512C-4411-93F8-E5C37183A47C}"/>
                  </a:ext>
                </a:extLst>
              </p:cNvPr>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śļïďè">
                <a:extLst>
                  <a:ext uri="{FF2B5EF4-FFF2-40B4-BE49-F238E27FC236}">
                    <a16:creationId xmlns:a16="http://schemas.microsoft.com/office/drawing/2014/main" id="{D47DE5DB-7E72-4C9A-B7B2-CA92AAB3190B}"/>
                  </a:ext>
                </a:extLst>
              </p:cNvPr>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ṡľiḍê">
                <a:extLst>
                  <a:ext uri="{FF2B5EF4-FFF2-40B4-BE49-F238E27FC236}">
                    <a16:creationId xmlns:a16="http://schemas.microsoft.com/office/drawing/2014/main" id="{DCF47C1E-F0A9-4C5C-B389-E0633DB7C343}"/>
                  </a:ext>
                </a:extLst>
              </p:cNvPr>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40" name="iṧlide">
              <a:extLst>
                <a:ext uri="{FF2B5EF4-FFF2-40B4-BE49-F238E27FC236}">
                  <a16:creationId xmlns:a16="http://schemas.microsoft.com/office/drawing/2014/main" id="{39720CBA-2A4E-46FF-9592-8B7E3D032116}"/>
                </a:ext>
              </a:extLst>
            </p:cNvPr>
            <p:cNvGrpSpPr/>
            <p:nvPr userDrawn="1"/>
          </p:nvGrpSpPr>
          <p:grpSpPr>
            <a:xfrm>
              <a:off x="1681928" y="1301968"/>
              <a:ext cx="1596160" cy="99656"/>
              <a:chOff x="4195410" y="3864490"/>
              <a:chExt cx="5963974" cy="372361"/>
            </a:xfrm>
            <a:solidFill>
              <a:srgbClr val="001736"/>
            </a:solidFill>
          </p:grpSpPr>
          <p:sp>
            <p:nvSpPr>
              <p:cNvPr id="41" name="iş1íḍê">
                <a:extLst>
                  <a:ext uri="{FF2B5EF4-FFF2-40B4-BE49-F238E27FC236}">
                    <a16:creationId xmlns:a16="http://schemas.microsoft.com/office/drawing/2014/main" id="{5AA59F4F-3BD3-4320-B6EB-A2ED9B1D21E5}"/>
                  </a:ext>
                </a:extLst>
              </p:cNvPr>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şľiḓe">
                <a:extLst>
                  <a:ext uri="{FF2B5EF4-FFF2-40B4-BE49-F238E27FC236}">
                    <a16:creationId xmlns:a16="http://schemas.microsoft.com/office/drawing/2014/main" id="{E2DF964D-7146-4C25-A7D0-A519CF50AA41}"/>
                  </a:ext>
                </a:extLst>
              </p:cNvPr>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pic>
        <p:nvPicPr>
          <p:cNvPr id="13" name="图片 12" descr="草地上的建筑&#10;&#10;描述已自动生成">
            <a:extLst>
              <a:ext uri="{FF2B5EF4-FFF2-40B4-BE49-F238E27FC236}">
                <a16:creationId xmlns:a16="http://schemas.microsoft.com/office/drawing/2014/main" id="{BBFFA7F1-2C54-445A-92A8-E46F031D9171}"/>
              </a:ext>
            </a:extLst>
          </p:cNvPr>
          <p:cNvPicPr>
            <a:picLocks noChangeAspect="1"/>
          </p:cNvPicPr>
          <p:nvPr userDrawn="1"/>
        </p:nvPicPr>
        <p:blipFill>
          <a:blip r:embed="rId2" cstate="print">
            <a:alphaModFix amt="7000"/>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8998" y="-1"/>
            <a:ext cx="12173002" cy="6858000"/>
          </a:xfrm>
          <a:prstGeom prst="rect">
            <a:avLst/>
          </a:prstGeom>
        </p:spPr>
      </p:pic>
      <p:sp>
        <p:nvSpPr>
          <p:cNvPr id="11" name="ïṣḷïḋe">
            <a:extLst>
              <a:ext uri="{FF2B5EF4-FFF2-40B4-BE49-F238E27FC236}">
                <a16:creationId xmlns:a16="http://schemas.microsoft.com/office/drawing/2014/main" id="{F45ED433-40CE-4A52-8775-D14AFBBF996A}"/>
              </a:ext>
            </a:extLst>
          </p:cNvPr>
          <p:cNvSpPr/>
          <p:nvPr userDrawn="1"/>
        </p:nvSpPr>
        <p:spPr>
          <a:xfrm>
            <a:off x="1" y="3553277"/>
            <a:ext cx="3520161" cy="3304722"/>
          </a:xfrm>
          <a:custGeom>
            <a:avLst/>
            <a:gdLst>
              <a:gd name="connsiteX0" fmla="*/ 2267365 w 3520161"/>
              <a:gd name="connsiteY0" fmla="*/ 83 h 3304722"/>
              <a:gd name="connsiteX1" fmla="*/ 3070329 w 3520161"/>
              <a:gd name="connsiteY1" fmla="*/ 299271 h 3304722"/>
              <a:gd name="connsiteX2" fmla="*/ 3070328 w 3520161"/>
              <a:gd name="connsiteY2" fmla="*/ 299271 h 3304722"/>
              <a:gd name="connsiteX3" fmla="*/ 3220892 w 3520161"/>
              <a:gd name="connsiteY3" fmla="*/ 2086011 h 3304722"/>
              <a:gd name="connsiteX4" fmla="*/ 2191612 w 3520161"/>
              <a:gd name="connsiteY4" fmla="*/ 3304722 h 3304722"/>
              <a:gd name="connsiteX5" fmla="*/ 0 w 3520161"/>
              <a:gd name="connsiteY5" fmla="*/ 3304722 h 3304722"/>
              <a:gd name="connsiteX6" fmla="*/ 0 w 3520161"/>
              <a:gd name="connsiteY6" fmla="*/ 1969656 h 3304722"/>
              <a:gd name="connsiteX7" fmla="*/ 1283589 w 3520161"/>
              <a:gd name="connsiteY7" fmla="*/ 449834 h 3304722"/>
              <a:gd name="connsiteX8" fmla="*/ 2267365 w 3520161"/>
              <a:gd name="connsiteY8" fmla="*/ 83 h 330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0161" h="3304722">
                <a:moveTo>
                  <a:pt x="2267365" y="83"/>
                </a:moveTo>
                <a:cubicBezTo>
                  <a:pt x="2551510" y="3313"/>
                  <a:pt x="2836279" y="101600"/>
                  <a:pt x="3070329" y="299271"/>
                </a:cubicBezTo>
                <a:lnTo>
                  <a:pt x="3070328" y="299271"/>
                </a:lnTo>
                <a:cubicBezTo>
                  <a:pt x="3605301" y="751088"/>
                  <a:pt x="3672710" y="1551040"/>
                  <a:pt x="3220892" y="2086011"/>
                </a:cubicBezTo>
                <a:lnTo>
                  <a:pt x="2191612" y="3304722"/>
                </a:lnTo>
                <a:lnTo>
                  <a:pt x="0" y="3304722"/>
                </a:lnTo>
                <a:lnTo>
                  <a:pt x="0" y="1969656"/>
                </a:lnTo>
                <a:lnTo>
                  <a:pt x="1283589" y="449834"/>
                </a:lnTo>
                <a:cubicBezTo>
                  <a:pt x="1537736" y="148912"/>
                  <a:pt x="1902035" y="-4070"/>
                  <a:pt x="2267365" y="83"/>
                </a:cubicBezTo>
                <a:close/>
              </a:path>
            </a:pathLst>
          </a:custGeom>
          <a:blipFill>
            <a:blip r:embed="rId3">
              <a:duotone>
                <a:schemeClr val="accent3">
                  <a:shade val="45000"/>
                  <a:satMod val="135000"/>
                </a:schemeClr>
                <a:prstClr val="white"/>
              </a:duotone>
            </a:blip>
            <a:srcRect/>
            <a:stretch>
              <a:fillRect l="-33323" r="-3332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0" name="标题 19"/>
          <p:cNvSpPr>
            <a:spLocks noGrp="1"/>
          </p:cNvSpPr>
          <p:nvPr userDrawn="1">
            <p:ph type="title"/>
          </p:nvPr>
        </p:nvSpPr>
        <p:spPr>
          <a:xfrm>
            <a:off x="55524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553614" y="3429000"/>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6" name="iśľiḓè">
            <a:extLst>
              <a:ext uri="{FF2B5EF4-FFF2-40B4-BE49-F238E27FC236}">
                <a16:creationId xmlns:a16="http://schemas.microsoft.com/office/drawing/2014/main" id="{123C40B6-E7AA-4DA1-A1EA-507CB8D23762}"/>
              </a:ext>
            </a:extLst>
          </p:cNvPr>
          <p:cNvSpPr/>
          <p:nvPr userDrawn="1"/>
        </p:nvSpPr>
        <p:spPr>
          <a:xfrm flipH="1" flipV="1">
            <a:off x="1811471" y="4868985"/>
            <a:ext cx="2152019" cy="198901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7" name="îṡḷidé">
            <a:extLst>
              <a:ext uri="{FF2B5EF4-FFF2-40B4-BE49-F238E27FC236}">
                <a16:creationId xmlns:a16="http://schemas.microsoft.com/office/drawing/2014/main" id="{528AD497-350F-4116-A285-5614CF757254}"/>
              </a:ext>
            </a:extLst>
          </p:cNvPr>
          <p:cNvSpPr/>
          <p:nvPr userDrawn="1"/>
        </p:nvSpPr>
        <p:spPr>
          <a:xfrm flipH="1" flipV="1">
            <a:off x="1961" y="4224012"/>
            <a:ext cx="923541" cy="1533891"/>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íšļiďe">
            <a:extLst>
              <a:ext uri="{FF2B5EF4-FFF2-40B4-BE49-F238E27FC236}">
                <a16:creationId xmlns:a16="http://schemas.microsoft.com/office/drawing/2014/main" id="{13D6C137-EBF6-4B52-8D00-29B84A407F57}"/>
              </a:ext>
            </a:extLst>
          </p:cNvPr>
          <p:cNvSpPr/>
          <p:nvPr userDrawn="1"/>
        </p:nvSpPr>
        <p:spPr>
          <a:xfrm flipH="1" flipV="1">
            <a:off x="0" y="3631103"/>
            <a:ext cx="1152421" cy="1939120"/>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nvGrpSpPr>
          <p:cNvPr id="9" name="组合 8">
            <a:extLst>
              <a:ext uri="{FF2B5EF4-FFF2-40B4-BE49-F238E27FC236}">
                <a16:creationId xmlns:a16="http://schemas.microsoft.com/office/drawing/2014/main" id="{BFFFEFE1-FE65-42C5-B467-B40FC3F0A092}"/>
              </a:ext>
            </a:extLst>
          </p:cNvPr>
          <p:cNvGrpSpPr/>
          <p:nvPr userDrawn="1"/>
        </p:nvGrpSpPr>
        <p:grpSpPr>
          <a:xfrm>
            <a:off x="9724571" y="535076"/>
            <a:ext cx="1795916" cy="404220"/>
            <a:chOff x="1071789" y="916886"/>
            <a:chExt cx="2217511" cy="499112"/>
          </a:xfrm>
        </p:grpSpPr>
        <p:grpSp>
          <p:nvGrpSpPr>
            <p:cNvPr id="10" name="ï$ļidê">
              <a:extLst>
                <a:ext uri="{FF2B5EF4-FFF2-40B4-BE49-F238E27FC236}">
                  <a16:creationId xmlns:a16="http://schemas.microsoft.com/office/drawing/2014/main" id="{D6B7942D-1FC4-4324-844D-140A5C8D6B82}"/>
                </a:ext>
              </a:extLst>
            </p:cNvPr>
            <p:cNvGrpSpPr/>
            <p:nvPr userDrawn="1"/>
          </p:nvGrpSpPr>
          <p:grpSpPr>
            <a:xfrm>
              <a:off x="1071789" y="916886"/>
              <a:ext cx="496620" cy="499112"/>
              <a:chOff x="1905000" y="2476500"/>
              <a:chExt cx="1898650" cy="1908175"/>
            </a:xfrm>
          </p:grpSpPr>
          <p:sp>
            <p:nvSpPr>
              <p:cNvPr id="25" name="ïşļiḓe">
                <a:extLst>
                  <a:ext uri="{FF2B5EF4-FFF2-40B4-BE49-F238E27FC236}">
                    <a16:creationId xmlns:a16="http://schemas.microsoft.com/office/drawing/2014/main" id="{6938A7AE-6671-43B1-8E1C-E15651CA10A9}"/>
                  </a:ext>
                </a:extLst>
              </p:cNvPr>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sľîḍe">
                <a:extLst>
                  <a:ext uri="{FF2B5EF4-FFF2-40B4-BE49-F238E27FC236}">
                    <a16:creationId xmlns:a16="http://schemas.microsoft.com/office/drawing/2014/main" id="{0419830F-0751-4CF3-B14F-C29C2583C5F6}"/>
                  </a:ext>
                </a:extLst>
              </p:cNvPr>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sḻiḓè">
                <a:extLst>
                  <a:ext uri="{FF2B5EF4-FFF2-40B4-BE49-F238E27FC236}">
                    <a16:creationId xmlns:a16="http://schemas.microsoft.com/office/drawing/2014/main" id="{04D17CC4-931C-45A1-A18D-9350E99812F5}"/>
                  </a:ext>
                </a:extLst>
              </p:cNvPr>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ïṧḷïḍé">
                <a:extLst>
                  <a:ext uri="{FF2B5EF4-FFF2-40B4-BE49-F238E27FC236}">
                    <a16:creationId xmlns:a16="http://schemas.microsoft.com/office/drawing/2014/main" id="{222ACFAB-7BF9-49DF-908C-8B639997C4CF}"/>
                  </a:ext>
                </a:extLst>
              </p:cNvPr>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şļidè">
                <a:extLst>
                  <a:ext uri="{FF2B5EF4-FFF2-40B4-BE49-F238E27FC236}">
                    <a16:creationId xmlns:a16="http://schemas.microsoft.com/office/drawing/2014/main" id="{5881DE1F-926E-4434-B24B-C193FD00B25A}"/>
                  </a:ext>
                </a:extLst>
              </p:cNvPr>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ïşḷîde">
                <a:extLst>
                  <a:ext uri="{FF2B5EF4-FFF2-40B4-BE49-F238E27FC236}">
                    <a16:creationId xmlns:a16="http://schemas.microsoft.com/office/drawing/2014/main" id="{DDB1C6B8-D9EF-4FBC-AA39-0548B5197C71}"/>
                  </a:ext>
                </a:extLst>
              </p:cNvPr>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şľíḋé">
                <a:extLst>
                  <a:ext uri="{FF2B5EF4-FFF2-40B4-BE49-F238E27FC236}">
                    <a16:creationId xmlns:a16="http://schemas.microsoft.com/office/drawing/2014/main" id="{95E045EE-4E12-4070-9889-4339B0947CD7}"/>
                  </a:ext>
                </a:extLst>
              </p:cNvPr>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ḻîďê">
                <a:extLst>
                  <a:ext uri="{FF2B5EF4-FFF2-40B4-BE49-F238E27FC236}">
                    <a16:creationId xmlns:a16="http://schemas.microsoft.com/office/drawing/2014/main" id="{97E3FB5F-B878-4BD3-B57C-F22DFFF3549A}"/>
                  </a:ext>
                </a:extLst>
              </p:cNvPr>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s1ide">
                <a:extLst>
                  <a:ext uri="{FF2B5EF4-FFF2-40B4-BE49-F238E27FC236}">
                    <a16:creationId xmlns:a16="http://schemas.microsoft.com/office/drawing/2014/main" id="{12F38D4F-65AD-4CCD-91E4-71511C5C49F7}"/>
                  </a:ext>
                </a:extLst>
              </p:cNvPr>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headEnd/>
                <a:tailEnd/>
              </a:ln>
            </p:spPr>
            <p:txBody>
              <a:bodyPr anchor="ctr"/>
              <a:lstStyle/>
              <a:p>
                <a:pPr algn="ctr"/>
                <a:endParaRPr/>
              </a:p>
            </p:txBody>
          </p:sp>
          <p:sp>
            <p:nvSpPr>
              <p:cNvPr id="34" name="ísļïḍê">
                <a:extLst>
                  <a:ext uri="{FF2B5EF4-FFF2-40B4-BE49-F238E27FC236}">
                    <a16:creationId xmlns:a16="http://schemas.microsoft.com/office/drawing/2014/main" id="{893EEA19-7F57-4485-9789-A233D56A51A6}"/>
                  </a:ext>
                </a:extLst>
              </p:cNvPr>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35" name="îṣ1ïḑé">
                <a:extLst>
                  <a:ext uri="{FF2B5EF4-FFF2-40B4-BE49-F238E27FC236}">
                    <a16:creationId xmlns:a16="http://schemas.microsoft.com/office/drawing/2014/main" id="{0322BE64-A0E4-4BB3-B5A9-E5D71E2A3B22}"/>
                  </a:ext>
                </a:extLst>
              </p:cNvPr>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íṣ1îḓê">
                <a:extLst>
                  <a:ext uri="{FF2B5EF4-FFF2-40B4-BE49-F238E27FC236}">
                    <a16:creationId xmlns:a16="http://schemas.microsoft.com/office/drawing/2014/main" id="{D21C742C-7B20-4002-B310-644AFA897359}"/>
                  </a:ext>
                </a:extLst>
              </p:cNvPr>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ṥļiďè">
                <a:extLst>
                  <a:ext uri="{FF2B5EF4-FFF2-40B4-BE49-F238E27FC236}">
                    <a16:creationId xmlns:a16="http://schemas.microsoft.com/office/drawing/2014/main" id="{CCBF5AB7-D62D-406F-AF12-55657BA37787}"/>
                  </a:ext>
                </a:extLst>
              </p:cNvPr>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1îḑê">
                <a:extLst>
                  <a:ext uri="{FF2B5EF4-FFF2-40B4-BE49-F238E27FC236}">
                    <a16:creationId xmlns:a16="http://schemas.microsoft.com/office/drawing/2014/main" id="{1E039AA3-C512-441B-96EF-01B3C08AE126}"/>
                  </a:ext>
                </a:extLst>
              </p:cNvPr>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ŝḻîdê">
                <a:extLst>
                  <a:ext uri="{FF2B5EF4-FFF2-40B4-BE49-F238E27FC236}">
                    <a16:creationId xmlns:a16="http://schemas.microsoft.com/office/drawing/2014/main" id="{16F6E2BD-1F4B-4129-9B83-C3987963DE8F}"/>
                  </a:ext>
                </a:extLst>
              </p:cNvPr>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ṥļîďé">
                <a:extLst>
                  <a:ext uri="{FF2B5EF4-FFF2-40B4-BE49-F238E27FC236}">
                    <a16:creationId xmlns:a16="http://schemas.microsoft.com/office/drawing/2014/main" id="{0D4A6BD9-D7E4-42ED-8822-2697EDB2F6B5}"/>
                  </a:ext>
                </a:extLst>
              </p:cNvPr>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íşľídè">
                <a:extLst>
                  <a:ext uri="{FF2B5EF4-FFF2-40B4-BE49-F238E27FC236}">
                    <a16:creationId xmlns:a16="http://schemas.microsoft.com/office/drawing/2014/main" id="{DCA58161-1FBE-4A63-B0BF-0DA772E56C82}"/>
                  </a:ext>
                </a:extLst>
              </p:cNvPr>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2" name="iṡlïḓè">
              <a:extLst>
                <a:ext uri="{FF2B5EF4-FFF2-40B4-BE49-F238E27FC236}">
                  <a16:creationId xmlns:a16="http://schemas.microsoft.com/office/drawing/2014/main" id="{518DE066-BCAA-4BDD-96BD-D6E1F2BF5FC1}"/>
                </a:ext>
              </a:extLst>
            </p:cNvPr>
            <p:cNvGrpSpPr/>
            <p:nvPr userDrawn="1"/>
          </p:nvGrpSpPr>
          <p:grpSpPr>
            <a:xfrm>
              <a:off x="1682758" y="962385"/>
              <a:ext cx="1606542" cy="289834"/>
              <a:chOff x="4164013" y="2535238"/>
              <a:chExt cx="6142038" cy="1108075"/>
            </a:xfrm>
            <a:solidFill>
              <a:srgbClr val="001736"/>
            </a:solidFill>
          </p:grpSpPr>
          <p:sp>
            <p:nvSpPr>
              <p:cNvPr id="17" name="îslíḋé">
                <a:extLst>
                  <a:ext uri="{FF2B5EF4-FFF2-40B4-BE49-F238E27FC236}">
                    <a16:creationId xmlns:a16="http://schemas.microsoft.com/office/drawing/2014/main" id="{5886D6D7-D3A1-40F1-8B7D-BDF7B68C9273}"/>
                  </a:ext>
                </a:extLst>
              </p:cNvPr>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îṡlide">
                <a:extLst>
                  <a:ext uri="{FF2B5EF4-FFF2-40B4-BE49-F238E27FC236}">
                    <a16:creationId xmlns:a16="http://schemas.microsoft.com/office/drawing/2014/main" id="{277EC223-DC3B-4B0C-9713-D5AC8D09CE33}"/>
                  </a:ext>
                </a:extLst>
              </p:cNvPr>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ïš1íḑê">
                <a:extLst>
                  <a:ext uri="{FF2B5EF4-FFF2-40B4-BE49-F238E27FC236}">
                    <a16:creationId xmlns:a16="http://schemas.microsoft.com/office/drawing/2014/main" id="{84E1A051-514E-4AED-A369-BDCE4A347A9B}"/>
                  </a:ext>
                </a:extLst>
              </p:cNvPr>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šļíďè">
                <a:extLst>
                  <a:ext uri="{FF2B5EF4-FFF2-40B4-BE49-F238E27FC236}">
                    <a16:creationId xmlns:a16="http://schemas.microsoft.com/office/drawing/2014/main" id="{4E9DACBA-F481-4DFF-9489-CCEDBFF23CA9}"/>
                  </a:ext>
                </a:extLst>
              </p:cNvPr>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ṡļïḑê">
                <a:extLst>
                  <a:ext uri="{FF2B5EF4-FFF2-40B4-BE49-F238E27FC236}">
                    <a16:creationId xmlns:a16="http://schemas.microsoft.com/office/drawing/2014/main" id="{44756734-196B-41F7-ACBF-05AE2BCB115D}"/>
                  </a:ext>
                </a:extLst>
              </p:cNvPr>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ṩ1ïďè">
                <a:extLst>
                  <a:ext uri="{FF2B5EF4-FFF2-40B4-BE49-F238E27FC236}">
                    <a16:creationId xmlns:a16="http://schemas.microsoft.com/office/drawing/2014/main" id="{B01E906F-F954-42D4-A065-215ACF9519EF}"/>
                  </a:ext>
                </a:extLst>
              </p:cNvPr>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4" name="iṧlide">
              <a:extLst>
                <a:ext uri="{FF2B5EF4-FFF2-40B4-BE49-F238E27FC236}">
                  <a16:creationId xmlns:a16="http://schemas.microsoft.com/office/drawing/2014/main" id="{57B39328-9224-4B4E-936F-66085E357C2C}"/>
                </a:ext>
              </a:extLst>
            </p:cNvPr>
            <p:cNvGrpSpPr/>
            <p:nvPr userDrawn="1"/>
          </p:nvGrpSpPr>
          <p:grpSpPr>
            <a:xfrm>
              <a:off x="1681928" y="1301968"/>
              <a:ext cx="1596160" cy="99656"/>
              <a:chOff x="4195410" y="3864490"/>
              <a:chExt cx="5963974" cy="372361"/>
            </a:xfrm>
            <a:solidFill>
              <a:srgbClr val="001736"/>
            </a:solidFill>
          </p:grpSpPr>
          <p:sp>
            <p:nvSpPr>
              <p:cNvPr id="15" name="îSľíďé">
                <a:extLst>
                  <a:ext uri="{FF2B5EF4-FFF2-40B4-BE49-F238E27FC236}">
                    <a16:creationId xmlns:a16="http://schemas.microsoft.com/office/drawing/2014/main" id="{1EC1A250-0861-4A3F-9AFC-1501E377344B}"/>
                  </a:ext>
                </a:extLst>
              </p:cNvPr>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ṡľíďe">
                <a:extLst>
                  <a:ext uri="{FF2B5EF4-FFF2-40B4-BE49-F238E27FC236}">
                    <a16:creationId xmlns:a16="http://schemas.microsoft.com/office/drawing/2014/main" id="{56AC951B-9C04-4B8C-910B-75C20C799C0A}"/>
                  </a:ext>
                </a:extLst>
              </p:cNvPr>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id="{E58F7600-B3CB-4303-8E73-A949AFED3035}"/>
              </a:ext>
            </a:extLst>
          </p:cNvPr>
          <p:cNvGrpSpPr/>
          <p:nvPr userDrawn="1"/>
        </p:nvGrpSpPr>
        <p:grpSpPr>
          <a:xfrm flipH="1">
            <a:off x="0" y="0"/>
            <a:ext cx="6496050" cy="5416345"/>
            <a:chOff x="4906913" y="0"/>
            <a:chExt cx="7285087" cy="6074237"/>
          </a:xfrm>
        </p:grpSpPr>
        <p:sp>
          <p:nvSpPr>
            <p:cNvPr id="2" name="ïṡlîďê">
              <a:extLst>
                <a:ext uri="{FF2B5EF4-FFF2-40B4-BE49-F238E27FC236}">
                  <a16:creationId xmlns:a16="http://schemas.microsoft.com/office/drawing/2014/main" id="{E439CD5A-CAF5-45CD-9FCC-504319DAD15E}"/>
                </a:ext>
              </a:extLst>
            </p:cNvPr>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blipFill>
              <a:blip r:embed="rId2">
                <a:duotone>
                  <a:schemeClr val="accent5">
                    <a:shade val="45000"/>
                    <a:satMod val="135000"/>
                  </a:schemeClr>
                  <a:prstClr val="white"/>
                </a:duotone>
              </a:blip>
              <a:srcRect/>
              <a:stretch>
                <a:fillRect l="-10885" r="-108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 name="ïšḻïḑè">
              <a:extLst>
                <a:ext uri="{FF2B5EF4-FFF2-40B4-BE49-F238E27FC236}">
                  <a16:creationId xmlns:a16="http://schemas.microsoft.com/office/drawing/2014/main" id="{2CD2485B-6B24-4D35-B778-6A8221AAB7E4}"/>
                </a:ext>
              </a:extLst>
            </p:cNvPr>
            <p:cNvSpPr/>
            <p:nvPr userDrawn="1"/>
          </p:nvSpPr>
          <p:spPr>
            <a:xfrm>
              <a:off x="4906913" y="0"/>
              <a:ext cx="3955516" cy="365590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 name="î$ļïḓê">
              <a:extLst>
                <a:ext uri="{FF2B5EF4-FFF2-40B4-BE49-F238E27FC236}">
                  <a16:creationId xmlns:a16="http://schemas.microsoft.com/office/drawing/2014/main" id="{3ECDFD97-F9F8-4458-83C7-75F6A6B9BC7F}"/>
                </a:ext>
              </a:extLst>
            </p:cNvPr>
            <p:cNvSpPr/>
            <p:nvPr userDrawn="1"/>
          </p:nvSpPr>
          <p:spPr>
            <a:xfrm>
              <a:off x="10490882" y="2022031"/>
              <a:ext cx="1697514" cy="2819365"/>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iš1ïdé">
              <a:extLst>
                <a:ext uri="{FF2B5EF4-FFF2-40B4-BE49-F238E27FC236}">
                  <a16:creationId xmlns:a16="http://schemas.microsoft.com/office/drawing/2014/main" id="{2CA04BCD-7F71-4105-83C6-67D474785A06}"/>
                </a:ext>
              </a:extLst>
            </p:cNvPr>
            <p:cNvSpPr/>
            <p:nvPr userDrawn="1"/>
          </p:nvSpPr>
          <p:spPr>
            <a:xfrm>
              <a:off x="10073794" y="2366994"/>
              <a:ext cx="2118206" cy="3564196"/>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îSlíḑè">
              <a:extLst>
                <a:ext uri="{FF2B5EF4-FFF2-40B4-BE49-F238E27FC236}">
                  <a16:creationId xmlns:a16="http://schemas.microsoft.com/office/drawing/2014/main" id="{328C9D76-DBE1-49B5-AF7C-DD24A5B36F96}"/>
                </a:ext>
              </a:extLst>
            </p:cNvPr>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
        <p:nvSpPr>
          <p:cNvPr id="13" name="标题 12"/>
          <p:cNvSpPr>
            <a:spLocks noGrp="1"/>
          </p:cNvSpPr>
          <p:nvPr userDrawn="1">
            <p:ph type="ctrTitle" hasCustomPrompt="1"/>
          </p:nvPr>
        </p:nvSpPr>
        <p:spPr>
          <a:xfrm>
            <a:off x="673100" y="2892248"/>
            <a:ext cx="10845798"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5198484"/>
            <a:ext cx="10845798" cy="310871"/>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4902213"/>
            <a:ext cx="10845798" cy="296271"/>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20" name="组合 19">
            <a:extLst>
              <a:ext uri="{FF2B5EF4-FFF2-40B4-BE49-F238E27FC236}">
                <a16:creationId xmlns:a16="http://schemas.microsoft.com/office/drawing/2014/main" id="{74663F0D-3659-453D-9B02-B0E0591B44BB}"/>
              </a:ext>
            </a:extLst>
          </p:cNvPr>
          <p:cNvGrpSpPr/>
          <p:nvPr userDrawn="1"/>
        </p:nvGrpSpPr>
        <p:grpSpPr>
          <a:xfrm>
            <a:off x="11112501" y="4692303"/>
            <a:ext cx="1076284" cy="1986290"/>
            <a:chOff x="11761373" y="5661203"/>
            <a:chExt cx="427411" cy="788790"/>
          </a:xfrm>
        </p:grpSpPr>
        <p:sp>
          <p:nvSpPr>
            <p:cNvPr id="9" name="î$ľídé">
              <a:extLst>
                <a:ext uri="{FF2B5EF4-FFF2-40B4-BE49-F238E27FC236}">
                  <a16:creationId xmlns:a16="http://schemas.microsoft.com/office/drawing/2014/main" id="{12BDBF0A-7794-497A-B347-523784BA2A29}"/>
                </a:ext>
              </a:extLst>
            </p:cNvPr>
            <p:cNvSpPr/>
            <p:nvPr userDrawn="1"/>
          </p:nvSpPr>
          <p:spPr>
            <a:xfrm flipV="1">
              <a:off x="11845533" y="5881102"/>
              <a:ext cx="342524" cy="568891"/>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8" name="iśľîḋé">
              <a:extLst>
                <a:ext uri="{FF2B5EF4-FFF2-40B4-BE49-F238E27FC236}">
                  <a16:creationId xmlns:a16="http://schemas.microsoft.com/office/drawing/2014/main" id="{B8EF53BF-186A-47C0-B18A-4E049A034B72}"/>
                </a:ext>
              </a:extLst>
            </p:cNvPr>
            <p:cNvSpPr/>
            <p:nvPr userDrawn="1"/>
          </p:nvSpPr>
          <p:spPr>
            <a:xfrm flipV="1">
              <a:off x="11761373" y="5661203"/>
              <a:ext cx="427411" cy="719183"/>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grpSp>
        <p:nvGrpSpPr>
          <p:cNvPr id="11" name="组合 10">
            <a:extLst>
              <a:ext uri="{FF2B5EF4-FFF2-40B4-BE49-F238E27FC236}">
                <a16:creationId xmlns:a16="http://schemas.microsoft.com/office/drawing/2014/main" id="{BB1C2309-2FFF-4106-8C5F-C5C1628C054F}"/>
              </a:ext>
            </a:extLst>
          </p:cNvPr>
          <p:cNvGrpSpPr/>
          <p:nvPr userDrawn="1"/>
        </p:nvGrpSpPr>
        <p:grpSpPr>
          <a:xfrm>
            <a:off x="9724571" y="535076"/>
            <a:ext cx="1795916" cy="404220"/>
            <a:chOff x="1071789" y="916886"/>
            <a:chExt cx="2217511" cy="499112"/>
          </a:xfrm>
        </p:grpSpPr>
        <p:grpSp>
          <p:nvGrpSpPr>
            <p:cNvPr id="12" name="ï$ļidê">
              <a:extLst>
                <a:ext uri="{FF2B5EF4-FFF2-40B4-BE49-F238E27FC236}">
                  <a16:creationId xmlns:a16="http://schemas.microsoft.com/office/drawing/2014/main" id="{8C9E18A8-FCAF-41BD-B1CD-4524C70AEDA0}"/>
                </a:ext>
              </a:extLst>
            </p:cNvPr>
            <p:cNvGrpSpPr/>
            <p:nvPr userDrawn="1"/>
          </p:nvGrpSpPr>
          <p:grpSpPr>
            <a:xfrm>
              <a:off x="1071789" y="916886"/>
              <a:ext cx="496620" cy="499112"/>
              <a:chOff x="1905000" y="2476500"/>
              <a:chExt cx="1898650" cy="1908175"/>
            </a:xfrm>
          </p:grpSpPr>
          <p:sp>
            <p:nvSpPr>
              <p:cNvPr id="23" name="îšḻïďe">
                <a:extLst>
                  <a:ext uri="{FF2B5EF4-FFF2-40B4-BE49-F238E27FC236}">
                    <a16:creationId xmlns:a16="http://schemas.microsoft.com/office/drawing/2014/main" id="{2020216F-13DC-4696-95C2-A668999922E5}"/>
                  </a:ext>
                </a:extLst>
              </p:cNvPr>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îṥľide">
                <a:extLst>
                  <a:ext uri="{FF2B5EF4-FFF2-40B4-BE49-F238E27FC236}">
                    <a16:creationId xmlns:a16="http://schemas.microsoft.com/office/drawing/2014/main" id="{4856863A-A215-4EF9-BC82-326846F49742}"/>
                  </a:ext>
                </a:extLst>
              </p:cNvPr>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ş1íḑé">
                <a:extLst>
                  <a:ext uri="{FF2B5EF4-FFF2-40B4-BE49-F238E27FC236}">
                    <a16:creationId xmlns:a16="http://schemas.microsoft.com/office/drawing/2014/main" id="{BEEDAA68-58EA-41CB-975B-A1A655F598C2}"/>
                  </a:ext>
                </a:extLst>
              </p:cNvPr>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ḷîḑe">
                <a:extLst>
                  <a:ext uri="{FF2B5EF4-FFF2-40B4-BE49-F238E27FC236}">
                    <a16:creationId xmlns:a16="http://schemas.microsoft.com/office/drawing/2014/main" id="{968377F3-6980-45C2-933B-C61B6141A0A4}"/>
                  </a:ext>
                </a:extLst>
              </p:cNvPr>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íṡḻîḋe">
                <a:extLst>
                  <a:ext uri="{FF2B5EF4-FFF2-40B4-BE49-F238E27FC236}">
                    <a16:creationId xmlns:a16="http://schemas.microsoft.com/office/drawing/2014/main" id="{730D1AB7-7181-4FD8-A924-9AFB731B834F}"/>
                  </a:ext>
                </a:extLst>
              </p:cNvPr>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ṩļïdê">
                <a:extLst>
                  <a:ext uri="{FF2B5EF4-FFF2-40B4-BE49-F238E27FC236}">
                    <a16:creationId xmlns:a16="http://schemas.microsoft.com/office/drawing/2014/main" id="{DD750A71-B266-4493-BB94-2A3DB893621A}"/>
                  </a:ext>
                </a:extLst>
              </p:cNvPr>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śļiḋé">
                <a:extLst>
                  <a:ext uri="{FF2B5EF4-FFF2-40B4-BE49-F238E27FC236}">
                    <a16:creationId xmlns:a16="http://schemas.microsoft.com/office/drawing/2014/main" id="{13D21F53-5CEF-443C-A4DA-2FEB9C95A471}"/>
                  </a:ext>
                </a:extLst>
              </p:cNvPr>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ṩḷíḑe">
                <a:extLst>
                  <a:ext uri="{FF2B5EF4-FFF2-40B4-BE49-F238E27FC236}">
                    <a16:creationId xmlns:a16="http://schemas.microsoft.com/office/drawing/2014/main" id="{0F1CEC88-039E-48F8-832E-2238284FB1AA}"/>
                  </a:ext>
                </a:extLst>
              </p:cNvPr>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ṧļiḓé">
                <a:extLst>
                  <a:ext uri="{FF2B5EF4-FFF2-40B4-BE49-F238E27FC236}">
                    <a16:creationId xmlns:a16="http://schemas.microsoft.com/office/drawing/2014/main" id="{E90146A6-7804-407C-AEC6-0B81EEFCAF6E}"/>
                  </a:ext>
                </a:extLst>
              </p:cNvPr>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headEnd/>
                <a:tailEnd/>
              </a:ln>
            </p:spPr>
            <p:txBody>
              <a:bodyPr anchor="ctr"/>
              <a:lstStyle/>
              <a:p>
                <a:pPr algn="ctr"/>
                <a:endParaRPr/>
              </a:p>
            </p:txBody>
          </p:sp>
          <p:sp>
            <p:nvSpPr>
              <p:cNvPr id="32" name="îSlïḍè">
                <a:extLst>
                  <a:ext uri="{FF2B5EF4-FFF2-40B4-BE49-F238E27FC236}">
                    <a16:creationId xmlns:a16="http://schemas.microsoft.com/office/drawing/2014/main" id="{44AC6217-551F-413C-AE59-9500B1B20369}"/>
                  </a:ext>
                </a:extLst>
              </p:cNvPr>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33" name="íšlíḍé">
                <a:extLst>
                  <a:ext uri="{FF2B5EF4-FFF2-40B4-BE49-F238E27FC236}">
                    <a16:creationId xmlns:a16="http://schemas.microsoft.com/office/drawing/2014/main" id="{BD1004DF-F7C8-489C-9860-E02ABC1E9422}"/>
                  </a:ext>
                </a:extLst>
              </p:cNvPr>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šḻidè">
                <a:extLst>
                  <a:ext uri="{FF2B5EF4-FFF2-40B4-BE49-F238E27FC236}">
                    <a16:creationId xmlns:a16="http://schemas.microsoft.com/office/drawing/2014/main" id="{5C0ABEEF-C80B-4328-B97F-45A97818619D}"/>
                  </a:ext>
                </a:extLst>
              </p:cNvPr>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sḷide">
                <a:extLst>
                  <a:ext uri="{FF2B5EF4-FFF2-40B4-BE49-F238E27FC236}">
                    <a16:creationId xmlns:a16="http://schemas.microsoft.com/office/drawing/2014/main" id="{A42388AA-45FE-435C-9892-C565170E96C5}"/>
                  </a:ext>
                </a:extLst>
              </p:cNvPr>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şḷïḍé">
                <a:extLst>
                  <a:ext uri="{FF2B5EF4-FFF2-40B4-BE49-F238E27FC236}">
                    <a16:creationId xmlns:a16="http://schemas.microsoft.com/office/drawing/2014/main" id="{2A14E0B6-EDF6-4127-B492-06B91A754820}"/>
                  </a:ext>
                </a:extLst>
              </p:cNvPr>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îṡḷïde">
                <a:extLst>
                  <a:ext uri="{FF2B5EF4-FFF2-40B4-BE49-F238E27FC236}">
                    <a16:creationId xmlns:a16="http://schemas.microsoft.com/office/drawing/2014/main" id="{EF802D0D-499C-47A6-A1B0-3961FF9051EF}"/>
                  </a:ext>
                </a:extLst>
              </p:cNvPr>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ṩḷiďè">
                <a:extLst>
                  <a:ext uri="{FF2B5EF4-FFF2-40B4-BE49-F238E27FC236}">
                    <a16:creationId xmlns:a16="http://schemas.microsoft.com/office/drawing/2014/main" id="{74AE230F-AC3D-4A53-AE8A-7E18101501CD}"/>
                  </a:ext>
                </a:extLst>
              </p:cNvPr>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1iḓê">
                <a:extLst>
                  <a:ext uri="{FF2B5EF4-FFF2-40B4-BE49-F238E27FC236}">
                    <a16:creationId xmlns:a16="http://schemas.microsoft.com/office/drawing/2014/main" id="{AC26B1B2-172F-4767-81DD-D5E79A272EB9}"/>
                  </a:ext>
                </a:extLst>
              </p:cNvPr>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3" name="iṡlïḓè">
              <a:extLst>
                <a:ext uri="{FF2B5EF4-FFF2-40B4-BE49-F238E27FC236}">
                  <a16:creationId xmlns:a16="http://schemas.microsoft.com/office/drawing/2014/main" id="{3A123B05-5123-4065-A6F1-D94F4C54EA7A}"/>
                </a:ext>
              </a:extLst>
            </p:cNvPr>
            <p:cNvGrpSpPr/>
            <p:nvPr userDrawn="1"/>
          </p:nvGrpSpPr>
          <p:grpSpPr>
            <a:xfrm>
              <a:off x="1682758" y="962385"/>
              <a:ext cx="1606542" cy="289834"/>
              <a:chOff x="4164013" y="2535238"/>
              <a:chExt cx="6142038" cy="1108075"/>
            </a:xfrm>
            <a:solidFill>
              <a:srgbClr val="001736"/>
            </a:solidFill>
          </p:grpSpPr>
          <p:sp>
            <p:nvSpPr>
              <p:cNvPr id="17" name="iSḷiḋé">
                <a:extLst>
                  <a:ext uri="{FF2B5EF4-FFF2-40B4-BE49-F238E27FC236}">
                    <a16:creationId xmlns:a16="http://schemas.microsoft.com/office/drawing/2014/main" id="{CA21DADE-6C88-4DE0-921E-9D7880634D2E}"/>
                  </a:ext>
                </a:extLst>
              </p:cNvPr>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ṥḻiḑé">
                <a:extLst>
                  <a:ext uri="{FF2B5EF4-FFF2-40B4-BE49-F238E27FC236}">
                    <a16:creationId xmlns:a16="http://schemas.microsoft.com/office/drawing/2014/main" id="{94C141F2-8A22-4CE3-A217-7A04BA6BE59D}"/>
                  </a:ext>
                </a:extLst>
              </p:cNvPr>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ïṡľîḑe">
                <a:extLst>
                  <a:ext uri="{FF2B5EF4-FFF2-40B4-BE49-F238E27FC236}">
                    <a16:creationId xmlns:a16="http://schemas.microsoft.com/office/drawing/2014/main" id="{BCB653DF-DBBB-42DE-A7CD-7FDFF4B8C197}"/>
                  </a:ext>
                </a:extLst>
              </p:cNvPr>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ïṧḷïḑé">
                <a:extLst>
                  <a:ext uri="{FF2B5EF4-FFF2-40B4-BE49-F238E27FC236}">
                    <a16:creationId xmlns:a16="http://schemas.microsoft.com/office/drawing/2014/main" id="{BA2BC783-0B6A-46E0-912C-80F52E3D9723}"/>
                  </a:ext>
                </a:extLst>
              </p:cNvPr>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íṧ1íḓê">
                <a:extLst>
                  <a:ext uri="{FF2B5EF4-FFF2-40B4-BE49-F238E27FC236}">
                    <a16:creationId xmlns:a16="http://schemas.microsoft.com/office/drawing/2014/main" id="{686DF4BA-E100-46AD-AC23-D067EED6D087}"/>
                  </a:ext>
                </a:extLst>
              </p:cNvPr>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iSlïḓè">
                <a:extLst>
                  <a:ext uri="{FF2B5EF4-FFF2-40B4-BE49-F238E27FC236}">
                    <a16:creationId xmlns:a16="http://schemas.microsoft.com/office/drawing/2014/main" id="{EB2B06D5-E044-4959-83C6-891C600B5A5C}"/>
                  </a:ext>
                </a:extLst>
              </p:cNvPr>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4" name="iṧlide">
              <a:extLst>
                <a:ext uri="{FF2B5EF4-FFF2-40B4-BE49-F238E27FC236}">
                  <a16:creationId xmlns:a16="http://schemas.microsoft.com/office/drawing/2014/main" id="{B5351CA5-66BA-4D67-9DEE-CDF81A876F0F}"/>
                </a:ext>
              </a:extLst>
            </p:cNvPr>
            <p:cNvGrpSpPr/>
            <p:nvPr userDrawn="1"/>
          </p:nvGrpSpPr>
          <p:grpSpPr>
            <a:xfrm>
              <a:off x="1681928" y="1301968"/>
              <a:ext cx="1596160" cy="99656"/>
              <a:chOff x="4195410" y="3864490"/>
              <a:chExt cx="5963974" cy="372361"/>
            </a:xfrm>
            <a:solidFill>
              <a:srgbClr val="001736"/>
            </a:solidFill>
          </p:grpSpPr>
          <p:sp>
            <p:nvSpPr>
              <p:cNvPr id="15" name="ïṩ1ïdé">
                <a:extLst>
                  <a:ext uri="{FF2B5EF4-FFF2-40B4-BE49-F238E27FC236}">
                    <a16:creationId xmlns:a16="http://schemas.microsoft.com/office/drawing/2014/main" id="{E50CD631-F237-444C-8970-66AE986F2225}"/>
                  </a:ext>
                </a:extLst>
              </p:cNvPr>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iṥḷíḍé">
                <a:extLst>
                  <a:ext uri="{FF2B5EF4-FFF2-40B4-BE49-F238E27FC236}">
                    <a16:creationId xmlns:a16="http://schemas.microsoft.com/office/drawing/2014/main" id="{96FBC146-AB38-454E-88F0-C42C58B6692B}"/>
                  </a:ext>
                </a:extLst>
              </p:cNvPr>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emf"/><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themeOverride" Target="../theme/themeOverride10.xml"/></Relationships>
</file>

<file path=ppt/slides/_rels/slide11.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hemeOverride" Target="../theme/themeOverride11.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themeOverride" Target="../theme/themeOverr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xml"/><Relationship Id="rId1" Type="http://schemas.openxmlformats.org/officeDocument/2006/relationships/themeOverride" Target="../theme/themeOverr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xml"/><Relationship Id="rId1" Type="http://schemas.openxmlformats.org/officeDocument/2006/relationships/themeOverride" Target="../theme/themeOverride14.xml"/></Relationships>
</file>

<file path=ppt/slides/_rels/slide1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hemeOverride" Target="../theme/themeOverride15.xml"/><Relationship Id="rId4"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xml"/><Relationship Id="rId1" Type="http://schemas.openxmlformats.org/officeDocument/2006/relationships/themeOverride" Target="../theme/themeOverr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themeOverride" Target="../theme/themeOverr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xml"/><Relationship Id="rId1" Type="http://schemas.openxmlformats.org/officeDocument/2006/relationships/themeOverride" Target="../theme/themeOverr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xml"/><Relationship Id="rId1" Type="http://schemas.openxmlformats.org/officeDocument/2006/relationships/themeOverride" Target="../theme/themeOverr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hemeOverride" Target="../theme/themeOverride20.xml"/><Relationship Id="rId4"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hemeOverride" Target="../theme/themeOverride21.xml"/><Relationship Id="rId4"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xml"/><Relationship Id="rId1" Type="http://schemas.openxmlformats.org/officeDocument/2006/relationships/themeOverride" Target="../theme/themeOverride22.xml"/><Relationship Id="rId5" Type="http://schemas.openxmlformats.org/officeDocument/2006/relationships/image" Target="../media/image7.jpg"/><Relationship Id="rId4" Type="http://schemas.openxmlformats.org/officeDocument/2006/relationships/image" Target="../media/image6.jp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xml"/><Relationship Id="rId1" Type="http://schemas.openxmlformats.org/officeDocument/2006/relationships/themeOverride" Target="../theme/themeOverr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3.xml"/><Relationship Id="rId1" Type="http://schemas.openxmlformats.org/officeDocument/2006/relationships/themeOverride" Target="../theme/themeOverr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xml"/><Relationship Id="rId1" Type="http://schemas.openxmlformats.org/officeDocument/2006/relationships/themeOverride" Target="../theme/themeOverr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5.xml"/><Relationship Id="rId1" Type="http://schemas.openxmlformats.org/officeDocument/2006/relationships/themeOverride" Target="../theme/themeOverride26.xml"/></Relationships>
</file>

<file path=ppt/slides/_rels/slide2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5.emf"/><Relationship Id="rId2" Type="http://schemas.openxmlformats.org/officeDocument/2006/relationships/tags" Target="../tags/tag36.xml"/><Relationship Id="rId1" Type="http://schemas.openxmlformats.org/officeDocument/2006/relationships/themeOverride" Target="../theme/themeOverride27.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38.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39.xml"/><Relationship Id="rId5" Type="http://schemas.openxmlformats.org/officeDocument/2006/relationships/image" Target="../media/image8.png"/><Relationship Id="rId4" Type="http://schemas.openxmlformats.org/officeDocument/2006/relationships/hyperlink" Target="http://www.islide.cc/" TargetMode="External"/></Relationships>
</file>

<file path=ppt/slides/_rels/slide29.xml.rels><?xml version="1.0" encoding="UTF-8" standalone="yes"?>
<Relationships xmlns="http://schemas.openxmlformats.org/package/2006/relationships"><Relationship Id="rId2" Type="http://schemas.openxmlformats.org/officeDocument/2006/relationships/hyperlink" Target="http://www.51pptmoban.com/"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themeOverride" Target="../theme/themeOverride4.xml"/></Relationships>
</file>

<file path=ppt/slides/_rels/slide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hemeOverride" Target="../theme/themeOverride5.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themeOverride" Target="../theme/themeOverride6.xml"/></Relationships>
</file>

<file path=ppt/slides/_rels/slide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7.xml"/><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themeOverride" Target="../theme/themeOverr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themeOverride" Target="../theme/themeOverr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şļîde"/>
        <p:cNvGrpSpPr/>
        <p:nvPr/>
      </p:nvGrpSpPr>
      <p:grpSpPr>
        <a:xfrm>
          <a:off x="0" y="0"/>
          <a:ext cx="0" cy="0"/>
          <a:chOff x="0" y="0"/>
          <a:chExt cx="0" cy="0"/>
        </a:xfrm>
      </p:grpSpPr>
      <p:graphicFrame>
        <p:nvGraphicFramePr>
          <p:cNvPr id="3" name="íṩļiḋê"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ïşḷïḋê"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íṣlíḋê"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ṣḷîḑè"/>
          <p:cNvSpPr>
            <a:spLocks noGrp="1"/>
          </p:cNvSpPr>
          <p:nvPr>
            <p:ph type="ctrTitle"/>
          </p:nvPr>
        </p:nvSpPr>
        <p:spPr>
          <a:xfrm>
            <a:off x="287948" y="2208844"/>
            <a:ext cx="8070466" cy="2574000"/>
          </a:xfrm>
        </p:spPr>
        <p:txBody>
          <a:bodyPr/>
          <a:lstStyle/>
          <a:p>
            <a:pPr algn="l" fontAlgn="b" latinLnBrk="0">
              <a:lnSpc>
                <a:spcPct val="100000"/>
              </a:lnSpc>
            </a:pPr>
            <a:r>
              <a:rPr lang="zh-CN" altLang="en-US" b="0" dirty="0">
                <a:solidFill>
                  <a:schemeClr val="accent1">
                    <a:lumMod val="50000"/>
                  </a:schemeClr>
                </a:solidFill>
              </a:rPr>
              <a:t>    </a:t>
            </a:r>
            <a:r>
              <a:rPr lang="zh-CN" altLang="en-US" sz="100" b="0" dirty="0">
                <a:solidFill>
                  <a:schemeClr val="accent1">
                    <a:lumMod val="50000"/>
                  </a:schemeClr>
                </a:solidFill>
              </a:rPr>
              <a:t> </a:t>
            </a:r>
            <a:r>
              <a:rPr lang="zh-CN" altLang="en-US" b="0" dirty="0">
                <a:solidFill>
                  <a:schemeClr val="accent1">
                    <a:lumMod val="50000"/>
                  </a:schemeClr>
                </a:solidFill>
              </a:rPr>
              <a:t>电子科技大学</a:t>
            </a:r>
            <a:br>
              <a:rPr lang="en-US" altLang="zh-CN" b="0" dirty="0"/>
            </a:br>
            <a:r>
              <a:rPr lang="zh-CN" altLang="en-US" sz="4800" b="1">
                <a:solidFill>
                  <a:schemeClr val="accent1">
                    <a:lumMod val="50000"/>
                  </a:schemeClr>
                </a:solidFill>
                <a:effectLst/>
                <a:latin typeface="Calibri" panose="020F0502020204030204" pitchFamily="34" charset="0"/>
                <a:ea typeface="Microsoft YaHei" panose="020B0503020204020204" pitchFamily="34" charset="-122"/>
              </a:rPr>
              <a:t>学习汇报</a:t>
            </a:r>
            <a:endParaRPr lang="zh-CN" altLang="en-US" b="1" dirty="0">
              <a:solidFill>
                <a:schemeClr val="accent1">
                  <a:lumMod val="50000"/>
                </a:schemeClr>
              </a:solidFill>
              <a:effectLst/>
              <a:latin typeface="Calibri" panose="020F0502020204030204" pitchFamily="34" charset="0"/>
              <a:ea typeface="Microsoft YaHei" panose="020B0503020204020204" pitchFamily="34" charset="-122"/>
            </a:endParaRPr>
          </a:p>
        </p:txBody>
      </p:sp>
      <p:sp>
        <p:nvSpPr>
          <p:cNvPr id="6" name="iŝḷíḑê"/>
          <p:cNvSpPr>
            <a:spLocks noGrp="1"/>
          </p:cNvSpPr>
          <p:nvPr>
            <p:ph type="body" sz="quarter" idx="10"/>
          </p:nvPr>
        </p:nvSpPr>
        <p:spPr>
          <a:xfrm>
            <a:off x="896753" y="5448773"/>
            <a:ext cx="10845800" cy="296271"/>
          </a:xfrm>
        </p:spPr>
        <p:txBody>
          <a:bodyPr/>
          <a:lstStyle/>
          <a:p>
            <a:pPr algn="l"/>
            <a:r>
              <a:rPr lang="zh-CN" altLang="en-US" dirty="0"/>
              <a:t>指导老师</a:t>
            </a:r>
            <a:r>
              <a:rPr lang="zh-CN" altLang="en-US" sz="100" dirty="0"/>
              <a:t> </a:t>
            </a:r>
            <a:r>
              <a:rPr lang="zh-CN" altLang="en-US" dirty="0"/>
              <a:t>：陈先宏</a:t>
            </a:r>
            <a:endParaRPr lang="en-US" altLang="zh-CN" dirty="0"/>
          </a:p>
        </p:txBody>
      </p:sp>
      <p:sp>
        <p:nvSpPr>
          <p:cNvPr id="7" name="ïşļïďé"/>
          <p:cNvSpPr>
            <a:spLocks noGrp="1"/>
          </p:cNvSpPr>
          <p:nvPr>
            <p:ph type="body" sz="quarter" idx="11"/>
          </p:nvPr>
        </p:nvSpPr>
        <p:spPr>
          <a:xfrm>
            <a:off x="896753" y="5745128"/>
            <a:ext cx="10845800" cy="296271"/>
          </a:xfrm>
        </p:spPr>
        <p:txBody>
          <a:bodyPr/>
          <a:lstStyle/>
          <a:p>
            <a:pPr algn="l"/>
            <a:r>
              <a:rPr lang="zh-CN" altLang="en-US" dirty="0"/>
              <a:t>汇报学生</a:t>
            </a:r>
            <a:r>
              <a:rPr lang="zh-CN" altLang="en-US" sz="100" dirty="0"/>
              <a:t> </a:t>
            </a:r>
            <a:r>
              <a:rPr lang="zh-CN" altLang="en-US" dirty="0"/>
              <a:t>：杨孟衡</a:t>
            </a:r>
            <a:endParaRPr lang="en-US" altLang="en-US" dirty="0"/>
          </a:p>
        </p:txBody>
      </p:sp>
      <p:sp>
        <p:nvSpPr>
          <p:cNvPr id="5" name="ïṧļíḑè"/>
          <p:cNvSpPr>
            <a:spLocks noGrp="1"/>
          </p:cNvSpPr>
          <p:nvPr>
            <p:ph type="subTitle" idx="1"/>
          </p:nvPr>
        </p:nvSpPr>
        <p:spPr>
          <a:xfrm>
            <a:off x="1071789" y="2123961"/>
            <a:ext cx="10845800" cy="558799"/>
          </a:xfrm>
        </p:spPr>
        <p:txBody>
          <a:bodyPr>
            <a:normAutofit/>
          </a:bodyPr>
          <a:lstStyle/>
          <a:p>
            <a:pPr algn="l"/>
            <a:r>
              <a:rPr lang="zh-CN" altLang="en-US" sz="1800" b="0" i="0" kern="2000" spc="2000" dirty="0">
                <a:solidFill>
                  <a:schemeClr val="accent3"/>
                </a:solidFill>
                <a:effectLst/>
                <a:latin typeface="Microsoft YaHei" panose="020B0503020204020204" pitchFamily="34" charset="-122"/>
                <a:ea typeface="Microsoft YaHei" panose="020B0503020204020204" pitchFamily="34" charset="-122"/>
              </a:rPr>
              <a:t>求</a:t>
            </a:r>
            <a:r>
              <a:rPr lang="en-US" altLang="zh-CN" sz="1800" b="0" i="0" kern="2000" spc="2000" dirty="0">
                <a:solidFill>
                  <a:schemeClr val="accent3"/>
                </a:solidFill>
                <a:effectLst/>
                <a:latin typeface="Microsoft YaHei" panose="020B0503020204020204" pitchFamily="34" charset="-122"/>
                <a:ea typeface="Microsoft YaHei" panose="020B0503020204020204" pitchFamily="34" charset="-122"/>
              </a:rPr>
              <a:t>/</a:t>
            </a:r>
            <a:r>
              <a:rPr lang="zh-CN" altLang="en-US" sz="1800" b="0" i="0" kern="2000" spc="2000" dirty="0">
                <a:solidFill>
                  <a:schemeClr val="accent3"/>
                </a:solidFill>
                <a:effectLst/>
                <a:latin typeface="Microsoft YaHei" panose="020B0503020204020204" pitchFamily="34" charset="-122"/>
                <a:ea typeface="Microsoft YaHei" panose="020B0503020204020204" pitchFamily="34" charset="-122"/>
              </a:rPr>
              <a:t>实</a:t>
            </a:r>
            <a:r>
              <a:rPr lang="en-US" altLang="zh-CN" sz="1800" b="0" i="0" kern="2000" spc="2000" dirty="0">
                <a:solidFill>
                  <a:schemeClr val="accent3"/>
                </a:solidFill>
                <a:effectLst/>
                <a:latin typeface="Microsoft YaHei" panose="020B0503020204020204" pitchFamily="34" charset="-122"/>
                <a:ea typeface="Microsoft YaHei" panose="020B0503020204020204" pitchFamily="34" charset="-122"/>
              </a:rPr>
              <a:t>/</a:t>
            </a:r>
            <a:r>
              <a:rPr lang="zh-CN" altLang="en-US" sz="1800" b="0" i="0" kern="2000" spc="2000" dirty="0">
                <a:solidFill>
                  <a:schemeClr val="accent3"/>
                </a:solidFill>
                <a:effectLst/>
                <a:latin typeface="Microsoft YaHei" panose="020B0503020204020204" pitchFamily="34" charset="-122"/>
                <a:ea typeface="Microsoft YaHei" panose="020B0503020204020204" pitchFamily="34" charset="-122"/>
              </a:rPr>
              <a:t>求</a:t>
            </a:r>
            <a:r>
              <a:rPr lang="en-US" altLang="zh-CN" sz="1800" b="0" i="0" kern="2000" spc="2000" dirty="0">
                <a:solidFill>
                  <a:schemeClr val="accent3"/>
                </a:solidFill>
                <a:effectLst/>
                <a:latin typeface="Microsoft YaHei" panose="020B0503020204020204" pitchFamily="34" charset="-122"/>
                <a:ea typeface="Microsoft YaHei" panose="020B0503020204020204" pitchFamily="34" charset="-122"/>
              </a:rPr>
              <a:t>/</a:t>
            </a:r>
            <a:r>
              <a:rPr lang="zh-CN" altLang="en-US" sz="1800" b="0" i="0" kern="2000" spc="2000">
                <a:solidFill>
                  <a:schemeClr val="accent3"/>
                </a:solidFill>
                <a:effectLst/>
                <a:latin typeface="Microsoft YaHei" panose="020B0503020204020204" pitchFamily="34" charset="-122"/>
                <a:ea typeface="Microsoft YaHei" panose="020B0503020204020204" pitchFamily="34" charset="-122"/>
              </a:rPr>
              <a:t>真</a:t>
            </a:r>
            <a:r>
              <a:rPr lang="en-US" altLang="zh-CN" sz="1800" b="0" i="0" kern="2000" spc="2000">
                <a:solidFill>
                  <a:schemeClr val="accent3"/>
                </a:solidFill>
                <a:effectLst/>
                <a:latin typeface="Microsoft YaHei" panose="020B0503020204020204" pitchFamily="34" charset="-122"/>
                <a:ea typeface="Microsoft YaHei" panose="020B0503020204020204" pitchFamily="34" charset="-122"/>
              </a:rPr>
              <a:t> </a:t>
            </a:r>
            <a:r>
              <a:rPr lang="en-US" altLang="zh-CN" sz="100" b="0" i="0" kern="2000" spc="2000">
                <a:solidFill>
                  <a:schemeClr val="accent3"/>
                </a:solidFill>
                <a:effectLst/>
                <a:latin typeface="Microsoft YaHei" panose="020B0503020204020204" pitchFamily="34" charset="-122"/>
                <a:ea typeface="Microsoft YaHei" panose="020B0503020204020204" pitchFamily="34" charset="-122"/>
              </a:rPr>
              <a:t> </a:t>
            </a:r>
            <a:r>
              <a:rPr lang="zh-CN" altLang="en-US" sz="1800" b="0" i="0" kern="2000" spc="2000">
                <a:solidFill>
                  <a:schemeClr val="accent3"/>
                </a:solidFill>
                <a:effectLst/>
                <a:latin typeface="Microsoft YaHei" panose="020B0503020204020204" pitchFamily="34" charset="-122"/>
                <a:ea typeface="Microsoft YaHei" panose="020B0503020204020204" pitchFamily="34" charset="-122"/>
              </a:rPr>
              <a:t>大</a:t>
            </a:r>
            <a:r>
              <a:rPr lang="en-US" altLang="zh-CN" sz="1800" b="0" i="0" kern="2000" spc="2000" dirty="0">
                <a:solidFill>
                  <a:schemeClr val="accent3"/>
                </a:solidFill>
                <a:effectLst/>
                <a:latin typeface="Microsoft YaHei" panose="020B0503020204020204" pitchFamily="34" charset="-122"/>
                <a:ea typeface="Microsoft YaHei" panose="020B0503020204020204" pitchFamily="34" charset="-122"/>
              </a:rPr>
              <a:t>/</a:t>
            </a:r>
            <a:r>
              <a:rPr lang="zh-CN" altLang="en-US" sz="1800" b="0" i="0" kern="2000" spc="2000" dirty="0">
                <a:solidFill>
                  <a:schemeClr val="accent3"/>
                </a:solidFill>
                <a:effectLst/>
                <a:latin typeface="Microsoft YaHei" panose="020B0503020204020204" pitchFamily="34" charset="-122"/>
                <a:ea typeface="Microsoft YaHei" panose="020B0503020204020204" pitchFamily="34" charset="-122"/>
              </a:rPr>
              <a:t>气</a:t>
            </a:r>
            <a:r>
              <a:rPr lang="en-US" altLang="zh-CN" sz="1800" b="0" i="0" kern="2000" spc="2000" dirty="0">
                <a:solidFill>
                  <a:schemeClr val="accent3"/>
                </a:solidFill>
                <a:effectLst/>
                <a:latin typeface="Microsoft YaHei" panose="020B0503020204020204" pitchFamily="34" charset="-122"/>
                <a:ea typeface="Microsoft YaHei" panose="020B0503020204020204" pitchFamily="34" charset="-122"/>
              </a:rPr>
              <a:t>/</a:t>
            </a:r>
            <a:r>
              <a:rPr lang="zh-CN" altLang="en-US" sz="1800" b="0" i="0" kern="2000" spc="2000" dirty="0">
                <a:solidFill>
                  <a:schemeClr val="bg1"/>
                </a:solidFill>
                <a:effectLst/>
                <a:latin typeface="Microsoft YaHei" panose="020B0503020204020204" pitchFamily="34" charset="-122"/>
                <a:ea typeface="Microsoft YaHei" panose="020B0503020204020204" pitchFamily="34" charset="-122"/>
              </a:rPr>
              <a:t>大</a:t>
            </a:r>
            <a:r>
              <a:rPr lang="en-US" altLang="zh-CN" sz="1800" b="0" i="0" kern="2000" spc="2000" dirty="0">
                <a:solidFill>
                  <a:schemeClr val="bg1"/>
                </a:solidFill>
                <a:effectLst/>
                <a:latin typeface="Microsoft YaHei" panose="020B0503020204020204" pitchFamily="34" charset="-122"/>
                <a:ea typeface="Microsoft YaHei" panose="020B0503020204020204" pitchFamily="34" charset="-122"/>
              </a:rPr>
              <a:t>/</a:t>
            </a:r>
            <a:r>
              <a:rPr lang="zh-CN" altLang="en-US" sz="1800" b="0" i="0" kern="2000" spc="2000" dirty="0">
                <a:solidFill>
                  <a:schemeClr val="bg1"/>
                </a:solidFill>
                <a:effectLst/>
                <a:latin typeface="Microsoft YaHei" panose="020B0503020204020204" pitchFamily="34" charset="-122"/>
                <a:ea typeface="Microsoft YaHei" panose="020B0503020204020204" pitchFamily="34" charset="-122"/>
              </a:rPr>
              <a:t>为</a:t>
            </a:r>
            <a:endParaRPr lang="en-US" altLang="zh-CN" sz="1800" kern="2000" spc="2000" dirty="0">
              <a:solidFill>
                <a:schemeClr val="bg1"/>
              </a:solidFill>
            </a:endParaRPr>
          </a:p>
        </p:txBody>
      </p:sp>
      <p:cxnSp>
        <p:nvCxnSpPr>
          <p:cNvPr id="27" name="îṣḷíḍe">
            <a:extLst>
              <a:ext uri="{FF2B5EF4-FFF2-40B4-BE49-F238E27FC236}">
                <a16:creationId xmlns:a16="http://schemas.microsoft.com/office/drawing/2014/main" id="{A50B12E8-4845-4EF0-AA11-DCE225904AEB}"/>
              </a:ext>
            </a:extLst>
          </p:cNvPr>
          <p:cNvCxnSpPr/>
          <p:nvPr/>
        </p:nvCxnSpPr>
        <p:spPr>
          <a:xfrm>
            <a:off x="999217" y="5196114"/>
            <a:ext cx="2757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îśḷiḋè"/>
        <p:cNvGrpSpPr/>
        <p:nvPr/>
      </p:nvGrpSpPr>
      <p:grpSpPr>
        <a:xfrm>
          <a:off x="0" y="0"/>
          <a:ext cx="0" cy="0"/>
          <a:chOff x="0" y="0"/>
          <a:chExt cx="0" cy="0"/>
        </a:xfrm>
      </p:grpSpPr>
      <p:sp>
        <p:nvSpPr>
          <p:cNvPr id="2" name="ïṧľïḋê">
            <a:extLst>
              <a:ext uri="{FF2B5EF4-FFF2-40B4-BE49-F238E27FC236}">
                <a16:creationId xmlns:a16="http://schemas.microsoft.com/office/drawing/2014/main" id="{F42D3F84-1447-4D4C-9421-F37CF105822E}"/>
              </a:ext>
            </a:extLst>
          </p:cNvPr>
          <p:cNvSpPr>
            <a:spLocks noGrp="1"/>
          </p:cNvSpPr>
          <p:nvPr>
            <p:ph type="title"/>
          </p:nvPr>
        </p:nvSpPr>
        <p:spPr/>
        <p:txBody>
          <a:bodyPr/>
          <a:lstStyle/>
          <a:p>
            <a:r>
              <a:rPr lang="en-US" altLang="zh-CN" dirty="0"/>
              <a:t>Click to edit </a:t>
            </a:r>
            <a:r>
              <a:rPr lang="en-US" altLang="zh-CN"/>
              <a:t>Master tit</a:t>
            </a:r>
            <a:r>
              <a:rPr lang="en-US" altLang="zh-CN" sz="100"/>
              <a:t> </a:t>
            </a:r>
            <a:r>
              <a:rPr lang="en-US" altLang="zh-CN"/>
              <a:t>le </a:t>
            </a:r>
            <a:r>
              <a:rPr lang="en-US" altLang="zh-CN" dirty="0"/>
              <a:t>style</a:t>
            </a:r>
            <a:endParaRPr lang="zh-CN" altLang="en-US" dirty="0"/>
          </a:p>
        </p:txBody>
      </p:sp>
      <p:sp>
        <p:nvSpPr>
          <p:cNvPr id="3" name="îşḻîdè">
            <a:extLst>
              <a:ext uri="{FF2B5EF4-FFF2-40B4-BE49-F238E27FC236}">
                <a16:creationId xmlns:a16="http://schemas.microsoft.com/office/drawing/2014/main" id="{B3F6C46F-B4FE-482B-BEF7-F951843F31E6}"/>
              </a:ext>
            </a:extLst>
          </p:cNvPr>
          <p:cNvSpPr>
            <a:spLocks noGrp="1"/>
          </p:cNvSpPr>
          <p:nvPr>
            <p:ph type="ftr" sz="quarter" idx="11"/>
          </p:nvPr>
        </p:nvSpPr>
        <p:spPr/>
        <p:txBody>
          <a:bodyPr/>
          <a:lstStyle/>
          <a:p>
            <a:r>
              <a:rPr lang="zh-CN" altLang="en-US"/>
              <a:t>请在插入菜单</a:t>
            </a:r>
            <a:r>
              <a:rPr lang="en-US" altLang="zh-CN"/>
              <a:t>—</a:t>
            </a:r>
            <a:r>
              <a:rPr lang="zh-CN" altLang="en-US"/>
              <a:t>页眉和页脚中</a:t>
            </a:r>
            <a:r>
              <a:rPr lang="zh-CN" altLang="en-US" sz="100"/>
              <a:t> </a:t>
            </a:r>
            <a:r>
              <a:rPr lang="zh-CN" altLang="en-US"/>
              <a:t>修改此文本</a:t>
            </a:r>
            <a:endParaRPr lang="zh-CN" altLang="en-US" dirty="0"/>
          </a:p>
        </p:txBody>
      </p:sp>
      <p:sp>
        <p:nvSpPr>
          <p:cNvPr id="4" name="îSľide">
            <a:extLst>
              <a:ext uri="{FF2B5EF4-FFF2-40B4-BE49-F238E27FC236}">
                <a16:creationId xmlns:a16="http://schemas.microsoft.com/office/drawing/2014/main" id="{970D46EB-6854-43F7-B68F-6AA1FE7CB28F}"/>
              </a:ext>
            </a:extLst>
          </p:cNvPr>
          <p:cNvSpPr>
            <a:spLocks noGrp="1"/>
          </p:cNvSpPr>
          <p:nvPr>
            <p:ph type="sldNum" sz="quarter" idx="12"/>
          </p:nvPr>
        </p:nvSpPr>
        <p:spPr/>
        <p:txBody>
          <a:bodyPr/>
          <a:lstStyle/>
          <a:p>
            <a:fld id="{5DD3DB80-B894-403A-B48E-6FDC1A72010E}" type="slidenum">
              <a:rPr lang="zh-CN" altLang="en-US" smtClean="0"/>
              <a:pPr/>
              <a:t>10</a:t>
            </a:fld>
            <a:r>
              <a:rPr lang="zh-CN" altLang="en-US" sz="100"/>
              <a:t> </a:t>
            </a:r>
          </a:p>
        </p:txBody>
      </p:sp>
      <p:sp>
        <p:nvSpPr>
          <p:cNvPr id="83" name="ïsļiḍê">
            <a:extLst>
              <a:ext uri="{FF2B5EF4-FFF2-40B4-BE49-F238E27FC236}">
                <a16:creationId xmlns:a16="http://schemas.microsoft.com/office/drawing/2014/main" id="{8649B9B3-0A4D-4DBF-B790-CAAF8AB07B72}"/>
              </a:ext>
            </a:extLst>
          </p:cNvPr>
          <p:cNvSpPr/>
          <p:nvPr/>
        </p:nvSpPr>
        <p:spPr bwMode="auto">
          <a:xfrm>
            <a:off x="673100" y="3734103"/>
            <a:ext cx="3187404" cy="603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altLang="zh-CN" sz="1100" dirty="0"/>
              <a:t>Copy paste fonts. Choose the only </a:t>
            </a:r>
            <a:r>
              <a:rPr lang="en-US" altLang="zh-CN" sz="1100"/>
              <a:t>option to</a:t>
            </a:r>
            <a:r>
              <a:rPr lang="en-US" altLang="zh-CN" sz="100"/>
              <a:t> </a:t>
            </a:r>
            <a:r>
              <a:rPr lang="en-US" altLang="zh-CN" sz="1100"/>
              <a:t> </a:t>
            </a:r>
            <a:r>
              <a:rPr lang="en-US" altLang="zh-CN" sz="1100" dirty="0"/>
              <a:t>retain text……</a:t>
            </a:r>
          </a:p>
        </p:txBody>
      </p:sp>
      <p:sp>
        <p:nvSpPr>
          <p:cNvPr id="84" name="ïṣlíde">
            <a:extLst>
              <a:ext uri="{FF2B5EF4-FFF2-40B4-BE49-F238E27FC236}">
                <a16:creationId xmlns:a16="http://schemas.microsoft.com/office/drawing/2014/main" id="{77A4AE62-0184-4689-89C8-55BADBE79602}"/>
              </a:ext>
            </a:extLst>
          </p:cNvPr>
          <p:cNvSpPr txBox="1"/>
          <p:nvPr/>
        </p:nvSpPr>
        <p:spPr bwMode="auto">
          <a:xfrm>
            <a:off x="673100" y="3273625"/>
            <a:ext cx="3187404" cy="460477"/>
          </a:xfrm>
          <a:prstGeom prst="roundRect">
            <a:avLst/>
          </a:prstGeom>
          <a:solidFill>
            <a:schemeClr val="accent1"/>
          </a:solidFill>
          <a:ln w="19050">
            <a:noFill/>
            <a:miter lim="800000"/>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altLang="zh-CN">
                <a:solidFill>
                  <a:schemeClr val="bg1"/>
                </a:solidFill>
              </a:rPr>
              <a:t>Text h</a:t>
            </a:r>
            <a:r>
              <a:rPr lang="en-US" altLang="zh-CN" sz="100">
                <a:solidFill>
                  <a:schemeClr val="bg1"/>
                </a:solidFill>
              </a:rPr>
              <a:t> </a:t>
            </a:r>
            <a:r>
              <a:rPr lang="en-US" altLang="zh-CN">
                <a:solidFill>
                  <a:schemeClr val="bg1"/>
                </a:solidFill>
              </a:rPr>
              <a:t>ere</a:t>
            </a:r>
            <a:endParaRPr lang="en-US" altLang="zh-CN" dirty="0">
              <a:solidFill>
                <a:schemeClr val="bg1"/>
              </a:solidFill>
            </a:endParaRPr>
          </a:p>
        </p:txBody>
      </p:sp>
      <p:sp>
        <p:nvSpPr>
          <p:cNvPr id="28" name="íṩ1íḍe">
            <a:extLst>
              <a:ext uri="{FF2B5EF4-FFF2-40B4-BE49-F238E27FC236}">
                <a16:creationId xmlns:a16="http://schemas.microsoft.com/office/drawing/2014/main" id="{554AF3E2-2821-49F9-8A8E-6E2FBA321AF4}"/>
              </a:ext>
            </a:extLst>
          </p:cNvPr>
          <p:cNvSpPr/>
          <p:nvPr/>
        </p:nvSpPr>
        <p:spPr bwMode="auto">
          <a:xfrm>
            <a:off x="4502298" y="3734103"/>
            <a:ext cx="3187404" cy="603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altLang="zh-CN" sz="1100" dirty="0"/>
              <a:t>Copy paste fonts. Choose the only </a:t>
            </a:r>
            <a:r>
              <a:rPr lang="en-US" altLang="zh-CN" sz="1100"/>
              <a:t>option to</a:t>
            </a:r>
            <a:r>
              <a:rPr lang="en-US" altLang="zh-CN" sz="100"/>
              <a:t> </a:t>
            </a:r>
            <a:r>
              <a:rPr lang="en-US" altLang="zh-CN" sz="1100"/>
              <a:t> </a:t>
            </a:r>
            <a:r>
              <a:rPr lang="en-US" altLang="zh-CN" sz="1100" dirty="0"/>
              <a:t>retain text……</a:t>
            </a:r>
          </a:p>
        </p:txBody>
      </p:sp>
      <p:sp>
        <p:nvSpPr>
          <p:cNvPr id="29" name="îśļïďê">
            <a:extLst>
              <a:ext uri="{FF2B5EF4-FFF2-40B4-BE49-F238E27FC236}">
                <a16:creationId xmlns:a16="http://schemas.microsoft.com/office/drawing/2014/main" id="{B309ED8A-D2F9-4EF0-B488-D71E78288C2B}"/>
              </a:ext>
            </a:extLst>
          </p:cNvPr>
          <p:cNvSpPr txBox="1"/>
          <p:nvPr/>
        </p:nvSpPr>
        <p:spPr bwMode="auto">
          <a:xfrm>
            <a:off x="4502298" y="3273625"/>
            <a:ext cx="3187404" cy="460477"/>
          </a:xfrm>
          <a:prstGeom prst="roundRect">
            <a:avLst/>
          </a:prstGeom>
          <a:solidFill>
            <a:schemeClr val="accent1"/>
          </a:solidFill>
          <a:ln w="19050">
            <a:noFill/>
            <a:miter lim="800000"/>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altLang="zh-CN">
                <a:solidFill>
                  <a:schemeClr val="bg1"/>
                </a:solidFill>
              </a:rPr>
              <a:t>Text h</a:t>
            </a:r>
            <a:r>
              <a:rPr lang="en-US" altLang="zh-CN" sz="100">
                <a:solidFill>
                  <a:schemeClr val="bg1"/>
                </a:solidFill>
              </a:rPr>
              <a:t> </a:t>
            </a:r>
            <a:r>
              <a:rPr lang="en-US" altLang="zh-CN">
                <a:solidFill>
                  <a:schemeClr val="bg1"/>
                </a:solidFill>
              </a:rPr>
              <a:t>ere</a:t>
            </a:r>
            <a:endParaRPr lang="en-US" altLang="zh-CN" dirty="0">
              <a:solidFill>
                <a:schemeClr val="bg1"/>
              </a:solidFill>
            </a:endParaRPr>
          </a:p>
        </p:txBody>
      </p:sp>
      <p:sp>
        <p:nvSpPr>
          <p:cNvPr id="30" name="îṥḻîḓê">
            <a:extLst>
              <a:ext uri="{FF2B5EF4-FFF2-40B4-BE49-F238E27FC236}">
                <a16:creationId xmlns:a16="http://schemas.microsoft.com/office/drawing/2014/main" id="{D4BB0291-8C62-43AA-B3DE-349D6D1C917D}"/>
              </a:ext>
            </a:extLst>
          </p:cNvPr>
          <p:cNvSpPr/>
          <p:nvPr/>
        </p:nvSpPr>
        <p:spPr bwMode="auto">
          <a:xfrm>
            <a:off x="8331496" y="3734103"/>
            <a:ext cx="3187404" cy="603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altLang="zh-CN" sz="1100" dirty="0"/>
              <a:t>Copy paste fonts. Choose the only </a:t>
            </a:r>
            <a:r>
              <a:rPr lang="en-US" altLang="zh-CN" sz="1100"/>
              <a:t>option to</a:t>
            </a:r>
            <a:r>
              <a:rPr lang="en-US" altLang="zh-CN" sz="100"/>
              <a:t> </a:t>
            </a:r>
            <a:r>
              <a:rPr lang="en-US" altLang="zh-CN" sz="1100"/>
              <a:t> </a:t>
            </a:r>
            <a:r>
              <a:rPr lang="en-US" altLang="zh-CN" sz="1100" dirty="0"/>
              <a:t>retain text……</a:t>
            </a:r>
          </a:p>
        </p:txBody>
      </p:sp>
      <p:sp>
        <p:nvSpPr>
          <p:cNvPr id="31" name="iṣlîḋe">
            <a:extLst>
              <a:ext uri="{FF2B5EF4-FFF2-40B4-BE49-F238E27FC236}">
                <a16:creationId xmlns:a16="http://schemas.microsoft.com/office/drawing/2014/main" id="{D7559E0D-83AF-4D81-80D6-9B1EB6112F84}"/>
              </a:ext>
            </a:extLst>
          </p:cNvPr>
          <p:cNvSpPr txBox="1"/>
          <p:nvPr/>
        </p:nvSpPr>
        <p:spPr bwMode="auto">
          <a:xfrm>
            <a:off x="8331496" y="3273625"/>
            <a:ext cx="3187404" cy="460477"/>
          </a:xfrm>
          <a:prstGeom prst="roundRect">
            <a:avLst/>
          </a:prstGeom>
          <a:solidFill>
            <a:schemeClr val="accent1"/>
          </a:solidFill>
          <a:ln w="19050">
            <a:noFill/>
            <a:miter lim="800000"/>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altLang="zh-CN">
                <a:solidFill>
                  <a:schemeClr val="bg1"/>
                </a:solidFill>
              </a:rPr>
              <a:t>Text h</a:t>
            </a:r>
            <a:r>
              <a:rPr lang="en-US" altLang="zh-CN" sz="100">
                <a:solidFill>
                  <a:schemeClr val="bg1"/>
                </a:solidFill>
              </a:rPr>
              <a:t> </a:t>
            </a:r>
            <a:r>
              <a:rPr lang="en-US" altLang="zh-CN">
                <a:solidFill>
                  <a:schemeClr val="bg1"/>
                </a:solidFill>
              </a:rPr>
              <a:t>ere</a:t>
            </a:r>
            <a:endParaRPr lang="en-US" altLang="zh-CN" dirty="0">
              <a:solidFill>
                <a:schemeClr val="bg1"/>
              </a:solidFill>
            </a:endParaRPr>
          </a:p>
        </p:txBody>
      </p:sp>
    </p:spTree>
    <p:custDataLst>
      <p:tags r:id="rId2"/>
    </p:custDataLst>
    <p:extLst>
      <p:ext uri="{BB962C8B-B14F-4D97-AF65-F5344CB8AC3E}">
        <p14:creationId xmlns:p14="http://schemas.microsoft.com/office/powerpoint/2010/main" val="25002736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îṧľíďé"/>
        <p:cNvGrpSpPr/>
        <p:nvPr/>
      </p:nvGrpSpPr>
      <p:grpSpPr>
        <a:xfrm>
          <a:off x="0" y="0"/>
          <a:ext cx="0" cy="0"/>
          <a:chOff x="0" y="0"/>
          <a:chExt cx="0" cy="0"/>
        </a:xfrm>
      </p:grpSpPr>
      <p:sp>
        <p:nvSpPr>
          <p:cNvPr id="2" name="îśḻïdé">
            <a:extLst>
              <a:ext uri="{FF2B5EF4-FFF2-40B4-BE49-F238E27FC236}">
                <a16:creationId xmlns:a16="http://schemas.microsoft.com/office/drawing/2014/main" id="{D743E8A5-8C43-4017-BADB-6D0C347A37E3}"/>
              </a:ext>
            </a:extLst>
          </p:cNvPr>
          <p:cNvSpPr>
            <a:spLocks noGrp="1"/>
          </p:cNvSpPr>
          <p:nvPr>
            <p:ph type="title"/>
          </p:nvPr>
        </p:nvSpPr>
        <p:spPr/>
        <p:txBody>
          <a:bodyPr/>
          <a:lstStyle/>
          <a:p>
            <a:r>
              <a:rPr lang="en-US" altLang="zh-CN" dirty="0"/>
              <a:t>Click to edit </a:t>
            </a:r>
            <a:r>
              <a:rPr lang="en-US" altLang="zh-CN"/>
              <a:t>Master tit</a:t>
            </a:r>
            <a:r>
              <a:rPr lang="en-US" altLang="zh-CN" sz="100"/>
              <a:t> </a:t>
            </a:r>
            <a:r>
              <a:rPr lang="en-US" altLang="zh-CN"/>
              <a:t>le </a:t>
            </a:r>
            <a:r>
              <a:rPr lang="en-US" altLang="zh-CN" dirty="0"/>
              <a:t>style</a:t>
            </a:r>
            <a:endParaRPr lang="zh-CN" altLang="en-US" dirty="0"/>
          </a:p>
        </p:txBody>
      </p:sp>
      <p:sp>
        <p:nvSpPr>
          <p:cNvPr id="3" name="ísļíḋê">
            <a:extLst>
              <a:ext uri="{FF2B5EF4-FFF2-40B4-BE49-F238E27FC236}">
                <a16:creationId xmlns:a16="http://schemas.microsoft.com/office/drawing/2014/main" id="{FC014819-5D26-4F27-B2CC-70C0FA01B63D}"/>
              </a:ext>
            </a:extLst>
          </p:cNvPr>
          <p:cNvSpPr>
            <a:spLocks noGrp="1"/>
          </p:cNvSpPr>
          <p:nvPr>
            <p:ph type="ftr" sz="quarter" idx="11"/>
          </p:nvPr>
        </p:nvSpPr>
        <p:spPr/>
        <p:txBody>
          <a:bodyPr/>
          <a:lstStyle/>
          <a:p>
            <a:r>
              <a:rPr lang="zh-CN" altLang="en-US"/>
              <a:t>请在插入菜单</a:t>
            </a:r>
            <a:r>
              <a:rPr lang="en-US" altLang="zh-CN"/>
              <a:t>—</a:t>
            </a:r>
            <a:r>
              <a:rPr lang="zh-CN" altLang="en-US"/>
              <a:t>页眉和页脚中</a:t>
            </a:r>
            <a:r>
              <a:rPr lang="zh-CN" altLang="en-US" sz="100"/>
              <a:t> </a:t>
            </a:r>
            <a:r>
              <a:rPr lang="zh-CN" altLang="en-US"/>
              <a:t>修改此文本</a:t>
            </a:r>
            <a:endParaRPr lang="zh-CN" altLang="en-US" dirty="0"/>
          </a:p>
        </p:txBody>
      </p:sp>
      <p:sp>
        <p:nvSpPr>
          <p:cNvPr id="4" name="îšlîḍê">
            <a:extLst>
              <a:ext uri="{FF2B5EF4-FFF2-40B4-BE49-F238E27FC236}">
                <a16:creationId xmlns:a16="http://schemas.microsoft.com/office/drawing/2014/main" id="{148AA30D-E87E-4A55-B84D-D2F63426C3F3}"/>
              </a:ext>
            </a:extLst>
          </p:cNvPr>
          <p:cNvSpPr>
            <a:spLocks noGrp="1"/>
          </p:cNvSpPr>
          <p:nvPr>
            <p:ph type="sldNum" sz="quarter" idx="12"/>
          </p:nvPr>
        </p:nvSpPr>
        <p:spPr/>
        <p:txBody>
          <a:bodyPr/>
          <a:lstStyle/>
          <a:p>
            <a:fld id="{5DD3DB80-B894-403A-B48E-6FDC1A72010E}" type="slidenum">
              <a:rPr lang="zh-CN" altLang="en-US" smtClean="0"/>
              <a:pPr/>
              <a:t>11</a:t>
            </a:fld>
            <a:r>
              <a:rPr lang="zh-CN" altLang="en-US" sz="100"/>
              <a:t> </a:t>
            </a:r>
          </a:p>
        </p:txBody>
      </p:sp>
      <p:grpSp>
        <p:nvGrpSpPr>
          <p:cNvPr id="5" name="ïśḻíḋ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9ECCC00-9DF7-406F-BCFB-70F2F4DC5919}"/>
              </a:ext>
            </a:extLst>
          </p:cNvPr>
          <p:cNvGrpSpPr>
            <a:grpSpLocks noChangeAspect="1"/>
          </p:cNvGrpSpPr>
          <p:nvPr>
            <p:custDataLst>
              <p:tags r:id="rId3"/>
            </p:custDataLst>
          </p:nvPr>
        </p:nvGrpSpPr>
        <p:grpSpPr>
          <a:xfrm>
            <a:off x="660400" y="1130300"/>
            <a:ext cx="10858500" cy="5003800"/>
            <a:chOff x="660400" y="1130300"/>
            <a:chExt cx="10858500" cy="5003800"/>
          </a:xfrm>
        </p:grpSpPr>
        <p:sp>
          <p:nvSpPr>
            <p:cNvPr id="6" name="ïšlïḓé">
              <a:extLst>
                <a:ext uri="{FF2B5EF4-FFF2-40B4-BE49-F238E27FC236}">
                  <a16:creationId xmlns:a16="http://schemas.microsoft.com/office/drawing/2014/main" id="{C85E40FD-C0C1-424C-968F-7FBBDC6819D4}"/>
                </a:ext>
              </a:extLst>
            </p:cNvPr>
            <p:cNvSpPr/>
            <p:nvPr/>
          </p:nvSpPr>
          <p:spPr>
            <a:xfrm>
              <a:off x="660400" y="1673437"/>
              <a:ext cx="10858500" cy="54000"/>
            </a:xfrm>
            <a:prstGeom prst="rect">
              <a:avLst/>
            </a:prstGeom>
            <a:solidFill>
              <a:schemeClr val="bg1">
                <a:lumMod val="95000"/>
              </a:schemeClr>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i="1">
                <a:solidFill>
                  <a:schemeClr val="tx1"/>
                </a:solidFill>
              </a:endParaRPr>
            </a:p>
          </p:txBody>
        </p:sp>
        <p:sp>
          <p:nvSpPr>
            <p:cNvPr id="7" name="îślïḋé">
              <a:extLst>
                <a:ext uri="{FF2B5EF4-FFF2-40B4-BE49-F238E27FC236}">
                  <a16:creationId xmlns:a16="http://schemas.microsoft.com/office/drawing/2014/main" id="{1567F5FB-D9A2-443C-920A-97646842D1CF}"/>
                </a:ext>
              </a:extLst>
            </p:cNvPr>
            <p:cNvSpPr/>
            <p:nvPr/>
          </p:nvSpPr>
          <p:spPr>
            <a:xfrm>
              <a:off x="849312" y="1562324"/>
              <a:ext cx="276226" cy="276226"/>
            </a:xfrm>
            <a:prstGeom prst="ellipse">
              <a:avLst/>
            </a:prstGeom>
            <a:solidFill>
              <a:schemeClr val="tx1">
                <a:lumMod val="50000"/>
                <a:lumOff val="50000"/>
              </a:schemeClr>
            </a:solidFill>
            <a:ln w="28575">
              <a:solidFill>
                <a:schemeClr val="bg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40000" lnSpcReduction="20000"/>
            </a:bodyPr>
            <a:lstStyle/>
            <a:p>
              <a:pPr algn="ctr" defTabSz="914354"/>
              <a:endParaRPr lang="zh-CN" altLang="en-US" sz="2000" b="1" i="1">
                <a:solidFill>
                  <a:schemeClr val="tx1"/>
                </a:solidFill>
              </a:endParaRPr>
            </a:p>
          </p:txBody>
        </p:sp>
        <p:sp>
          <p:nvSpPr>
            <p:cNvPr id="8" name="iŝľíḋé">
              <a:extLst>
                <a:ext uri="{FF2B5EF4-FFF2-40B4-BE49-F238E27FC236}">
                  <a16:creationId xmlns:a16="http://schemas.microsoft.com/office/drawing/2014/main" id="{F29B8C60-FE24-4C9E-854E-3BB576656541}"/>
                </a:ext>
              </a:extLst>
            </p:cNvPr>
            <p:cNvSpPr txBox="1"/>
            <p:nvPr/>
          </p:nvSpPr>
          <p:spPr bwMode="auto">
            <a:xfrm>
              <a:off x="660400" y="1130300"/>
              <a:ext cx="654050" cy="43202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925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a:t>20</a:t>
              </a:r>
              <a:r>
                <a:rPr lang="en-US" altLang="zh-CN" sz="100"/>
                <a:t> </a:t>
              </a:r>
              <a:r>
                <a:rPr lang="en-US" altLang="zh-CN" sz="1600"/>
                <a:t>XX</a:t>
              </a:r>
              <a:endParaRPr lang="en-US" altLang="zh-CN" sz="1600" dirty="0"/>
            </a:p>
          </p:txBody>
        </p:sp>
        <p:cxnSp>
          <p:nvCxnSpPr>
            <p:cNvPr id="9" name="íşlíďè">
              <a:extLst>
                <a:ext uri="{FF2B5EF4-FFF2-40B4-BE49-F238E27FC236}">
                  <a16:creationId xmlns:a16="http://schemas.microsoft.com/office/drawing/2014/main" id="{E1C2C202-D139-4EF5-91A3-5FC88068CC90}"/>
                </a:ext>
              </a:extLst>
            </p:cNvPr>
            <p:cNvCxnSpPr>
              <a:stCxn id="7" idx="4"/>
              <a:endCxn id="32" idx="1"/>
            </p:cNvCxnSpPr>
            <p:nvPr/>
          </p:nvCxnSpPr>
          <p:spPr>
            <a:xfrm rot="16200000" flipH="1">
              <a:off x="649017" y="2176958"/>
              <a:ext cx="814930" cy="138114"/>
            </a:xfrm>
            <a:prstGeom prst="bentConnector2">
              <a:avLst/>
            </a:prstGeom>
            <a:ln w="3175" cap="rnd">
              <a:solidFill>
                <a:schemeClr val="bg1">
                  <a:lumMod val="75000"/>
                </a:schemeClr>
              </a:solidFill>
              <a:round/>
              <a:tailEnd type="oval"/>
            </a:ln>
          </p:spPr>
          <p:style>
            <a:lnRef idx="1">
              <a:schemeClr val="accent1"/>
            </a:lnRef>
            <a:fillRef idx="0">
              <a:schemeClr val="accent1"/>
            </a:fillRef>
            <a:effectRef idx="0">
              <a:schemeClr val="accent1"/>
            </a:effectRef>
            <a:fontRef idx="minor">
              <a:schemeClr val="tx1"/>
            </a:fontRef>
          </p:style>
        </p:cxnSp>
        <p:sp>
          <p:nvSpPr>
            <p:cNvPr id="10" name="ïSlîḍé">
              <a:extLst>
                <a:ext uri="{FF2B5EF4-FFF2-40B4-BE49-F238E27FC236}">
                  <a16:creationId xmlns:a16="http://schemas.microsoft.com/office/drawing/2014/main" id="{ABC13677-00B9-45B1-86CB-C0969C8FBCBC}"/>
                </a:ext>
              </a:extLst>
            </p:cNvPr>
            <p:cNvSpPr/>
            <p:nvPr/>
          </p:nvSpPr>
          <p:spPr>
            <a:xfrm>
              <a:off x="4718049" y="1562324"/>
              <a:ext cx="276226" cy="276226"/>
            </a:xfrm>
            <a:prstGeom prst="ellipse">
              <a:avLst/>
            </a:prstGeom>
            <a:solidFill>
              <a:schemeClr val="tx1">
                <a:lumMod val="50000"/>
                <a:lumOff val="50000"/>
              </a:schemeClr>
            </a:solidFill>
            <a:ln w="28575">
              <a:solidFill>
                <a:schemeClr val="bg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40000" lnSpcReduction="20000"/>
            </a:bodyPr>
            <a:lstStyle/>
            <a:p>
              <a:pPr algn="ctr" defTabSz="914354"/>
              <a:endParaRPr lang="zh-CN" altLang="en-US" sz="2000" b="1" i="1">
                <a:solidFill>
                  <a:schemeClr val="tx1"/>
                </a:solidFill>
              </a:endParaRPr>
            </a:p>
          </p:txBody>
        </p:sp>
        <p:sp>
          <p:nvSpPr>
            <p:cNvPr id="11" name="ïṡ1íďè">
              <a:extLst>
                <a:ext uri="{FF2B5EF4-FFF2-40B4-BE49-F238E27FC236}">
                  <a16:creationId xmlns:a16="http://schemas.microsoft.com/office/drawing/2014/main" id="{F29B8C60-FE24-4C9E-854E-3BB576656541}"/>
                </a:ext>
              </a:extLst>
            </p:cNvPr>
            <p:cNvSpPr txBox="1"/>
            <p:nvPr/>
          </p:nvSpPr>
          <p:spPr bwMode="auto">
            <a:xfrm>
              <a:off x="4529137" y="1130300"/>
              <a:ext cx="654050" cy="43202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925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a:t>20</a:t>
              </a:r>
              <a:r>
                <a:rPr lang="en-US" altLang="zh-CN" sz="100"/>
                <a:t> </a:t>
              </a:r>
              <a:r>
                <a:rPr lang="en-US" altLang="zh-CN" sz="1600"/>
                <a:t>XX</a:t>
              </a:r>
              <a:endParaRPr lang="en-US" altLang="zh-CN" sz="1600" dirty="0"/>
            </a:p>
          </p:txBody>
        </p:sp>
        <p:cxnSp>
          <p:nvCxnSpPr>
            <p:cNvPr id="12" name="íṩľïḑê">
              <a:extLst>
                <a:ext uri="{FF2B5EF4-FFF2-40B4-BE49-F238E27FC236}">
                  <a16:creationId xmlns:a16="http://schemas.microsoft.com/office/drawing/2014/main" id="{F13159AE-ACC7-45F1-A934-9D59D59E1FE0}"/>
                </a:ext>
              </a:extLst>
            </p:cNvPr>
            <p:cNvCxnSpPr>
              <a:stCxn id="10" idx="4"/>
              <a:endCxn id="26" idx="1"/>
            </p:cNvCxnSpPr>
            <p:nvPr/>
          </p:nvCxnSpPr>
          <p:spPr>
            <a:xfrm rot="16200000" flipH="1">
              <a:off x="3755473" y="2939239"/>
              <a:ext cx="2339493" cy="138114"/>
            </a:xfrm>
            <a:prstGeom prst="bentConnector2">
              <a:avLst/>
            </a:prstGeom>
            <a:ln w="3175" cap="rnd">
              <a:solidFill>
                <a:schemeClr val="bg1">
                  <a:lumMod val="75000"/>
                </a:schemeClr>
              </a:solidFill>
              <a:round/>
              <a:tailEnd type="oval"/>
            </a:ln>
          </p:spPr>
          <p:style>
            <a:lnRef idx="1">
              <a:schemeClr val="accent1"/>
            </a:lnRef>
            <a:fillRef idx="0">
              <a:schemeClr val="accent1"/>
            </a:fillRef>
            <a:effectRef idx="0">
              <a:schemeClr val="accent1"/>
            </a:effectRef>
            <a:fontRef idx="minor">
              <a:schemeClr val="tx1"/>
            </a:fontRef>
          </p:style>
        </p:cxnSp>
        <p:sp>
          <p:nvSpPr>
            <p:cNvPr id="13" name="íṧļîḍê">
              <a:extLst>
                <a:ext uri="{FF2B5EF4-FFF2-40B4-BE49-F238E27FC236}">
                  <a16:creationId xmlns:a16="http://schemas.microsoft.com/office/drawing/2014/main" id="{51588B7D-C8A6-4C50-A24B-7446A4D3D7AB}"/>
                </a:ext>
              </a:extLst>
            </p:cNvPr>
            <p:cNvSpPr/>
            <p:nvPr/>
          </p:nvSpPr>
          <p:spPr>
            <a:xfrm>
              <a:off x="8586786" y="1562324"/>
              <a:ext cx="276226" cy="276226"/>
            </a:xfrm>
            <a:prstGeom prst="ellipse">
              <a:avLst/>
            </a:prstGeom>
            <a:solidFill>
              <a:schemeClr val="accent1"/>
            </a:solidFill>
            <a:ln w="28575">
              <a:solidFill>
                <a:schemeClr val="bg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40000" lnSpcReduction="20000"/>
            </a:bodyPr>
            <a:lstStyle/>
            <a:p>
              <a:pPr algn="ctr" defTabSz="914354"/>
              <a:endParaRPr lang="zh-CN" altLang="en-US" sz="2000" b="1" i="1">
                <a:solidFill>
                  <a:schemeClr val="tx1"/>
                </a:solidFill>
              </a:endParaRPr>
            </a:p>
          </p:txBody>
        </p:sp>
        <p:sp>
          <p:nvSpPr>
            <p:cNvPr id="14" name="íŝ1íďè">
              <a:extLst>
                <a:ext uri="{FF2B5EF4-FFF2-40B4-BE49-F238E27FC236}">
                  <a16:creationId xmlns:a16="http://schemas.microsoft.com/office/drawing/2014/main" id="{F29B8C60-FE24-4C9E-854E-3BB576656541}"/>
                </a:ext>
              </a:extLst>
            </p:cNvPr>
            <p:cNvSpPr txBox="1"/>
            <p:nvPr/>
          </p:nvSpPr>
          <p:spPr bwMode="auto">
            <a:xfrm>
              <a:off x="8397874" y="1130300"/>
              <a:ext cx="654050" cy="43202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925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a:t>20</a:t>
              </a:r>
              <a:r>
                <a:rPr lang="en-US" altLang="zh-CN" sz="100"/>
                <a:t> </a:t>
              </a:r>
              <a:r>
                <a:rPr lang="en-US" altLang="zh-CN" sz="1600"/>
                <a:t>XX</a:t>
              </a:r>
              <a:endParaRPr lang="en-US" altLang="zh-CN" sz="1600" dirty="0"/>
            </a:p>
          </p:txBody>
        </p:sp>
        <p:grpSp>
          <p:nvGrpSpPr>
            <p:cNvPr id="15" name="iṩḻïdé">
              <a:extLst>
                <a:ext uri="{FF2B5EF4-FFF2-40B4-BE49-F238E27FC236}">
                  <a16:creationId xmlns:a16="http://schemas.microsoft.com/office/drawing/2014/main" id="{BFD0D159-A087-42FE-9D19-9B7D0F7E984A}"/>
                </a:ext>
              </a:extLst>
            </p:cNvPr>
            <p:cNvGrpSpPr/>
            <p:nvPr/>
          </p:nvGrpSpPr>
          <p:grpSpPr>
            <a:xfrm>
              <a:off x="1125538" y="1865999"/>
              <a:ext cx="2655888" cy="1218975"/>
              <a:chOff x="1125538" y="1838550"/>
              <a:chExt cx="2655888" cy="1218975"/>
            </a:xfrm>
          </p:grpSpPr>
          <p:sp>
            <p:nvSpPr>
              <p:cNvPr id="32" name="íSḻîdê">
                <a:extLst>
                  <a:ext uri="{FF2B5EF4-FFF2-40B4-BE49-F238E27FC236}">
                    <a16:creationId xmlns:a16="http://schemas.microsoft.com/office/drawing/2014/main" id="{F0AD77BF-3BC9-4BA4-A824-624DC48BE220}"/>
                  </a:ext>
                </a:extLst>
              </p:cNvPr>
              <p:cNvSpPr/>
              <p:nvPr/>
            </p:nvSpPr>
            <p:spPr bwMode="auto">
              <a:xfrm>
                <a:off x="1125539" y="2194536"/>
                <a:ext cx="2655887" cy="862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nSpc>
                    <a:spcPct val="150000"/>
                  </a:lnSpc>
                </a:pPr>
                <a:r>
                  <a:rPr lang="en-US" altLang="zh-CN" sz="1100" dirty="0"/>
                  <a:t>Copy paste fonts. Choose the only option </a:t>
                </a:r>
                <a:r>
                  <a:rPr lang="en-US" altLang="zh-CN" sz="1100"/>
                  <a:t>to r</a:t>
                </a:r>
                <a:r>
                  <a:rPr lang="en-US" altLang="zh-CN" sz="100"/>
                  <a:t> </a:t>
                </a:r>
                <a:r>
                  <a:rPr lang="en-US" altLang="zh-CN" sz="1100"/>
                  <a:t>etain </a:t>
                </a:r>
                <a:r>
                  <a:rPr lang="en-US" altLang="zh-CN" sz="1100" dirty="0"/>
                  <a:t>text.</a:t>
                </a:r>
                <a:br>
                  <a:rPr lang="en-US" altLang="zh-CN" sz="1100" dirty="0"/>
                </a:br>
                <a:r>
                  <a:rPr lang="en-US" altLang="zh-CN" sz="1100" dirty="0"/>
                  <a:t>……</a:t>
                </a:r>
              </a:p>
            </p:txBody>
          </p:sp>
          <p:sp>
            <p:nvSpPr>
              <p:cNvPr id="33" name="îṧḷiḓê">
                <a:extLst>
                  <a:ext uri="{FF2B5EF4-FFF2-40B4-BE49-F238E27FC236}">
                    <a16:creationId xmlns:a16="http://schemas.microsoft.com/office/drawing/2014/main" id="{00846D5A-A2E8-4634-B617-33182036E1B7}"/>
                  </a:ext>
                </a:extLst>
              </p:cNvPr>
              <p:cNvSpPr txBox="1"/>
              <p:nvPr/>
            </p:nvSpPr>
            <p:spPr bwMode="auto">
              <a:xfrm>
                <a:off x="1125538" y="1838550"/>
                <a:ext cx="2655887" cy="35598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eaLnBrk="1" hangingPunct="1">
                  <a:lnSpc>
                    <a:spcPct val="100000"/>
                  </a:lnSpc>
                  <a:spcBef>
                    <a:spcPct val="0"/>
                  </a:spcBef>
                </a:pPr>
                <a:r>
                  <a:rPr lang="en-US" altLang="zh-CN" sz="1600" b="1"/>
                  <a:t>Text h</a:t>
                </a:r>
                <a:r>
                  <a:rPr lang="en-US" altLang="zh-CN" sz="100" b="1"/>
                  <a:t> </a:t>
                </a:r>
                <a:r>
                  <a:rPr lang="en-US" altLang="zh-CN" sz="1600" b="1"/>
                  <a:t>ere</a:t>
                </a:r>
                <a:endParaRPr lang="en-US" altLang="zh-CN" sz="1600" b="1" dirty="0"/>
              </a:p>
            </p:txBody>
          </p:sp>
        </p:grpSp>
        <p:grpSp>
          <p:nvGrpSpPr>
            <p:cNvPr id="16" name="íṩlíďe">
              <a:extLst>
                <a:ext uri="{FF2B5EF4-FFF2-40B4-BE49-F238E27FC236}">
                  <a16:creationId xmlns:a16="http://schemas.microsoft.com/office/drawing/2014/main" id="{3098EC51-FB8C-497A-9FBD-C4263035D0D1}"/>
                </a:ext>
              </a:extLst>
            </p:cNvPr>
            <p:cNvGrpSpPr/>
            <p:nvPr/>
          </p:nvGrpSpPr>
          <p:grpSpPr>
            <a:xfrm>
              <a:off x="4994275" y="1865999"/>
              <a:ext cx="2655888" cy="1218975"/>
              <a:chOff x="1125538" y="1838550"/>
              <a:chExt cx="2655888" cy="1218975"/>
            </a:xfrm>
          </p:grpSpPr>
          <p:sp>
            <p:nvSpPr>
              <p:cNvPr id="30" name="ï$ļîḋê">
                <a:extLst>
                  <a:ext uri="{FF2B5EF4-FFF2-40B4-BE49-F238E27FC236}">
                    <a16:creationId xmlns:a16="http://schemas.microsoft.com/office/drawing/2014/main" id="{F0AD77BF-3BC9-4BA4-A824-624DC48BE220}"/>
                  </a:ext>
                </a:extLst>
              </p:cNvPr>
              <p:cNvSpPr/>
              <p:nvPr/>
            </p:nvSpPr>
            <p:spPr bwMode="auto">
              <a:xfrm>
                <a:off x="1125539" y="2194536"/>
                <a:ext cx="2655887" cy="862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nSpc>
                    <a:spcPct val="150000"/>
                  </a:lnSpc>
                </a:pPr>
                <a:r>
                  <a:rPr lang="en-US" altLang="zh-CN" sz="1100" dirty="0"/>
                  <a:t>Copy paste fonts. Choose the only option </a:t>
                </a:r>
                <a:r>
                  <a:rPr lang="en-US" altLang="zh-CN" sz="1100"/>
                  <a:t>to r</a:t>
                </a:r>
                <a:r>
                  <a:rPr lang="en-US" altLang="zh-CN" sz="100"/>
                  <a:t> </a:t>
                </a:r>
                <a:r>
                  <a:rPr lang="en-US" altLang="zh-CN" sz="1100"/>
                  <a:t>etain </a:t>
                </a:r>
                <a:r>
                  <a:rPr lang="en-US" altLang="zh-CN" sz="1100" dirty="0"/>
                  <a:t>text.</a:t>
                </a:r>
                <a:br>
                  <a:rPr lang="en-US" altLang="zh-CN" sz="1100" dirty="0"/>
                </a:br>
                <a:r>
                  <a:rPr lang="en-US" altLang="zh-CN" sz="1100" dirty="0"/>
                  <a:t>……</a:t>
                </a:r>
              </a:p>
            </p:txBody>
          </p:sp>
          <p:sp>
            <p:nvSpPr>
              <p:cNvPr id="31" name="îṥľïdé">
                <a:extLst>
                  <a:ext uri="{FF2B5EF4-FFF2-40B4-BE49-F238E27FC236}">
                    <a16:creationId xmlns:a16="http://schemas.microsoft.com/office/drawing/2014/main" id="{00846D5A-A2E8-4634-B617-33182036E1B7}"/>
                  </a:ext>
                </a:extLst>
              </p:cNvPr>
              <p:cNvSpPr txBox="1"/>
              <p:nvPr/>
            </p:nvSpPr>
            <p:spPr bwMode="auto">
              <a:xfrm>
                <a:off x="1125538" y="1838550"/>
                <a:ext cx="2655887" cy="35598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eaLnBrk="1" hangingPunct="1">
                  <a:lnSpc>
                    <a:spcPct val="100000"/>
                  </a:lnSpc>
                  <a:spcBef>
                    <a:spcPct val="0"/>
                  </a:spcBef>
                </a:pPr>
                <a:r>
                  <a:rPr lang="en-US" altLang="zh-CN" sz="1600" b="1"/>
                  <a:t>Text h</a:t>
                </a:r>
                <a:r>
                  <a:rPr lang="en-US" altLang="zh-CN" sz="100" b="1"/>
                  <a:t> </a:t>
                </a:r>
                <a:r>
                  <a:rPr lang="en-US" altLang="zh-CN" sz="1600" b="1"/>
                  <a:t>ere</a:t>
                </a:r>
                <a:endParaRPr lang="en-US" altLang="zh-CN" sz="1600" b="1" dirty="0"/>
              </a:p>
            </p:txBody>
          </p:sp>
        </p:grpSp>
        <p:grpSp>
          <p:nvGrpSpPr>
            <p:cNvPr id="17" name="íṥlîḑé">
              <a:extLst>
                <a:ext uri="{FF2B5EF4-FFF2-40B4-BE49-F238E27FC236}">
                  <a16:creationId xmlns:a16="http://schemas.microsoft.com/office/drawing/2014/main" id="{20D232C8-8B27-4338-871F-C0747ED562CA}"/>
                </a:ext>
              </a:extLst>
            </p:cNvPr>
            <p:cNvGrpSpPr/>
            <p:nvPr/>
          </p:nvGrpSpPr>
          <p:grpSpPr>
            <a:xfrm>
              <a:off x="8863012" y="1865999"/>
              <a:ext cx="2655888" cy="1218975"/>
              <a:chOff x="1125538" y="1838550"/>
              <a:chExt cx="2655888" cy="1218975"/>
            </a:xfrm>
          </p:grpSpPr>
          <p:sp>
            <p:nvSpPr>
              <p:cNvPr id="28" name="išḷîdé">
                <a:extLst>
                  <a:ext uri="{FF2B5EF4-FFF2-40B4-BE49-F238E27FC236}">
                    <a16:creationId xmlns:a16="http://schemas.microsoft.com/office/drawing/2014/main" id="{F0AD77BF-3BC9-4BA4-A824-624DC48BE220}"/>
                  </a:ext>
                </a:extLst>
              </p:cNvPr>
              <p:cNvSpPr/>
              <p:nvPr/>
            </p:nvSpPr>
            <p:spPr bwMode="auto">
              <a:xfrm>
                <a:off x="1125539" y="2194536"/>
                <a:ext cx="2655887" cy="862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nSpc>
                    <a:spcPct val="150000"/>
                  </a:lnSpc>
                </a:pPr>
                <a:r>
                  <a:rPr lang="en-US" altLang="zh-CN" sz="1100"/>
                  <a:t>Copy pas</a:t>
                </a:r>
                <a:r>
                  <a:rPr lang="en-US" altLang="zh-CN" sz="100"/>
                  <a:t> </a:t>
                </a:r>
                <a:r>
                  <a:rPr lang="en-US" altLang="zh-CN" sz="1100"/>
                  <a:t>te </a:t>
                </a:r>
                <a:r>
                  <a:rPr lang="en-US" altLang="zh-CN" sz="1100" dirty="0"/>
                  <a:t>fonts. Choose the only option to retain text.</a:t>
                </a:r>
                <a:br>
                  <a:rPr lang="en-US" altLang="zh-CN" sz="1100" dirty="0"/>
                </a:br>
                <a:r>
                  <a:rPr lang="en-US" altLang="zh-CN" sz="1100" dirty="0"/>
                  <a:t>……</a:t>
                </a:r>
              </a:p>
            </p:txBody>
          </p:sp>
          <p:sp>
            <p:nvSpPr>
              <p:cNvPr id="29" name="i$ḻidè">
                <a:extLst>
                  <a:ext uri="{FF2B5EF4-FFF2-40B4-BE49-F238E27FC236}">
                    <a16:creationId xmlns:a16="http://schemas.microsoft.com/office/drawing/2014/main" id="{00846D5A-A2E8-4634-B617-33182036E1B7}"/>
                  </a:ext>
                </a:extLst>
              </p:cNvPr>
              <p:cNvSpPr txBox="1"/>
              <p:nvPr/>
            </p:nvSpPr>
            <p:spPr bwMode="auto">
              <a:xfrm>
                <a:off x="1125538" y="1838550"/>
                <a:ext cx="2655887" cy="35598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eaLnBrk="1" hangingPunct="1">
                  <a:lnSpc>
                    <a:spcPct val="100000"/>
                  </a:lnSpc>
                  <a:spcBef>
                    <a:spcPct val="0"/>
                  </a:spcBef>
                </a:pPr>
                <a:r>
                  <a:rPr lang="en-US" altLang="zh-CN" sz="1600" b="1"/>
                  <a:t>T</a:t>
                </a:r>
                <a:r>
                  <a:rPr lang="en-US" altLang="zh-CN" sz="100" b="1"/>
                  <a:t> </a:t>
                </a:r>
                <a:r>
                  <a:rPr lang="en-US" altLang="zh-CN" sz="1600" b="1"/>
                  <a:t>ext </a:t>
                </a:r>
                <a:r>
                  <a:rPr lang="en-US" altLang="zh-CN" sz="1600" b="1" dirty="0"/>
                  <a:t>here</a:t>
                </a:r>
              </a:p>
            </p:txBody>
          </p:sp>
        </p:grpSp>
        <p:cxnSp>
          <p:nvCxnSpPr>
            <p:cNvPr id="18" name="ïšľïdê">
              <a:extLst>
                <a:ext uri="{FF2B5EF4-FFF2-40B4-BE49-F238E27FC236}">
                  <a16:creationId xmlns:a16="http://schemas.microsoft.com/office/drawing/2014/main" id="{1D872518-3DB0-4081-AC7F-7C748A4F541D}"/>
                </a:ext>
              </a:extLst>
            </p:cNvPr>
            <p:cNvCxnSpPr>
              <a:stCxn id="13" idx="4"/>
              <a:endCxn id="22" idx="1"/>
            </p:cNvCxnSpPr>
            <p:nvPr/>
          </p:nvCxnSpPr>
          <p:spPr>
            <a:xfrm rot="16200000" flipH="1">
              <a:off x="6861928" y="3701521"/>
              <a:ext cx="3864056" cy="138114"/>
            </a:xfrm>
            <a:prstGeom prst="bentConnector2">
              <a:avLst/>
            </a:prstGeom>
            <a:ln w="3175" cap="rnd">
              <a:solidFill>
                <a:schemeClr val="bg1">
                  <a:lumMod val="75000"/>
                </a:schemeClr>
              </a:solidFill>
              <a:round/>
              <a:tailEnd type="oval"/>
            </a:ln>
          </p:spPr>
          <p:style>
            <a:lnRef idx="1">
              <a:schemeClr val="accent1"/>
            </a:lnRef>
            <a:fillRef idx="0">
              <a:schemeClr val="accent1"/>
            </a:fillRef>
            <a:effectRef idx="0">
              <a:schemeClr val="accent1"/>
            </a:effectRef>
            <a:fontRef idx="minor">
              <a:schemeClr val="tx1"/>
            </a:fontRef>
          </p:style>
        </p:cxnSp>
        <p:grpSp>
          <p:nvGrpSpPr>
            <p:cNvPr id="19" name="iṧḷiďé">
              <a:extLst>
                <a:ext uri="{FF2B5EF4-FFF2-40B4-BE49-F238E27FC236}">
                  <a16:creationId xmlns:a16="http://schemas.microsoft.com/office/drawing/2014/main" id="{22664A2C-2136-4C25-9CD7-CA95B4B1F0BE}"/>
                </a:ext>
              </a:extLst>
            </p:cNvPr>
            <p:cNvGrpSpPr/>
            <p:nvPr/>
          </p:nvGrpSpPr>
          <p:grpSpPr>
            <a:xfrm>
              <a:off x="4994275" y="3390562"/>
              <a:ext cx="2655888" cy="1218975"/>
              <a:chOff x="1125538" y="1838550"/>
              <a:chExt cx="2655888" cy="1218975"/>
            </a:xfrm>
          </p:grpSpPr>
          <p:sp>
            <p:nvSpPr>
              <p:cNvPr id="26" name="îṣḷiḓe">
                <a:extLst>
                  <a:ext uri="{FF2B5EF4-FFF2-40B4-BE49-F238E27FC236}">
                    <a16:creationId xmlns:a16="http://schemas.microsoft.com/office/drawing/2014/main" id="{F0AD77BF-3BC9-4BA4-A824-624DC48BE220}"/>
                  </a:ext>
                </a:extLst>
              </p:cNvPr>
              <p:cNvSpPr/>
              <p:nvPr/>
            </p:nvSpPr>
            <p:spPr bwMode="auto">
              <a:xfrm>
                <a:off x="1125539" y="2194536"/>
                <a:ext cx="2655887" cy="862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nSpc>
                    <a:spcPct val="150000"/>
                  </a:lnSpc>
                </a:pPr>
                <a:r>
                  <a:rPr lang="en-US" altLang="zh-CN" sz="1100"/>
                  <a:t>Copy pas</a:t>
                </a:r>
                <a:r>
                  <a:rPr lang="en-US" altLang="zh-CN" sz="100"/>
                  <a:t> </a:t>
                </a:r>
                <a:r>
                  <a:rPr lang="en-US" altLang="zh-CN" sz="1100"/>
                  <a:t>te </a:t>
                </a:r>
                <a:r>
                  <a:rPr lang="en-US" altLang="zh-CN" sz="1100" dirty="0"/>
                  <a:t>fonts. Choose the only option to retain text.</a:t>
                </a:r>
                <a:br>
                  <a:rPr lang="en-US" altLang="zh-CN" sz="1100" dirty="0"/>
                </a:br>
                <a:r>
                  <a:rPr lang="en-US" altLang="zh-CN" sz="1100" dirty="0"/>
                  <a:t>……</a:t>
                </a:r>
              </a:p>
            </p:txBody>
          </p:sp>
          <p:sp>
            <p:nvSpPr>
              <p:cNvPr id="27" name="îṣḻîḋe">
                <a:extLst>
                  <a:ext uri="{FF2B5EF4-FFF2-40B4-BE49-F238E27FC236}">
                    <a16:creationId xmlns:a16="http://schemas.microsoft.com/office/drawing/2014/main" id="{00846D5A-A2E8-4634-B617-33182036E1B7}"/>
                  </a:ext>
                </a:extLst>
              </p:cNvPr>
              <p:cNvSpPr txBox="1"/>
              <p:nvPr/>
            </p:nvSpPr>
            <p:spPr bwMode="auto">
              <a:xfrm>
                <a:off x="1125538" y="1838550"/>
                <a:ext cx="2655887" cy="35598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eaLnBrk="1" hangingPunct="1">
                  <a:lnSpc>
                    <a:spcPct val="100000"/>
                  </a:lnSpc>
                  <a:spcBef>
                    <a:spcPct val="0"/>
                  </a:spcBef>
                </a:pPr>
                <a:r>
                  <a:rPr lang="en-US" altLang="zh-CN" sz="1600" b="1"/>
                  <a:t>T</a:t>
                </a:r>
                <a:r>
                  <a:rPr lang="en-US" altLang="zh-CN" sz="100" b="1"/>
                  <a:t> </a:t>
                </a:r>
                <a:r>
                  <a:rPr lang="en-US" altLang="zh-CN" sz="1600" b="1"/>
                  <a:t>ext </a:t>
                </a:r>
                <a:r>
                  <a:rPr lang="en-US" altLang="zh-CN" sz="1600" b="1" dirty="0"/>
                  <a:t>here</a:t>
                </a:r>
              </a:p>
            </p:txBody>
          </p:sp>
        </p:grpSp>
        <p:grpSp>
          <p:nvGrpSpPr>
            <p:cNvPr id="20" name="í$1ïḑe">
              <a:extLst>
                <a:ext uri="{FF2B5EF4-FFF2-40B4-BE49-F238E27FC236}">
                  <a16:creationId xmlns:a16="http://schemas.microsoft.com/office/drawing/2014/main" id="{65932ED2-3BD4-44AB-95D2-418171103A6F}"/>
                </a:ext>
              </a:extLst>
            </p:cNvPr>
            <p:cNvGrpSpPr/>
            <p:nvPr/>
          </p:nvGrpSpPr>
          <p:grpSpPr>
            <a:xfrm>
              <a:off x="8863012" y="3390562"/>
              <a:ext cx="2655888" cy="1218975"/>
              <a:chOff x="1125538" y="1838550"/>
              <a:chExt cx="2655888" cy="1218975"/>
            </a:xfrm>
          </p:grpSpPr>
          <p:sp>
            <p:nvSpPr>
              <p:cNvPr id="24" name="ïṩľïďe">
                <a:extLst>
                  <a:ext uri="{FF2B5EF4-FFF2-40B4-BE49-F238E27FC236}">
                    <a16:creationId xmlns:a16="http://schemas.microsoft.com/office/drawing/2014/main" id="{F0AD77BF-3BC9-4BA4-A824-624DC48BE220}"/>
                  </a:ext>
                </a:extLst>
              </p:cNvPr>
              <p:cNvSpPr/>
              <p:nvPr/>
            </p:nvSpPr>
            <p:spPr bwMode="auto">
              <a:xfrm>
                <a:off x="1125539" y="2194536"/>
                <a:ext cx="2655887" cy="862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nSpc>
                    <a:spcPct val="150000"/>
                  </a:lnSpc>
                </a:pPr>
                <a:r>
                  <a:rPr lang="en-US" altLang="zh-CN" sz="1100"/>
                  <a:t>Copy pas</a:t>
                </a:r>
                <a:r>
                  <a:rPr lang="en-US" altLang="zh-CN" sz="100"/>
                  <a:t> </a:t>
                </a:r>
                <a:r>
                  <a:rPr lang="en-US" altLang="zh-CN" sz="1100"/>
                  <a:t>te </a:t>
                </a:r>
                <a:r>
                  <a:rPr lang="en-US" altLang="zh-CN" sz="1100" dirty="0"/>
                  <a:t>fonts. Choose the only option to retain text.</a:t>
                </a:r>
                <a:br>
                  <a:rPr lang="en-US" altLang="zh-CN" sz="1100" dirty="0"/>
                </a:br>
                <a:r>
                  <a:rPr lang="en-US" altLang="zh-CN" sz="1100" dirty="0"/>
                  <a:t>……</a:t>
                </a:r>
              </a:p>
            </p:txBody>
          </p:sp>
          <p:sp>
            <p:nvSpPr>
              <p:cNvPr id="25" name="iṥļíḍê">
                <a:extLst>
                  <a:ext uri="{FF2B5EF4-FFF2-40B4-BE49-F238E27FC236}">
                    <a16:creationId xmlns:a16="http://schemas.microsoft.com/office/drawing/2014/main" id="{00846D5A-A2E8-4634-B617-33182036E1B7}"/>
                  </a:ext>
                </a:extLst>
              </p:cNvPr>
              <p:cNvSpPr txBox="1"/>
              <p:nvPr/>
            </p:nvSpPr>
            <p:spPr bwMode="auto">
              <a:xfrm>
                <a:off x="1125538" y="1838550"/>
                <a:ext cx="2655887" cy="35598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eaLnBrk="1" hangingPunct="1">
                  <a:lnSpc>
                    <a:spcPct val="100000"/>
                  </a:lnSpc>
                  <a:spcBef>
                    <a:spcPct val="0"/>
                  </a:spcBef>
                </a:pPr>
                <a:r>
                  <a:rPr lang="en-US" altLang="zh-CN" sz="1600" b="1"/>
                  <a:t>T</a:t>
                </a:r>
                <a:r>
                  <a:rPr lang="en-US" altLang="zh-CN" sz="100" b="1"/>
                  <a:t> </a:t>
                </a:r>
                <a:r>
                  <a:rPr lang="en-US" altLang="zh-CN" sz="1600" b="1"/>
                  <a:t>ext </a:t>
                </a:r>
                <a:r>
                  <a:rPr lang="en-US" altLang="zh-CN" sz="1600" b="1" dirty="0"/>
                  <a:t>here</a:t>
                </a:r>
              </a:p>
            </p:txBody>
          </p:sp>
        </p:grpSp>
        <p:grpSp>
          <p:nvGrpSpPr>
            <p:cNvPr id="21" name="ïsḻidè">
              <a:extLst>
                <a:ext uri="{FF2B5EF4-FFF2-40B4-BE49-F238E27FC236}">
                  <a16:creationId xmlns:a16="http://schemas.microsoft.com/office/drawing/2014/main" id="{27785AA2-7D4F-4AF0-886C-00BB29698D39}"/>
                </a:ext>
              </a:extLst>
            </p:cNvPr>
            <p:cNvGrpSpPr/>
            <p:nvPr/>
          </p:nvGrpSpPr>
          <p:grpSpPr>
            <a:xfrm>
              <a:off x="8863012" y="4915125"/>
              <a:ext cx="2655888" cy="1218975"/>
              <a:chOff x="1125538" y="1838550"/>
              <a:chExt cx="2655888" cy="1218975"/>
            </a:xfrm>
          </p:grpSpPr>
          <p:sp>
            <p:nvSpPr>
              <p:cNvPr id="22" name="ïšľîḓè">
                <a:extLst>
                  <a:ext uri="{FF2B5EF4-FFF2-40B4-BE49-F238E27FC236}">
                    <a16:creationId xmlns:a16="http://schemas.microsoft.com/office/drawing/2014/main" id="{F0AD77BF-3BC9-4BA4-A824-624DC48BE220}"/>
                  </a:ext>
                </a:extLst>
              </p:cNvPr>
              <p:cNvSpPr/>
              <p:nvPr/>
            </p:nvSpPr>
            <p:spPr bwMode="auto">
              <a:xfrm>
                <a:off x="1125539" y="2194536"/>
                <a:ext cx="2655887" cy="862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nSpc>
                    <a:spcPct val="150000"/>
                  </a:lnSpc>
                </a:pPr>
                <a:r>
                  <a:rPr lang="en-US" altLang="zh-CN" sz="1100"/>
                  <a:t>Copy pas</a:t>
                </a:r>
                <a:r>
                  <a:rPr lang="en-US" altLang="zh-CN" sz="100"/>
                  <a:t> </a:t>
                </a:r>
                <a:r>
                  <a:rPr lang="en-US" altLang="zh-CN" sz="1100"/>
                  <a:t>te </a:t>
                </a:r>
                <a:r>
                  <a:rPr lang="en-US" altLang="zh-CN" sz="1100" dirty="0"/>
                  <a:t>fonts. Choose the only option to retain text.</a:t>
                </a:r>
                <a:br>
                  <a:rPr lang="en-US" altLang="zh-CN" sz="1100" dirty="0"/>
                </a:br>
                <a:r>
                  <a:rPr lang="en-US" altLang="zh-CN" sz="1100" dirty="0"/>
                  <a:t>……</a:t>
                </a:r>
              </a:p>
            </p:txBody>
          </p:sp>
          <p:sp>
            <p:nvSpPr>
              <p:cNvPr id="23" name="îśḷíḍê">
                <a:extLst>
                  <a:ext uri="{FF2B5EF4-FFF2-40B4-BE49-F238E27FC236}">
                    <a16:creationId xmlns:a16="http://schemas.microsoft.com/office/drawing/2014/main" id="{00846D5A-A2E8-4634-B617-33182036E1B7}"/>
                  </a:ext>
                </a:extLst>
              </p:cNvPr>
              <p:cNvSpPr txBox="1"/>
              <p:nvPr/>
            </p:nvSpPr>
            <p:spPr bwMode="auto">
              <a:xfrm>
                <a:off x="1125538" y="1838550"/>
                <a:ext cx="2655887" cy="35598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eaLnBrk="1" hangingPunct="1">
                  <a:lnSpc>
                    <a:spcPct val="100000"/>
                  </a:lnSpc>
                  <a:spcBef>
                    <a:spcPct val="0"/>
                  </a:spcBef>
                </a:pPr>
                <a:r>
                  <a:rPr lang="en-US" altLang="zh-CN" sz="1600" b="1"/>
                  <a:t>T</a:t>
                </a:r>
                <a:r>
                  <a:rPr lang="en-US" altLang="zh-CN" sz="100" b="1"/>
                  <a:t> </a:t>
                </a:r>
                <a:r>
                  <a:rPr lang="en-US" altLang="zh-CN" sz="1600" b="1"/>
                  <a:t>ext </a:t>
                </a:r>
                <a:r>
                  <a:rPr lang="en-US" altLang="zh-CN" sz="1600" b="1" dirty="0"/>
                  <a:t>here</a:t>
                </a:r>
              </a:p>
            </p:txBody>
          </p:sp>
        </p:grpSp>
      </p:grpSp>
    </p:spTree>
    <p:custDataLst>
      <p:tags r:id="rId2"/>
    </p:custDataLst>
    <p:extLst>
      <p:ext uri="{BB962C8B-B14F-4D97-AF65-F5344CB8AC3E}">
        <p14:creationId xmlns:p14="http://schemas.microsoft.com/office/powerpoint/2010/main" val="2571628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ï$lîḋè"/>
        <p:cNvGrpSpPr/>
        <p:nvPr/>
      </p:nvGrpSpPr>
      <p:grpSpPr>
        <a:xfrm>
          <a:off x="0" y="0"/>
          <a:ext cx="0" cy="0"/>
          <a:chOff x="0" y="0"/>
          <a:chExt cx="0" cy="0"/>
        </a:xfrm>
      </p:grpSpPr>
      <p:sp>
        <p:nvSpPr>
          <p:cNvPr id="2" name="iṥḷîdè">
            <a:extLst>
              <a:ext uri="{FF2B5EF4-FFF2-40B4-BE49-F238E27FC236}">
                <a16:creationId xmlns:a16="http://schemas.microsoft.com/office/drawing/2014/main" id="{25ADBFE7-3520-4CBC-84C1-178427FEAB36}"/>
              </a:ext>
            </a:extLst>
          </p:cNvPr>
          <p:cNvSpPr>
            <a:spLocks noGrp="1"/>
          </p:cNvSpPr>
          <p:nvPr>
            <p:ph type="title"/>
          </p:nvPr>
        </p:nvSpPr>
        <p:spPr/>
        <p:txBody>
          <a:bodyPr/>
          <a:lstStyle/>
          <a:p>
            <a:r>
              <a:rPr lang="en-US" altLang="zh-CN"/>
              <a:t>Clic</a:t>
            </a:r>
            <a:r>
              <a:rPr lang="en-US" altLang="zh-CN" sz="100"/>
              <a:t> </a:t>
            </a:r>
            <a:r>
              <a:rPr lang="en-US" altLang="zh-CN"/>
              <a:t>k </a:t>
            </a:r>
            <a:r>
              <a:rPr lang="en-US" altLang="zh-CN" dirty="0"/>
              <a:t>to edit Master title style</a:t>
            </a:r>
            <a:endParaRPr lang="zh-CN" altLang="en-US" dirty="0"/>
          </a:p>
        </p:txBody>
      </p:sp>
      <p:sp>
        <p:nvSpPr>
          <p:cNvPr id="3" name="îs1iḓe">
            <a:extLst>
              <a:ext uri="{FF2B5EF4-FFF2-40B4-BE49-F238E27FC236}">
                <a16:creationId xmlns:a16="http://schemas.microsoft.com/office/drawing/2014/main" id="{8990076D-B503-448E-B270-DE1F7532D6C8}"/>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islîdé">
            <a:extLst>
              <a:ext uri="{FF2B5EF4-FFF2-40B4-BE49-F238E27FC236}">
                <a16:creationId xmlns:a16="http://schemas.microsoft.com/office/drawing/2014/main" id="{A4057C83-BC4C-4A67-92AD-8861B12DCFCB}"/>
              </a:ext>
            </a:extLst>
          </p:cNvPr>
          <p:cNvSpPr>
            <a:spLocks noGrp="1"/>
          </p:cNvSpPr>
          <p:nvPr>
            <p:ph type="sldNum" sz="quarter" idx="12"/>
          </p:nvPr>
        </p:nvSpPr>
        <p:spPr/>
        <p:txBody>
          <a:bodyPr/>
          <a:lstStyle/>
          <a:p>
            <a:fld id="{5DD3DB80-B894-403A-B48E-6FDC1A72010E}" type="slidenum">
              <a:rPr lang="zh-CN" altLang="en-US" smtClean="0"/>
              <a:pPr/>
              <a:t>12</a:t>
            </a:fld>
            <a:r>
              <a:rPr lang="zh-CN" altLang="en-US" sz="100"/>
              <a:t> </a:t>
            </a:r>
          </a:p>
        </p:txBody>
      </p:sp>
      <p:grpSp>
        <p:nvGrpSpPr>
          <p:cNvPr id="155" name="îśḷiḍ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62984F4F-7A8C-425B-A499-B899005F071D}"/>
              </a:ext>
            </a:extLst>
          </p:cNvPr>
          <p:cNvGrpSpPr>
            <a:grpSpLocks noChangeAspect="1"/>
          </p:cNvGrpSpPr>
          <p:nvPr/>
        </p:nvGrpSpPr>
        <p:grpSpPr>
          <a:xfrm>
            <a:off x="673100" y="1763208"/>
            <a:ext cx="10845800" cy="3667191"/>
            <a:chOff x="673100" y="1763208"/>
            <a:chExt cx="10845800" cy="3667191"/>
          </a:xfrm>
        </p:grpSpPr>
        <p:cxnSp>
          <p:nvCxnSpPr>
            <p:cNvPr id="156" name="íš1îḑè">
              <a:extLst>
                <a:ext uri="{FF2B5EF4-FFF2-40B4-BE49-F238E27FC236}">
                  <a16:creationId xmlns:a16="http://schemas.microsoft.com/office/drawing/2014/main" id="{4FC170D1-86D1-4684-99BF-2A834DF7E221}"/>
                </a:ext>
              </a:extLst>
            </p:cNvPr>
            <p:cNvCxnSpPr/>
            <p:nvPr/>
          </p:nvCxnSpPr>
          <p:spPr>
            <a:xfrm flipH="1">
              <a:off x="673100" y="4652717"/>
              <a:ext cx="487007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57" name="î$ḻíḋé">
              <a:extLst>
                <a:ext uri="{FF2B5EF4-FFF2-40B4-BE49-F238E27FC236}">
                  <a16:creationId xmlns:a16="http://schemas.microsoft.com/office/drawing/2014/main" id="{2C312DA0-C619-431D-80D4-D0A8B3A18F48}"/>
                </a:ext>
              </a:extLst>
            </p:cNvPr>
            <p:cNvCxnSpPr/>
            <p:nvPr/>
          </p:nvCxnSpPr>
          <p:spPr>
            <a:xfrm flipH="1">
              <a:off x="6648825" y="2540890"/>
              <a:ext cx="487007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158" name="îṡḻiďé">
              <a:extLst>
                <a:ext uri="{FF2B5EF4-FFF2-40B4-BE49-F238E27FC236}">
                  <a16:creationId xmlns:a16="http://schemas.microsoft.com/office/drawing/2014/main" id="{89F697AE-74F1-4F3C-A4CE-42EA3EFFA39D}"/>
                </a:ext>
              </a:extLst>
            </p:cNvPr>
            <p:cNvGrpSpPr/>
            <p:nvPr/>
          </p:nvGrpSpPr>
          <p:grpSpPr>
            <a:xfrm>
              <a:off x="4695825" y="2064933"/>
              <a:ext cx="2800350" cy="3063742"/>
              <a:chOff x="4695825" y="2106680"/>
              <a:chExt cx="2800350" cy="3063742"/>
            </a:xfrm>
          </p:grpSpPr>
          <p:grpSp>
            <p:nvGrpSpPr>
              <p:cNvPr id="167" name="iṥļîdè">
                <a:extLst>
                  <a:ext uri="{FF2B5EF4-FFF2-40B4-BE49-F238E27FC236}">
                    <a16:creationId xmlns:a16="http://schemas.microsoft.com/office/drawing/2014/main" id="{4146C770-BE5F-4B1A-A1BC-A713C6DE8EC3}"/>
                  </a:ext>
                </a:extLst>
              </p:cNvPr>
              <p:cNvGrpSpPr/>
              <p:nvPr/>
            </p:nvGrpSpPr>
            <p:grpSpPr>
              <a:xfrm>
                <a:off x="4695825" y="2106680"/>
                <a:ext cx="2800350" cy="3063742"/>
                <a:chOff x="4695825" y="2106680"/>
                <a:chExt cx="2800350" cy="3063742"/>
              </a:xfrm>
              <a:solidFill>
                <a:schemeClr val="bg1">
                  <a:lumMod val="95000"/>
                </a:schemeClr>
              </a:solidFill>
            </p:grpSpPr>
            <p:sp>
              <p:nvSpPr>
                <p:cNvPr id="174" name="î$1îdê">
                  <a:extLst>
                    <a:ext uri="{FF2B5EF4-FFF2-40B4-BE49-F238E27FC236}">
                      <a16:creationId xmlns:a16="http://schemas.microsoft.com/office/drawing/2014/main" id="{9F4F8205-58D7-42B6-8826-D2FD35852EAA}"/>
                    </a:ext>
                  </a:extLst>
                </p:cNvPr>
                <p:cNvSpPr/>
                <p:nvPr/>
              </p:nvSpPr>
              <p:spPr>
                <a:xfrm>
                  <a:off x="5540000" y="2106680"/>
                  <a:ext cx="1110198" cy="1609032"/>
                </a:xfrm>
                <a:custGeom>
                  <a:avLst/>
                  <a:gdLst/>
                  <a:ahLst/>
                  <a:cxnLst>
                    <a:cxn ang="0">
                      <a:pos x="wd2" y="hd2"/>
                    </a:cxn>
                    <a:cxn ang="5400000">
                      <a:pos x="wd2" y="hd2"/>
                    </a:cxn>
                    <a:cxn ang="10800000">
                      <a:pos x="wd2" y="hd2"/>
                    </a:cxn>
                    <a:cxn ang="16200000">
                      <a:pos x="wd2" y="hd2"/>
                    </a:cxn>
                  </a:cxnLst>
                  <a:rect l="0" t="0" r="r" b="b"/>
                  <a:pathLst>
                    <a:path w="21221" h="21560" extrusionOk="0">
                      <a:moveTo>
                        <a:pt x="11134" y="18338"/>
                      </a:moveTo>
                      <a:cubicBezTo>
                        <a:pt x="10598" y="19485"/>
                        <a:pt x="10708" y="20243"/>
                        <a:pt x="10611" y="20219"/>
                      </a:cubicBezTo>
                      <a:cubicBezTo>
                        <a:pt x="10514" y="20243"/>
                        <a:pt x="10624" y="19485"/>
                        <a:pt x="10089" y="18338"/>
                      </a:cubicBezTo>
                      <a:cubicBezTo>
                        <a:pt x="9579" y="17179"/>
                        <a:pt x="8423" y="15629"/>
                        <a:pt x="6401" y="13789"/>
                      </a:cubicBezTo>
                      <a:cubicBezTo>
                        <a:pt x="4521" y="11980"/>
                        <a:pt x="2572" y="9649"/>
                        <a:pt x="3181" y="7216"/>
                      </a:cubicBezTo>
                      <a:cubicBezTo>
                        <a:pt x="3617" y="4876"/>
                        <a:pt x="6612" y="2434"/>
                        <a:pt x="10611" y="2510"/>
                      </a:cubicBezTo>
                      <a:cubicBezTo>
                        <a:pt x="14610" y="2434"/>
                        <a:pt x="17605" y="4876"/>
                        <a:pt x="18041" y="7216"/>
                      </a:cubicBezTo>
                      <a:cubicBezTo>
                        <a:pt x="18651" y="9649"/>
                        <a:pt x="16702" y="11980"/>
                        <a:pt x="14822" y="13789"/>
                      </a:cubicBezTo>
                      <a:cubicBezTo>
                        <a:pt x="12800" y="15629"/>
                        <a:pt x="11644" y="17179"/>
                        <a:pt x="11134" y="18338"/>
                      </a:cubicBezTo>
                      <a:close/>
                      <a:moveTo>
                        <a:pt x="10296" y="19378"/>
                      </a:moveTo>
                      <a:cubicBezTo>
                        <a:pt x="10721" y="20755"/>
                        <a:pt x="10578" y="21562"/>
                        <a:pt x="10611" y="21560"/>
                      </a:cubicBezTo>
                      <a:cubicBezTo>
                        <a:pt x="10645" y="21562"/>
                        <a:pt x="10501" y="20755"/>
                        <a:pt x="10914" y="19372"/>
                      </a:cubicBezTo>
                      <a:cubicBezTo>
                        <a:pt x="11324" y="17989"/>
                        <a:pt x="12805" y="16293"/>
                        <a:pt x="15737" y="14374"/>
                      </a:cubicBezTo>
                      <a:cubicBezTo>
                        <a:pt x="17134" y="13355"/>
                        <a:pt x="18664" y="12339"/>
                        <a:pt x="19729" y="11058"/>
                      </a:cubicBezTo>
                      <a:cubicBezTo>
                        <a:pt x="20803" y="9796"/>
                        <a:pt x="21411" y="8268"/>
                        <a:pt x="21169" y="6666"/>
                      </a:cubicBezTo>
                      <a:cubicBezTo>
                        <a:pt x="20944" y="5076"/>
                        <a:pt x="19869" y="3410"/>
                        <a:pt x="17979" y="2130"/>
                      </a:cubicBezTo>
                      <a:cubicBezTo>
                        <a:pt x="16115" y="853"/>
                        <a:pt x="13436" y="-38"/>
                        <a:pt x="10611" y="1"/>
                      </a:cubicBezTo>
                      <a:cubicBezTo>
                        <a:pt x="7786" y="-38"/>
                        <a:pt x="5108" y="853"/>
                        <a:pt x="3244" y="2129"/>
                      </a:cubicBezTo>
                      <a:cubicBezTo>
                        <a:pt x="1353" y="3410"/>
                        <a:pt x="278" y="5075"/>
                        <a:pt x="53" y="6666"/>
                      </a:cubicBezTo>
                      <a:cubicBezTo>
                        <a:pt x="-189" y="8268"/>
                        <a:pt x="420" y="9795"/>
                        <a:pt x="1493" y="11057"/>
                      </a:cubicBezTo>
                      <a:cubicBezTo>
                        <a:pt x="2558" y="12339"/>
                        <a:pt x="4088" y="13355"/>
                        <a:pt x="5485" y="14374"/>
                      </a:cubicBezTo>
                      <a:cubicBezTo>
                        <a:pt x="8418" y="16293"/>
                        <a:pt x="9898" y="17990"/>
                        <a:pt x="10296" y="19378"/>
                      </a:cubicBezTo>
                      <a:close/>
                    </a:path>
                  </a:pathLst>
                </a:custGeom>
                <a:grpFill/>
                <a:ln w="127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a:p>
              </p:txBody>
            </p:sp>
            <p:sp>
              <p:nvSpPr>
                <p:cNvPr id="175" name="ïş1ide">
                  <a:extLst>
                    <a:ext uri="{FF2B5EF4-FFF2-40B4-BE49-F238E27FC236}">
                      <a16:creationId xmlns:a16="http://schemas.microsoft.com/office/drawing/2014/main" id="{1906860E-D1BA-4E45-8DA1-79015A0B2B0E}"/>
                    </a:ext>
                  </a:extLst>
                </p:cNvPr>
                <p:cNvSpPr/>
                <p:nvPr/>
              </p:nvSpPr>
              <p:spPr>
                <a:xfrm>
                  <a:off x="6029921" y="2596603"/>
                  <a:ext cx="1466254" cy="1101922"/>
                </a:xfrm>
                <a:custGeom>
                  <a:avLst/>
                  <a:gdLst/>
                  <a:ahLst/>
                  <a:cxnLst>
                    <a:cxn ang="0">
                      <a:pos x="wd2" y="hd2"/>
                    </a:cxn>
                    <a:cxn ang="5400000">
                      <a:pos x="wd2" y="hd2"/>
                    </a:cxn>
                    <a:cxn ang="10800000">
                      <a:pos x="wd2" y="hd2"/>
                    </a:cxn>
                    <a:cxn ang="16200000">
                      <a:pos x="wd2" y="hd2"/>
                    </a:cxn>
                  </a:cxnLst>
                  <a:rect l="0" t="0" r="r" b="b"/>
                  <a:pathLst>
                    <a:path w="21352" h="21262" extrusionOk="0">
                      <a:moveTo>
                        <a:pt x="5710" y="11576"/>
                      </a:moveTo>
                      <a:cubicBezTo>
                        <a:pt x="6698" y="8629"/>
                        <a:pt x="8149" y="5247"/>
                        <a:pt x="10670" y="4029"/>
                      </a:cubicBezTo>
                      <a:cubicBezTo>
                        <a:pt x="13039" y="2724"/>
                        <a:pt x="16479" y="3585"/>
                        <a:pt x="17930" y="7135"/>
                      </a:cubicBezTo>
                      <a:cubicBezTo>
                        <a:pt x="19525" y="10576"/>
                        <a:pt x="18368" y="14953"/>
                        <a:pt x="16331" y="17019"/>
                      </a:cubicBezTo>
                      <a:cubicBezTo>
                        <a:pt x="14274" y="19303"/>
                        <a:pt x="11337" y="19277"/>
                        <a:pt x="8918" y="18937"/>
                      </a:cubicBezTo>
                      <a:cubicBezTo>
                        <a:pt x="6417" y="18494"/>
                        <a:pt x="4518" y="18599"/>
                        <a:pt x="3232" y="18989"/>
                      </a:cubicBezTo>
                      <a:cubicBezTo>
                        <a:pt x="1948" y="19346"/>
                        <a:pt x="1277" y="19988"/>
                        <a:pt x="1262" y="19886"/>
                      </a:cubicBezTo>
                      <a:cubicBezTo>
                        <a:pt x="1203" y="19818"/>
                        <a:pt x="1958" y="19369"/>
                        <a:pt x="2834" y="18074"/>
                      </a:cubicBezTo>
                      <a:cubicBezTo>
                        <a:pt x="3731" y="16794"/>
                        <a:pt x="4750" y="14668"/>
                        <a:pt x="5710" y="11576"/>
                      </a:cubicBezTo>
                      <a:close/>
                      <a:moveTo>
                        <a:pt x="8717" y="20158"/>
                      </a:moveTo>
                      <a:cubicBezTo>
                        <a:pt x="10208" y="20646"/>
                        <a:pt x="11747" y="21252"/>
                        <a:pt x="13358" y="21260"/>
                      </a:cubicBezTo>
                      <a:cubicBezTo>
                        <a:pt x="14955" y="21290"/>
                        <a:pt x="16625" y="20723"/>
                        <a:pt x="18040" y="19357"/>
                      </a:cubicBezTo>
                      <a:cubicBezTo>
                        <a:pt x="19452" y="18016"/>
                        <a:pt x="20610" y="15876"/>
                        <a:pt x="21095" y="13302"/>
                      </a:cubicBezTo>
                      <a:cubicBezTo>
                        <a:pt x="21586" y="10753"/>
                        <a:pt x="21404" y="7770"/>
                        <a:pt x="20291" y="5329"/>
                      </a:cubicBezTo>
                      <a:cubicBezTo>
                        <a:pt x="19252" y="2831"/>
                        <a:pt x="17393" y="1131"/>
                        <a:pt x="15482" y="421"/>
                      </a:cubicBezTo>
                      <a:cubicBezTo>
                        <a:pt x="13557" y="-310"/>
                        <a:pt x="11580" y="-51"/>
                        <a:pt x="9997" y="899"/>
                      </a:cubicBezTo>
                      <a:cubicBezTo>
                        <a:pt x="8397" y="1840"/>
                        <a:pt x="7191" y="3472"/>
                        <a:pt x="6412" y="5319"/>
                      </a:cubicBezTo>
                      <a:cubicBezTo>
                        <a:pt x="5612" y="7172"/>
                        <a:pt x="5239" y="9241"/>
                        <a:pt x="4812" y="11196"/>
                      </a:cubicBezTo>
                      <a:cubicBezTo>
                        <a:pt x="4122" y="15142"/>
                        <a:pt x="3090" y="17657"/>
                        <a:pt x="1944" y="19011"/>
                      </a:cubicBezTo>
                      <a:cubicBezTo>
                        <a:pt x="800" y="20368"/>
                        <a:pt x="-14" y="20823"/>
                        <a:pt x="1" y="20851"/>
                      </a:cubicBezTo>
                      <a:cubicBezTo>
                        <a:pt x="12" y="20882"/>
                        <a:pt x="716" y="20176"/>
                        <a:pt x="2174" y="19556"/>
                      </a:cubicBezTo>
                      <a:cubicBezTo>
                        <a:pt x="3633" y="18904"/>
                        <a:pt x="5793" y="18976"/>
                        <a:pt x="8717" y="20158"/>
                      </a:cubicBezTo>
                      <a:close/>
                    </a:path>
                  </a:pathLst>
                </a:custGeom>
                <a:grpFill/>
                <a:ln w="127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a:p>
              </p:txBody>
            </p:sp>
            <p:sp>
              <p:nvSpPr>
                <p:cNvPr id="176" name="iSļïḍé">
                  <a:extLst>
                    <a:ext uri="{FF2B5EF4-FFF2-40B4-BE49-F238E27FC236}">
                      <a16:creationId xmlns:a16="http://schemas.microsoft.com/office/drawing/2014/main" id="{77C7444C-2BA9-42BF-8756-5CCD8721BD03}"/>
                    </a:ext>
                  </a:extLst>
                </p:cNvPr>
                <p:cNvSpPr/>
                <p:nvPr/>
              </p:nvSpPr>
              <p:spPr>
                <a:xfrm>
                  <a:off x="6029921" y="3576448"/>
                  <a:ext cx="1466247" cy="1101925"/>
                </a:xfrm>
                <a:custGeom>
                  <a:avLst/>
                  <a:gdLst/>
                  <a:ahLst/>
                  <a:cxnLst>
                    <a:cxn ang="0">
                      <a:pos x="wd2" y="hd2"/>
                    </a:cxn>
                    <a:cxn ang="5400000">
                      <a:pos x="wd2" y="hd2"/>
                    </a:cxn>
                    <a:cxn ang="10800000">
                      <a:pos x="wd2" y="hd2"/>
                    </a:cxn>
                    <a:cxn ang="16200000">
                      <a:pos x="wd2" y="hd2"/>
                    </a:cxn>
                  </a:cxnLst>
                  <a:rect l="0" t="0" r="r" b="b"/>
                  <a:pathLst>
                    <a:path w="21352" h="21262" extrusionOk="0">
                      <a:moveTo>
                        <a:pt x="8917" y="2323"/>
                      </a:moveTo>
                      <a:cubicBezTo>
                        <a:pt x="11336" y="1983"/>
                        <a:pt x="14273" y="1957"/>
                        <a:pt x="16329" y="4241"/>
                      </a:cubicBezTo>
                      <a:cubicBezTo>
                        <a:pt x="18366" y="6308"/>
                        <a:pt x="19524" y="10685"/>
                        <a:pt x="17928" y="14126"/>
                      </a:cubicBezTo>
                      <a:cubicBezTo>
                        <a:pt x="16478" y="17676"/>
                        <a:pt x="13038" y="18536"/>
                        <a:pt x="10669" y="17232"/>
                      </a:cubicBezTo>
                      <a:cubicBezTo>
                        <a:pt x="8148" y="16014"/>
                        <a:pt x="6697" y="12631"/>
                        <a:pt x="5709" y="9685"/>
                      </a:cubicBezTo>
                      <a:cubicBezTo>
                        <a:pt x="4749" y="6593"/>
                        <a:pt x="3730" y="4467"/>
                        <a:pt x="2833" y="3186"/>
                      </a:cubicBezTo>
                      <a:cubicBezTo>
                        <a:pt x="1957" y="1892"/>
                        <a:pt x="1202" y="1442"/>
                        <a:pt x="1261" y="1375"/>
                      </a:cubicBezTo>
                      <a:cubicBezTo>
                        <a:pt x="1276" y="1273"/>
                        <a:pt x="1947" y="1914"/>
                        <a:pt x="3231" y="2272"/>
                      </a:cubicBezTo>
                      <a:cubicBezTo>
                        <a:pt x="4517" y="2661"/>
                        <a:pt x="6416" y="2767"/>
                        <a:pt x="8917" y="2323"/>
                      </a:cubicBezTo>
                      <a:close/>
                      <a:moveTo>
                        <a:pt x="4811" y="10065"/>
                      </a:moveTo>
                      <a:cubicBezTo>
                        <a:pt x="5238" y="12020"/>
                        <a:pt x="5611" y="14089"/>
                        <a:pt x="6411" y="15942"/>
                      </a:cubicBezTo>
                      <a:cubicBezTo>
                        <a:pt x="7190" y="17789"/>
                        <a:pt x="8396" y="19421"/>
                        <a:pt x="9996" y="20363"/>
                      </a:cubicBezTo>
                      <a:cubicBezTo>
                        <a:pt x="11578" y="21312"/>
                        <a:pt x="13556" y="21571"/>
                        <a:pt x="15481" y="20840"/>
                      </a:cubicBezTo>
                      <a:cubicBezTo>
                        <a:pt x="17392" y="20130"/>
                        <a:pt x="19251" y="18429"/>
                        <a:pt x="20290" y="15932"/>
                      </a:cubicBezTo>
                      <a:cubicBezTo>
                        <a:pt x="21403" y="13490"/>
                        <a:pt x="21585" y="10507"/>
                        <a:pt x="21093" y="7959"/>
                      </a:cubicBezTo>
                      <a:cubicBezTo>
                        <a:pt x="20609" y="5385"/>
                        <a:pt x="19450" y="3245"/>
                        <a:pt x="18039" y="1904"/>
                      </a:cubicBezTo>
                      <a:cubicBezTo>
                        <a:pt x="16623" y="538"/>
                        <a:pt x="14954" y="-29"/>
                        <a:pt x="13357" y="1"/>
                      </a:cubicBezTo>
                      <a:cubicBezTo>
                        <a:pt x="11746" y="9"/>
                        <a:pt x="10207" y="615"/>
                        <a:pt x="8716" y="1103"/>
                      </a:cubicBezTo>
                      <a:cubicBezTo>
                        <a:pt x="5792" y="2284"/>
                        <a:pt x="3632" y="2357"/>
                        <a:pt x="2174" y="1720"/>
                      </a:cubicBezTo>
                      <a:cubicBezTo>
                        <a:pt x="715" y="1085"/>
                        <a:pt x="11" y="378"/>
                        <a:pt x="0" y="409"/>
                      </a:cubicBezTo>
                      <a:cubicBezTo>
                        <a:pt x="-15" y="437"/>
                        <a:pt x="799" y="893"/>
                        <a:pt x="1933" y="2256"/>
                      </a:cubicBezTo>
                      <a:cubicBezTo>
                        <a:pt x="3089" y="3604"/>
                        <a:pt x="4121" y="6119"/>
                        <a:pt x="4811" y="10065"/>
                      </a:cubicBezTo>
                      <a:close/>
                    </a:path>
                  </a:pathLst>
                </a:custGeom>
                <a:grpFill/>
                <a:ln w="127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a:p>
              </p:txBody>
            </p:sp>
            <p:sp>
              <p:nvSpPr>
                <p:cNvPr id="177" name="iṧḻîďé">
                  <a:extLst>
                    <a:ext uri="{FF2B5EF4-FFF2-40B4-BE49-F238E27FC236}">
                      <a16:creationId xmlns:a16="http://schemas.microsoft.com/office/drawing/2014/main" id="{41D8BCC5-3736-40BE-A49F-742895F75B8B}"/>
                    </a:ext>
                  </a:extLst>
                </p:cNvPr>
                <p:cNvSpPr/>
                <p:nvPr/>
              </p:nvSpPr>
              <p:spPr>
                <a:xfrm>
                  <a:off x="5540000" y="3561373"/>
                  <a:ext cx="1110198" cy="1609049"/>
                </a:xfrm>
                <a:custGeom>
                  <a:avLst/>
                  <a:gdLst/>
                  <a:ahLst/>
                  <a:cxnLst>
                    <a:cxn ang="0">
                      <a:pos x="wd2" y="hd2"/>
                    </a:cxn>
                    <a:cxn ang="5400000">
                      <a:pos x="wd2" y="hd2"/>
                    </a:cxn>
                    <a:cxn ang="10800000">
                      <a:pos x="wd2" y="hd2"/>
                    </a:cxn>
                    <a:cxn ang="16200000">
                      <a:pos x="wd2" y="hd2"/>
                    </a:cxn>
                  </a:cxnLst>
                  <a:rect l="0" t="0" r="r" b="b"/>
                  <a:pathLst>
                    <a:path w="21221" h="21560" extrusionOk="0">
                      <a:moveTo>
                        <a:pt x="14822" y="7771"/>
                      </a:moveTo>
                      <a:cubicBezTo>
                        <a:pt x="16702" y="9581"/>
                        <a:pt x="18651" y="11912"/>
                        <a:pt x="18041" y="14344"/>
                      </a:cubicBezTo>
                      <a:cubicBezTo>
                        <a:pt x="17605" y="16684"/>
                        <a:pt x="14610" y="19126"/>
                        <a:pt x="10611" y="19050"/>
                      </a:cubicBezTo>
                      <a:cubicBezTo>
                        <a:pt x="6612" y="19126"/>
                        <a:pt x="3617" y="16684"/>
                        <a:pt x="3181" y="14344"/>
                      </a:cubicBezTo>
                      <a:cubicBezTo>
                        <a:pt x="2572" y="11912"/>
                        <a:pt x="4521" y="9581"/>
                        <a:pt x="6401" y="7771"/>
                      </a:cubicBezTo>
                      <a:cubicBezTo>
                        <a:pt x="8423" y="5931"/>
                        <a:pt x="9579" y="4382"/>
                        <a:pt x="10089" y="3222"/>
                      </a:cubicBezTo>
                      <a:cubicBezTo>
                        <a:pt x="10624" y="2075"/>
                        <a:pt x="10514" y="1317"/>
                        <a:pt x="10611" y="1341"/>
                      </a:cubicBezTo>
                      <a:cubicBezTo>
                        <a:pt x="10708" y="1317"/>
                        <a:pt x="10598" y="2075"/>
                        <a:pt x="11134" y="3222"/>
                      </a:cubicBezTo>
                      <a:cubicBezTo>
                        <a:pt x="11644" y="4382"/>
                        <a:pt x="12800" y="5931"/>
                        <a:pt x="14822" y="7771"/>
                      </a:cubicBezTo>
                      <a:close/>
                      <a:moveTo>
                        <a:pt x="5485" y="7186"/>
                      </a:moveTo>
                      <a:cubicBezTo>
                        <a:pt x="4088" y="8206"/>
                        <a:pt x="2558" y="9222"/>
                        <a:pt x="1493" y="10503"/>
                      </a:cubicBezTo>
                      <a:cubicBezTo>
                        <a:pt x="420" y="11765"/>
                        <a:pt x="-189" y="13292"/>
                        <a:pt x="53" y="14894"/>
                      </a:cubicBezTo>
                      <a:cubicBezTo>
                        <a:pt x="278" y="16485"/>
                        <a:pt x="1353" y="18151"/>
                        <a:pt x="3244" y="19431"/>
                      </a:cubicBezTo>
                      <a:cubicBezTo>
                        <a:pt x="5108" y="20707"/>
                        <a:pt x="7786" y="21598"/>
                        <a:pt x="10611" y="21559"/>
                      </a:cubicBezTo>
                      <a:cubicBezTo>
                        <a:pt x="13436" y="21598"/>
                        <a:pt x="16115" y="20707"/>
                        <a:pt x="17979" y="19431"/>
                      </a:cubicBezTo>
                      <a:cubicBezTo>
                        <a:pt x="19869" y="18150"/>
                        <a:pt x="20944" y="16485"/>
                        <a:pt x="21169" y="14894"/>
                      </a:cubicBezTo>
                      <a:cubicBezTo>
                        <a:pt x="21411" y="13292"/>
                        <a:pt x="20803" y="11765"/>
                        <a:pt x="19729" y="10502"/>
                      </a:cubicBezTo>
                      <a:cubicBezTo>
                        <a:pt x="18664" y="9222"/>
                        <a:pt x="17134" y="8205"/>
                        <a:pt x="15737" y="7186"/>
                      </a:cubicBezTo>
                      <a:cubicBezTo>
                        <a:pt x="12805" y="5267"/>
                        <a:pt x="11324" y="3571"/>
                        <a:pt x="10914" y="2188"/>
                      </a:cubicBezTo>
                      <a:cubicBezTo>
                        <a:pt x="10501" y="805"/>
                        <a:pt x="10645" y="-2"/>
                        <a:pt x="10611" y="0"/>
                      </a:cubicBezTo>
                      <a:cubicBezTo>
                        <a:pt x="10578" y="-2"/>
                        <a:pt x="10721" y="805"/>
                        <a:pt x="10296" y="2182"/>
                      </a:cubicBezTo>
                      <a:cubicBezTo>
                        <a:pt x="9898" y="3571"/>
                        <a:pt x="8418" y="5267"/>
                        <a:pt x="5485" y="7186"/>
                      </a:cubicBezTo>
                      <a:close/>
                    </a:path>
                  </a:pathLst>
                </a:custGeom>
                <a:grpFill/>
                <a:ln w="127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a:p>
              </p:txBody>
            </p:sp>
            <p:sp>
              <p:nvSpPr>
                <p:cNvPr id="178" name="îṥľiďê">
                  <a:extLst>
                    <a:ext uri="{FF2B5EF4-FFF2-40B4-BE49-F238E27FC236}">
                      <a16:creationId xmlns:a16="http://schemas.microsoft.com/office/drawing/2014/main" id="{464418FC-638E-44DB-8F1D-F2F0C0FE89F1}"/>
                    </a:ext>
                  </a:extLst>
                </p:cNvPr>
                <p:cNvSpPr/>
                <p:nvPr/>
              </p:nvSpPr>
              <p:spPr>
                <a:xfrm>
                  <a:off x="4695825" y="3576448"/>
                  <a:ext cx="1466244" cy="1101932"/>
                </a:xfrm>
                <a:custGeom>
                  <a:avLst/>
                  <a:gdLst/>
                  <a:ahLst/>
                  <a:cxnLst>
                    <a:cxn ang="0">
                      <a:pos x="wd2" y="hd2"/>
                    </a:cxn>
                    <a:cxn ang="5400000">
                      <a:pos x="wd2" y="hd2"/>
                    </a:cxn>
                    <a:cxn ang="10800000">
                      <a:pos x="wd2" y="hd2"/>
                    </a:cxn>
                    <a:cxn ang="16200000">
                      <a:pos x="wd2" y="hd2"/>
                    </a:cxn>
                  </a:cxnLst>
                  <a:rect l="0" t="0" r="r" b="b"/>
                  <a:pathLst>
                    <a:path w="21352" h="21262" extrusionOk="0">
                      <a:moveTo>
                        <a:pt x="18120" y="2272"/>
                      </a:moveTo>
                      <a:cubicBezTo>
                        <a:pt x="19404" y="1914"/>
                        <a:pt x="20075" y="1273"/>
                        <a:pt x="20090" y="1375"/>
                      </a:cubicBezTo>
                      <a:cubicBezTo>
                        <a:pt x="20149" y="1442"/>
                        <a:pt x="19394" y="1892"/>
                        <a:pt x="18518" y="3186"/>
                      </a:cubicBezTo>
                      <a:cubicBezTo>
                        <a:pt x="17621" y="4467"/>
                        <a:pt x="16602" y="6593"/>
                        <a:pt x="15642" y="9685"/>
                      </a:cubicBezTo>
                      <a:cubicBezTo>
                        <a:pt x="14654" y="12631"/>
                        <a:pt x="13203" y="16014"/>
                        <a:pt x="10682" y="17232"/>
                      </a:cubicBezTo>
                      <a:cubicBezTo>
                        <a:pt x="8313" y="18536"/>
                        <a:pt x="4873" y="17676"/>
                        <a:pt x="3422" y="14126"/>
                      </a:cubicBezTo>
                      <a:cubicBezTo>
                        <a:pt x="1827" y="10685"/>
                        <a:pt x="2985" y="6308"/>
                        <a:pt x="5021" y="4241"/>
                      </a:cubicBezTo>
                      <a:cubicBezTo>
                        <a:pt x="7078" y="1957"/>
                        <a:pt x="10015" y="1983"/>
                        <a:pt x="12434" y="2323"/>
                      </a:cubicBezTo>
                      <a:cubicBezTo>
                        <a:pt x="14935" y="2767"/>
                        <a:pt x="16834" y="2662"/>
                        <a:pt x="18120" y="2272"/>
                      </a:cubicBezTo>
                      <a:close/>
                      <a:moveTo>
                        <a:pt x="19418" y="2256"/>
                      </a:moveTo>
                      <a:cubicBezTo>
                        <a:pt x="20552" y="893"/>
                        <a:pt x="21366" y="437"/>
                        <a:pt x="21351" y="409"/>
                      </a:cubicBezTo>
                      <a:cubicBezTo>
                        <a:pt x="21341" y="378"/>
                        <a:pt x="20635" y="1085"/>
                        <a:pt x="19177" y="1720"/>
                      </a:cubicBezTo>
                      <a:cubicBezTo>
                        <a:pt x="17719" y="2357"/>
                        <a:pt x="15559" y="2284"/>
                        <a:pt x="12635" y="1103"/>
                      </a:cubicBezTo>
                      <a:cubicBezTo>
                        <a:pt x="11144" y="615"/>
                        <a:pt x="9605" y="9"/>
                        <a:pt x="7994" y="1"/>
                      </a:cubicBezTo>
                      <a:cubicBezTo>
                        <a:pt x="6397" y="-29"/>
                        <a:pt x="4728" y="538"/>
                        <a:pt x="3312" y="1904"/>
                      </a:cubicBezTo>
                      <a:cubicBezTo>
                        <a:pt x="1901" y="3245"/>
                        <a:pt x="742" y="5385"/>
                        <a:pt x="258" y="7959"/>
                      </a:cubicBezTo>
                      <a:cubicBezTo>
                        <a:pt x="-234" y="10507"/>
                        <a:pt x="-52" y="13490"/>
                        <a:pt x="1061" y="15932"/>
                      </a:cubicBezTo>
                      <a:cubicBezTo>
                        <a:pt x="2100" y="18429"/>
                        <a:pt x="3959" y="20130"/>
                        <a:pt x="5870" y="20840"/>
                      </a:cubicBezTo>
                      <a:cubicBezTo>
                        <a:pt x="7795" y="21571"/>
                        <a:pt x="9773" y="21312"/>
                        <a:pt x="11355" y="20363"/>
                      </a:cubicBezTo>
                      <a:cubicBezTo>
                        <a:pt x="12955" y="19421"/>
                        <a:pt x="14161" y="17789"/>
                        <a:pt x="14940" y="15942"/>
                      </a:cubicBezTo>
                      <a:cubicBezTo>
                        <a:pt x="15740" y="14089"/>
                        <a:pt x="16113" y="12020"/>
                        <a:pt x="16540" y="10065"/>
                      </a:cubicBezTo>
                      <a:cubicBezTo>
                        <a:pt x="17230" y="6119"/>
                        <a:pt x="18262" y="3604"/>
                        <a:pt x="19418" y="2256"/>
                      </a:cubicBezTo>
                      <a:close/>
                    </a:path>
                  </a:pathLst>
                </a:custGeom>
                <a:grpFill/>
                <a:ln w="127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a:p>
              </p:txBody>
            </p:sp>
            <p:sp>
              <p:nvSpPr>
                <p:cNvPr id="179" name="išḷîďè">
                  <a:extLst>
                    <a:ext uri="{FF2B5EF4-FFF2-40B4-BE49-F238E27FC236}">
                      <a16:creationId xmlns:a16="http://schemas.microsoft.com/office/drawing/2014/main" id="{8AF6DB9F-B21B-432B-BED3-355F13FA1B27}"/>
                    </a:ext>
                  </a:extLst>
                </p:cNvPr>
                <p:cNvSpPr/>
                <p:nvPr/>
              </p:nvSpPr>
              <p:spPr>
                <a:xfrm>
                  <a:off x="4695825" y="2596603"/>
                  <a:ext cx="1466249" cy="1101922"/>
                </a:xfrm>
                <a:custGeom>
                  <a:avLst/>
                  <a:gdLst/>
                  <a:ahLst/>
                  <a:cxnLst>
                    <a:cxn ang="0">
                      <a:pos x="wd2" y="hd2"/>
                    </a:cxn>
                    <a:cxn ang="5400000">
                      <a:pos x="wd2" y="hd2"/>
                    </a:cxn>
                    <a:cxn ang="10800000">
                      <a:pos x="wd2" y="hd2"/>
                    </a:cxn>
                    <a:cxn ang="16200000">
                      <a:pos x="wd2" y="hd2"/>
                    </a:cxn>
                  </a:cxnLst>
                  <a:rect l="0" t="0" r="r" b="b"/>
                  <a:pathLst>
                    <a:path w="21351" h="21262" extrusionOk="0">
                      <a:moveTo>
                        <a:pt x="18518" y="18074"/>
                      </a:moveTo>
                      <a:cubicBezTo>
                        <a:pt x="19394" y="19369"/>
                        <a:pt x="20148" y="19818"/>
                        <a:pt x="20089" y="19886"/>
                      </a:cubicBezTo>
                      <a:cubicBezTo>
                        <a:pt x="20075" y="19988"/>
                        <a:pt x="19404" y="19346"/>
                        <a:pt x="18119" y="18989"/>
                      </a:cubicBezTo>
                      <a:cubicBezTo>
                        <a:pt x="16834" y="18599"/>
                        <a:pt x="14935" y="18494"/>
                        <a:pt x="12434" y="18937"/>
                      </a:cubicBezTo>
                      <a:cubicBezTo>
                        <a:pt x="10015" y="19277"/>
                        <a:pt x="7078" y="19303"/>
                        <a:pt x="5021" y="17019"/>
                      </a:cubicBezTo>
                      <a:cubicBezTo>
                        <a:pt x="2985" y="14953"/>
                        <a:pt x="1827" y="10576"/>
                        <a:pt x="3422" y="7135"/>
                      </a:cubicBezTo>
                      <a:cubicBezTo>
                        <a:pt x="4873" y="3585"/>
                        <a:pt x="8313" y="2724"/>
                        <a:pt x="10682" y="4029"/>
                      </a:cubicBezTo>
                      <a:cubicBezTo>
                        <a:pt x="13203" y="5247"/>
                        <a:pt x="14654" y="8629"/>
                        <a:pt x="15642" y="11576"/>
                      </a:cubicBezTo>
                      <a:cubicBezTo>
                        <a:pt x="16602" y="14668"/>
                        <a:pt x="17621" y="16794"/>
                        <a:pt x="18518" y="18074"/>
                      </a:cubicBezTo>
                      <a:close/>
                      <a:moveTo>
                        <a:pt x="19178" y="19556"/>
                      </a:moveTo>
                      <a:cubicBezTo>
                        <a:pt x="20635" y="20176"/>
                        <a:pt x="21340" y="20882"/>
                        <a:pt x="21351" y="20851"/>
                      </a:cubicBezTo>
                      <a:cubicBezTo>
                        <a:pt x="21366" y="20823"/>
                        <a:pt x="20552" y="20368"/>
                        <a:pt x="19408" y="19011"/>
                      </a:cubicBezTo>
                      <a:cubicBezTo>
                        <a:pt x="18262" y="17657"/>
                        <a:pt x="17230" y="15142"/>
                        <a:pt x="16540" y="11196"/>
                      </a:cubicBezTo>
                      <a:cubicBezTo>
                        <a:pt x="16113" y="9241"/>
                        <a:pt x="15740" y="7172"/>
                        <a:pt x="14940" y="5319"/>
                      </a:cubicBezTo>
                      <a:cubicBezTo>
                        <a:pt x="14161" y="3472"/>
                        <a:pt x="12955" y="1840"/>
                        <a:pt x="11355" y="899"/>
                      </a:cubicBezTo>
                      <a:cubicBezTo>
                        <a:pt x="9773" y="-51"/>
                        <a:pt x="7795" y="-310"/>
                        <a:pt x="5870" y="421"/>
                      </a:cubicBezTo>
                      <a:cubicBezTo>
                        <a:pt x="3959" y="1131"/>
                        <a:pt x="2100" y="2831"/>
                        <a:pt x="1061" y="5329"/>
                      </a:cubicBezTo>
                      <a:cubicBezTo>
                        <a:pt x="-52" y="7770"/>
                        <a:pt x="-234" y="10753"/>
                        <a:pt x="257" y="13302"/>
                      </a:cubicBezTo>
                      <a:cubicBezTo>
                        <a:pt x="742" y="15876"/>
                        <a:pt x="1900" y="18016"/>
                        <a:pt x="3312" y="19357"/>
                      </a:cubicBezTo>
                      <a:cubicBezTo>
                        <a:pt x="4727" y="20723"/>
                        <a:pt x="6397" y="21290"/>
                        <a:pt x="7993" y="21260"/>
                      </a:cubicBezTo>
                      <a:cubicBezTo>
                        <a:pt x="9605" y="21252"/>
                        <a:pt x="11144" y="20646"/>
                        <a:pt x="12635" y="20158"/>
                      </a:cubicBezTo>
                      <a:cubicBezTo>
                        <a:pt x="15559" y="18976"/>
                        <a:pt x="17719" y="18904"/>
                        <a:pt x="19178" y="19556"/>
                      </a:cubicBezTo>
                      <a:close/>
                    </a:path>
                  </a:pathLst>
                </a:custGeom>
                <a:grpFill/>
                <a:ln w="127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a:p>
              </p:txBody>
            </p:sp>
          </p:grpSp>
          <p:sp>
            <p:nvSpPr>
              <p:cNvPr id="168" name="iš1ïḑe">
                <a:extLst>
                  <a:ext uri="{FF2B5EF4-FFF2-40B4-BE49-F238E27FC236}">
                    <a16:creationId xmlns:a16="http://schemas.microsoft.com/office/drawing/2014/main" id="{FFE6B57E-A62F-460F-B490-16DFC31C9B8B}"/>
                  </a:ext>
                </a:extLst>
              </p:cNvPr>
              <p:cNvSpPr/>
              <p:nvPr/>
            </p:nvSpPr>
            <p:spPr>
              <a:xfrm>
                <a:off x="5918888" y="2636417"/>
                <a:ext cx="352424" cy="320958"/>
              </a:xfrm>
              <a:custGeom>
                <a:avLst/>
                <a:gdLst>
                  <a:gd name="connsiteX0" fmla="*/ 123825 w 533400"/>
                  <a:gd name="connsiteY0" fmla="*/ 228600 h 485775"/>
                  <a:gd name="connsiteX1" fmla="*/ 123825 w 533400"/>
                  <a:gd name="connsiteY1" fmla="*/ 276225 h 485775"/>
                  <a:gd name="connsiteX2" fmla="*/ 142875 w 533400"/>
                  <a:gd name="connsiteY2" fmla="*/ 276225 h 485775"/>
                  <a:gd name="connsiteX3" fmla="*/ 142875 w 533400"/>
                  <a:gd name="connsiteY3" fmla="*/ 228600 h 485775"/>
                  <a:gd name="connsiteX4" fmla="*/ 390525 w 533400"/>
                  <a:gd name="connsiteY4" fmla="*/ 228600 h 485775"/>
                  <a:gd name="connsiteX5" fmla="*/ 390525 w 533400"/>
                  <a:gd name="connsiteY5" fmla="*/ 276225 h 485775"/>
                  <a:gd name="connsiteX6" fmla="*/ 409575 w 533400"/>
                  <a:gd name="connsiteY6" fmla="*/ 276225 h 485775"/>
                  <a:gd name="connsiteX7" fmla="*/ 409575 w 533400"/>
                  <a:gd name="connsiteY7" fmla="*/ 228600 h 485775"/>
                  <a:gd name="connsiteX8" fmla="*/ 533400 w 533400"/>
                  <a:gd name="connsiteY8" fmla="*/ 228600 h 485775"/>
                  <a:gd name="connsiteX9" fmla="*/ 533400 w 533400"/>
                  <a:gd name="connsiteY9" fmla="*/ 457200 h 485775"/>
                  <a:gd name="connsiteX10" fmla="*/ 504825 w 533400"/>
                  <a:gd name="connsiteY10" fmla="*/ 485775 h 485775"/>
                  <a:gd name="connsiteX11" fmla="*/ 28575 w 533400"/>
                  <a:gd name="connsiteY11" fmla="*/ 485775 h 485775"/>
                  <a:gd name="connsiteX12" fmla="*/ 0 w 533400"/>
                  <a:gd name="connsiteY12" fmla="*/ 457200 h 485775"/>
                  <a:gd name="connsiteX13" fmla="*/ 0 w 533400"/>
                  <a:gd name="connsiteY13" fmla="*/ 228600 h 485775"/>
                  <a:gd name="connsiteX14" fmla="*/ 123825 w 533400"/>
                  <a:gd name="connsiteY14" fmla="*/ 228600 h 485775"/>
                  <a:gd name="connsiteX15" fmla="*/ 371475 w 533400"/>
                  <a:gd name="connsiteY15" fmla="*/ 0 h 485775"/>
                  <a:gd name="connsiteX16" fmla="*/ 409575 w 533400"/>
                  <a:gd name="connsiteY16" fmla="*/ 36195 h 485775"/>
                  <a:gd name="connsiteX17" fmla="*/ 409575 w 533400"/>
                  <a:gd name="connsiteY17" fmla="*/ 38100 h 485775"/>
                  <a:gd name="connsiteX18" fmla="*/ 409575 w 533400"/>
                  <a:gd name="connsiteY18" fmla="*/ 114300 h 485775"/>
                  <a:gd name="connsiteX19" fmla="*/ 504825 w 533400"/>
                  <a:gd name="connsiteY19" fmla="*/ 114300 h 485775"/>
                  <a:gd name="connsiteX20" fmla="*/ 533400 w 533400"/>
                  <a:gd name="connsiteY20" fmla="*/ 142875 h 485775"/>
                  <a:gd name="connsiteX21" fmla="*/ 533400 w 533400"/>
                  <a:gd name="connsiteY21" fmla="*/ 209550 h 485775"/>
                  <a:gd name="connsiteX22" fmla="*/ 0 w 533400"/>
                  <a:gd name="connsiteY22" fmla="*/ 209550 h 485775"/>
                  <a:gd name="connsiteX23" fmla="*/ 0 w 533400"/>
                  <a:gd name="connsiteY23" fmla="*/ 142875 h 485775"/>
                  <a:gd name="connsiteX24" fmla="*/ 28575 w 533400"/>
                  <a:gd name="connsiteY24" fmla="*/ 114300 h 485775"/>
                  <a:gd name="connsiteX25" fmla="*/ 123825 w 533400"/>
                  <a:gd name="connsiteY25" fmla="*/ 114300 h 485775"/>
                  <a:gd name="connsiteX26" fmla="*/ 123825 w 533400"/>
                  <a:gd name="connsiteY26" fmla="*/ 38100 h 485775"/>
                  <a:gd name="connsiteX27" fmla="*/ 160020 w 533400"/>
                  <a:gd name="connsiteY27" fmla="*/ 0 h 485775"/>
                  <a:gd name="connsiteX28" fmla="*/ 161925 w 533400"/>
                  <a:gd name="connsiteY28" fmla="*/ 0 h 485775"/>
                  <a:gd name="connsiteX29" fmla="*/ 371475 w 533400"/>
                  <a:gd name="connsiteY29" fmla="*/ 0 h 485775"/>
                  <a:gd name="connsiteX30" fmla="*/ 371475 w 533400"/>
                  <a:gd name="connsiteY30" fmla="*/ 19050 h 485775"/>
                  <a:gd name="connsiteX31" fmla="*/ 161925 w 533400"/>
                  <a:gd name="connsiteY31" fmla="*/ 19050 h 485775"/>
                  <a:gd name="connsiteX32" fmla="*/ 142970 w 533400"/>
                  <a:gd name="connsiteY32" fmla="*/ 36671 h 485775"/>
                  <a:gd name="connsiteX33" fmla="*/ 142875 w 533400"/>
                  <a:gd name="connsiteY33" fmla="*/ 38100 h 485775"/>
                  <a:gd name="connsiteX34" fmla="*/ 142875 w 533400"/>
                  <a:gd name="connsiteY34" fmla="*/ 114300 h 485775"/>
                  <a:gd name="connsiteX35" fmla="*/ 390525 w 533400"/>
                  <a:gd name="connsiteY35" fmla="*/ 114300 h 485775"/>
                  <a:gd name="connsiteX36" fmla="*/ 390525 w 533400"/>
                  <a:gd name="connsiteY36" fmla="*/ 38100 h 485775"/>
                  <a:gd name="connsiteX37" fmla="*/ 374333 w 533400"/>
                  <a:gd name="connsiteY37" fmla="*/ 19241 h 485775"/>
                  <a:gd name="connsiteX38" fmla="*/ 372904 w 533400"/>
                  <a:gd name="connsiteY38" fmla="*/ 19050 h 485775"/>
                  <a:gd name="connsiteX39" fmla="*/ 371475 w 533400"/>
                  <a:gd name="connsiteY39" fmla="*/ 1905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3825" y="228600"/>
                    </a:moveTo>
                    <a:lnTo>
                      <a:pt x="123825" y="276225"/>
                    </a:lnTo>
                    <a:lnTo>
                      <a:pt x="142875" y="276225"/>
                    </a:lnTo>
                    <a:lnTo>
                      <a:pt x="142875" y="228600"/>
                    </a:lnTo>
                    <a:lnTo>
                      <a:pt x="390525" y="228600"/>
                    </a:lnTo>
                    <a:lnTo>
                      <a:pt x="390525" y="276225"/>
                    </a:lnTo>
                    <a:lnTo>
                      <a:pt x="409575" y="276225"/>
                    </a:lnTo>
                    <a:lnTo>
                      <a:pt x="409575" y="228600"/>
                    </a:lnTo>
                    <a:lnTo>
                      <a:pt x="533400" y="228600"/>
                    </a:lnTo>
                    <a:lnTo>
                      <a:pt x="533400" y="457200"/>
                    </a:lnTo>
                    <a:cubicBezTo>
                      <a:pt x="533400" y="473012"/>
                      <a:pt x="520637" y="485775"/>
                      <a:pt x="504825" y="485775"/>
                    </a:cubicBezTo>
                    <a:lnTo>
                      <a:pt x="28575" y="485775"/>
                    </a:lnTo>
                    <a:cubicBezTo>
                      <a:pt x="12763" y="485775"/>
                      <a:pt x="0" y="473012"/>
                      <a:pt x="0" y="457200"/>
                    </a:cubicBezTo>
                    <a:lnTo>
                      <a:pt x="0" y="228600"/>
                    </a:lnTo>
                    <a:lnTo>
                      <a:pt x="123825" y="228600"/>
                    </a:lnTo>
                    <a:close/>
                    <a:moveTo>
                      <a:pt x="371475" y="0"/>
                    </a:moveTo>
                    <a:cubicBezTo>
                      <a:pt x="391859" y="0"/>
                      <a:pt x="408527" y="16002"/>
                      <a:pt x="409575" y="36195"/>
                    </a:cubicBezTo>
                    <a:lnTo>
                      <a:pt x="409575" y="38100"/>
                    </a:lnTo>
                    <a:lnTo>
                      <a:pt x="409575" y="114300"/>
                    </a:lnTo>
                    <a:lnTo>
                      <a:pt x="504825" y="114300"/>
                    </a:lnTo>
                    <a:cubicBezTo>
                      <a:pt x="520637" y="114300"/>
                      <a:pt x="533400" y="127064"/>
                      <a:pt x="533400" y="142875"/>
                    </a:cubicBezTo>
                    <a:lnTo>
                      <a:pt x="533400" y="209550"/>
                    </a:lnTo>
                    <a:lnTo>
                      <a:pt x="0" y="209550"/>
                    </a:lnTo>
                    <a:lnTo>
                      <a:pt x="0" y="142875"/>
                    </a:lnTo>
                    <a:cubicBezTo>
                      <a:pt x="0" y="127064"/>
                      <a:pt x="12763" y="114300"/>
                      <a:pt x="28575" y="114300"/>
                    </a:cubicBezTo>
                    <a:lnTo>
                      <a:pt x="123825" y="114300"/>
                    </a:lnTo>
                    <a:lnTo>
                      <a:pt x="123825" y="38100"/>
                    </a:lnTo>
                    <a:cubicBezTo>
                      <a:pt x="123825" y="17716"/>
                      <a:pt x="139828" y="1048"/>
                      <a:pt x="160020" y="0"/>
                    </a:cubicBezTo>
                    <a:lnTo>
                      <a:pt x="161925" y="0"/>
                    </a:lnTo>
                    <a:lnTo>
                      <a:pt x="371475" y="0"/>
                    </a:lnTo>
                    <a:close/>
                    <a:moveTo>
                      <a:pt x="371475" y="19050"/>
                    </a:moveTo>
                    <a:lnTo>
                      <a:pt x="161925" y="19050"/>
                    </a:lnTo>
                    <a:cubicBezTo>
                      <a:pt x="151923" y="19050"/>
                      <a:pt x="143637" y="26861"/>
                      <a:pt x="142970" y="36671"/>
                    </a:cubicBezTo>
                    <a:lnTo>
                      <a:pt x="142875" y="38100"/>
                    </a:lnTo>
                    <a:lnTo>
                      <a:pt x="142875" y="114300"/>
                    </a:lnTo>
                    <a:lnTo>
                      <a:pt x="390525" y="114300"/>
                    </a:lnTo>
                    <a:lnTo>
                      <a:pt x="390525" y="38100"/>
                    </a:lnTo>
                    <a:cubicBezTo>
                      <a:pt x="390525" y="28575"/>
                      <a:pt x="383477" y="20669"/>
                      <a:pt x="374333" y="19241"/>
                    </a:cubicBezTo>
                    <a:lnTo>
                      <a:pt x="372904" y="19050"/>
                    </a:lnTo>
                    <a:lnTo>
                      <a:pt x="371475" y="19050"/>
                    </a:lnTo>
                    <a:close/>
                  </a:path>
                </a:pathLst>
              </a:cu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169" name="íṣľîďê">
                <a:extLst>
                  <a:ext uri="{FF2B5EF4-FFF2-40B4-BE49-F238E27FC236}">
                    <a16:creationId xmlns:a16="http://schemas.microsoft.com/office/drawing/2014/main" id="{F65773DF-ACF5-49C1-B12C-0AFCDAC9D863}"/>
                  </a:ext>
                </a:extLst>
              </p:cNvPr>
              <p:cNvSpPr/>
              <p:nvPr/>
            </p:nvSpPr>
            <p:spPr>
              <a:xfrm>
                <a:off x="6716593" y="2971352"/>
                <a:ext cx="321510" cy="352424"/>
              </a:xfrm>
              <a:custGeom>
                <a:avLst/>
                <a:gdLst>
                  <a:gd name="connsiteX0" fmla="*/ 247650 w 495300"/>
                  <a:gd name="connsiteY0" fmla="*/ 0 h 542925"/>
                  <a:gd name="connsiteX1" fmla="*/ 495300 w 495300"/>
                  <a:gd name="connsiteY1" fmla="*/ 247650 h 542925"/>
                  <a:gd name="connsiteX2" fmla="*/ 322707 w 495300"/>
                  <a:gd name="connsiteY2" fmla="*/ 483775 h 542925"/>
                  <a:gd name="connsiteX3" fmla="*/ 345853 w 495300"/>
                  <a:gd name="connsiteY3" fmla="*/ 523875 h 542925"/>
                  <a:gd name="connsiteX4" fmla="*/ 419100 w 495300"/>
                  <a:gd name="connsiteY4" fmla="*/ 523875 h 542925"/>
                  <a:gd name="connsiteX5" fmla="*/ 419100 w 495300"/>
                  <a:gd name="connsiteY5" fmla="*/ 542925 h 542925"/>
                  <a:gd name="connsiteX6" fmla="*/ 76200 w 495300"/>
                  <a:gd name="connsiteY6" fmla="*/ 542925 h 542925"/>
                  <a:gd name="connsiteX7" fmla="*/ 76200 w 495300"/>
                  <a:gd name="connsiteY7" fmla="*/ 523875 h 542925"/>
                  <a:gd name="connsiteX8" fmla="*/ 149447 w 495300"/>
                  <a:gd name="connsiteY8" fmla="*/ 523875 h 542925"/>
                  <a:gd name="connsiteX9" fmla="*/ 172593 w 495300"/>
                  <a:gd name="connsiteY9" fmla="*/ 483775 h 542925"/>
                  <a:gd name="connsiteX10" fmla="*/ 0 w 495300"/>
                  <a:gd name="connsiteY10" fmla="*/ 247650 h 542925"/>
                  <a:gd name="connsiteX11" fmla="*/ 247650 w 495300"/>
                  <a:gd name="connsiteY11" fmla="*/ 0 h 542925"/>
                  <a:gd name="connsiteX12" fmla="*/ 191643 w 495300"/>
                  <a:gd name="connsiteY12" fmla="*/ 488918 h 542925"/>
                  <a:gd name="connsiteX13" fmla="*/ 171450 w 495300"/>
                  <a:gd name="connsiteY13" fmla="*/ 523875 h 542925"/>
                  <a:gd name="connsiteX14" fmla="*/ 323850 w 495300"/>
                  <a:gd name="connsiteY14" fmla="*/ 523875 h 542925"/>
                  <a:gd name="connsiteX15" fmla="*/ 303657 w 495300"/>
                  <a:gd name="connsiteY15" fmla="*/ 488918 h 542925"/>
                  <a:gd name="connsiteX16" fmla="*/ 247650 w 495300"/>
                  <a:gd name="connsiteY16" fmla="*/ 495300 h 542925"/>
                  <a:gd name="connsiteX17" fmla="*/ 191643 w 495300"/>
                  <a:gd name="connsiteY17" fmla="*/ 488918 h 542925"/>
                  <a:gd name="connsiteX18" fmla="*/ 247650 w 495300"/>
                  <a:gd name="connsiteY18" fmla="*/ 142875 h 542925"/>
                  <a:gd name="connsiteX19" fmla="*/ 142875 w 495300"/>
                  <a:gd name="connsiteY19" fmla="*/ 247650 h 542925"/>
                  <a:gd name="connsiteX20" fmla="*/ 247650 w 495300"/>
                  <a:gd name="connsiteY20" fmla="*/ 352425 h 542925"/>
                  <a:gd name="connsiteX21" fmla="*/ 352425 w 495300"/>
                  <a:gd name="connsiteY21" fmla="*/ 247650 h 542925"/>
                  <a:gd name="connsiteX22" fmla="*/ 247650 w 495300"/>
                  <a:gd name="connsiteY22" fmla="*/ 142875 h 542925"/>
                  <a:gd name="connsiteX23" fmla="*/ 366713 w 495300"/>
                  <a:gd name="connsiteY23" fmla="*/ 114300 h 542925"/>
                  <a:gd name="connsiteX24" fmla="*/ 352425 w 495300"/>
                  <a:gd name="connsiteY24" fmla="*/ 128588 h 542925"/>
                  <a:gd name="connsiteX25" fmla="*/ 366713 w 495300"/>
                  <a:gd name="connsiteY25" fmla="*/ 142875 h 542925"/>
                  <a:gd name="connsiteX26" fmla="*/ 381000 w 495300"/>
                  <a:gd name="connsiteY26" fmla="*/ 128588 h 542925"/>
                  <a:gd name="connsiteX27" fmla="*/ 366713 w 495300"/>
                  <a:gd name="connsiteY27" fmla="*/ 11430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7650" y="0"/>
                    </a:moveTo>
                    <a:cubicBezTo>
                      <a:pt x="384429" y="0"/>
                      <a:pt x="495300" y="110871"/>
                      <a:pt x="495300" y="247650"/>
                    </a:cubicBezTo>
                    <a:cubicBezTo>
                      <a:pt x="495300" y="358235"/>
                      <a:pt x="422815" y="451961"/>
                      <a:pt x="322707" y="483775"/>
                    </a:cubicBezTo>
                    <a:lnTo>
                      <a:pt x="345853" y="523875"/>
                    </a:lnTo>
                    <a:lnTo>
                      <a:pt x="419100" y="523875"/>
                    </a:lnTo>
                    <a:lnTo>
                      <a:pt x="419100" y="542925"/>
                    </a:lnTo>
                    <a:lnTo>
                      <a:pt x="76200" y="542925"/>
                    </a:lnTo>
                    <a:lnTo>
                      <a:pt x="76200" y="523875"/>
                    </a:lnTo>
                    <a:lnTo>
                      <a:pt x="149447" y="523875"/>
                    </a:lnTo>
                    <a:lnTo>
                      <a:pt x="172593" y="483775"/>
                    </a:lnTo>
                    <a:cubicBezTo>
                      <a:pt x="72485" y="451961"/>
                      <a:pt x="0" y="358235"/>
                      <a:pt x="0" y="247650"/>
                    </a:cubicBezTo>
                    <a:cubicBezTo>
                      <a:pt x="0" y="110871"/>
                      <a:pt x="110871" y="0"/>
                      <a:pt x="247650" y="0"/>
                    </a:cubicBezTo>
                    <a:close/>
                    <a:moveTo>
                      <a:pt x="191643" y="488918"/>
                    </a:moveTo>
                    <a:lnTo>
                      <a:pt x="171450" y="523875"/>
                    </a:lnTo>
                    <a:lnTo>
                      <a:pt x="323850" y="523875"/>
                    </a:lnTo>
                    <a:lnTo>
                      <a:pt x="303657" y="488918"/>
                    </a:lnTo>
                    <a:cubicBezTo>
                      <a:pt x="285655" y="493109"/>
                      <a:pt x="266891" y="495300"/>
                      <a:pt x="247650" y="495300"/>
                    </a:cubicBezTo>
                    <a:cubicBezTo>
                      <a:pt x="228409" y="495300"/>
                      <a:pt x="209645" y="493109"/>
                      <a:pt x="191643" y="488918"/>
                    </a:cubicBezTo>
                    <a:close/>
                    <a:moveTo>
                      <a:pt x="247650" y="142875"/>
                    </a:moveTo>
                    <a:cubicBezTo>
                      <a:pt x="189738" y="142875"/>
                      <a:pt x="142875" y="189738"/>
                      <a:pt x="142875" y="247650"/>
                    </a:cubicBezTo>
                    <a:cubicBezTo>
                      <a:pt x="142875" y="305562"/>
                      <a:pt x="189738" y="352425"/>
                      <a:pt x="247650" y="352425"/>
                    </a:cubicBezTo>
                    <a:cubicBezTo>
                      <a:pt x="305562" y="352425"/>
                      <a:pt x="352425" y="305562"/>
                      <a:pt x="352425" y="247650"/>
                    </a:cubicBezTo>
                    <a:cubicBezTo>
                      <a:pt x="352425" y="189738"/>
                      <a:pt x="305562" y="142875"/>
                      <a:pt x="247650" y="142875"/>
                    </a:cubicBezTo>
                    <a:close/>
                    <a:moveTo>
                      <a:pt x="366713" y="114300"/>
                    </a:moveTo>
                    <a:cubicBezTo>
                      <a:pt x="358807" y="114300"/>
                      <a:pt x="352425" y="120682"/>
                      <a:pt x="352425" y="128588"/>
                    </a:cubicBezTo>
                    <a:cubicBezTo>
                      <a:pt x="352425" y="136493"/>
                      <a:pt x="358807" y="142875"/>
                      <a:pt x="366713" y="142875"/>
                    </a:cubicBezTo>
                    <a:cubicBezTo>
                      <a:pt x="374618" y="142875"/>
                      <a:pt x="381000" y="136493"/>
                      <a:pt x="381000" y="128588"/>
                    </a:cubicBezTo>
                    <a:cubicBezTo>
                      <a:pt x="381000" y="120682"/>
                      <a:pt x="374618" y="114300"/>
                      <a:pt x="366713" y="114300"/>
                    </a:cubicBezTo>
                    <a:close/>
                  </a:path>
                </a:pathLst>
              </a:cu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170" name="ïṡ1ïḍè">
                <a:extLst>
                  <a:ext uri="{FF2B5EF4-FFF2-40B4-BE49-F238E27FC236}">
                    <a16:creationId xmlns:a16="http://schemas.microsoft.com/office/drawing/2014/main" id="{92105C99-958B-4D1B-9CB2-AFB847A3BF1E}"/>
                  </a:ext>
                </a:extLst>
              </p:cNvPr>
              <p:cNvSpPr/>
              <p:nvPr/>
            </p:nvSpPr>
            <p:spPr>
              <a:xfrm>
                <a:off x="6701132" y="3987093"/>
                <a:ext cx="352424" cy="280634"/>
              </a:xfrm>
              <a:custGeom>
                <a:avLst/>
                <a:gdLst>
                  <a:gd name="connsiteX0" fmla="*/ 485775 w 514350"/>
                  <a:gd name="connsiteY0" fmla="*/ 0 h 409575"/>
                  <a:gd name="connsiteX1" fmla="*/ 514350 w 514350"/>
                  <a:gd name="connsiteY1" fmla="*/ 28575 h 409575"/>
                  <a:gd name="connsiteX2" fmla="*/ 514350 w 514350"/>
                  <a:gd name="connsiteY2" fmla="*/ 323850 h 409575"/>
                  <a:gd name="connsiteX3" fmla="*/ 485775 w 514350"/>
                  <a:gd name="connsiteY3" fmla="*/ 352425 h 409575"/>
                  <a:gd name="connsiteX4" fmla="*/ 191167 w 514350"/>
                  <a:gd name="connsiteY4" fmla="*/ 352425 h 409575"/>
                  <a:gd name="connsiteX5" fmla="*/ 114395 w 514350"/>
                  <a:gd name="connsiteY5" fmla="*/ 409575 h 409575"/>
                  <a:gd name="connsiteX6" fmla="*/ 114395 w 514350"/>
                  <a:gd name="connsiteY6" fmla="*/ 352425 h 409575"/>
                  <a:gd name="connsiteX7" fmla="*/ 28575 w 514350"/>
                  <a:gd name="connsiteY7" fmla="*/ 352425 h 409575"/>
                  <a:gd name="connsiteX8" fmla="*/ 0 w 514350"/>
                  <a:gd name="connsiteY8" fmla="*/ 323850 h 409575"/>
                  <a:gd name="connsiteX9" fmla="*/ 0 w 514350"/>
                  <a:gd name="connsiteY9" fmla="*/ 28575 h 409575"/>
                  <a:gd name="connsiteX10" fmla="*/ 28575 w 514350"/>
                  <a:gd name="connsiteY10" fmla="*/ 0 h 409575"/>
                  <a:gd name="connsiteX11" fmla="*/ 485775 w 514350"/>
                  <a:gd name="connsiteY11" fmla="*/ 0 h 409575"/>
                  <a:gd name="connsiteX12" fmla="*/ 123825 w 514350"/>
                  <a:gd name="connsiteY12" fmla="*/ 142875 h 409575"/>
                  <a:gd name="connsiteX13" fmla="*/ 90488 w 514350"/>
                  <a:gd name="connsiteY13" fmla="*/ 176213 h 409575"/>
                  <a:gd name="connsiteX14" fmla="*/ 123825 w 514350"/>
                  <a:gd name="connsiteY14" fmla="*/ 209550 h 409575"/>
                  <a:gd name="connsiteX15" fmla="*/ 157163 w 514350"/>
                  <a:gd name="connsiteY15" fmla="*/ 176213 h 409575"/>
                  <a:gd name="connsiteX16" fmla="*/ 123825 w 514350"/>
                  <a:gd name="connsiteY16" fmla="*/ 142875 h 409575"/>
                  <a:gd name="connsiteX17" fmla="*/ 257175 w 514350"/>
                  <a:gd name="connsiteY17" fmla="*/ 142875 h 409575"/>
                  <a:gd name="connsiteX18" fmla="*/ 223838 w 514350"/>
                  <a:gd name="connsiteY18" fmla="*/ 176213 h 409575"/>
                  <a:gd name="connsiteX19" fmla="*/ 257175 w 514350"/>
                  <a:gd name="connsiteY19" fmla="*/ 209550 h 409575"/>
                  <a:gd name="connsiteX20" fmla="*/ 290513 w 514350"/>
                  <a:gd name="connsiteY20" fmla="*/ 176213 h 409575"/>
                  <a:gd name="connsiteX21" fmla="*/ 257175 w 514350"/>
                  <a:gd name="connsiteY21" fmla="*/ 142875 h 409575"/>
                  <a:gd name="connsiteX22" fmla="*/ 390525 w 514350"/>
                  <a:gd name="connsiteY22" fmla="*/ 142875 h 409575"/>
                  <a:gd name="connsiteX23" fmla="*/ 357188 w 514350"/>
                  <a:gd name="connsiteY23" fmla="*/ 176213 h 409575"/>
                  <a:gd name="connsiteX24" fmla="*/ 390525 w 514350"/>
                  <a:gd name="connsiteY24" fmla="*/ 209550 h 409575"/>
                  <a:gd name="connsiteX25" fmla="*/ 423863 w 514350"/>
                  <a:gd name="connsiteY25" fmla="*/ 176213 h 409575"/>
                  <a:gd name="connsiteX26" fmla="*/ 390525 w 514350"/>
                  <a:gd name="connsiteY26" fmla="*/ 1428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5775" y="0"/>
                    </a:moveTo>
                    <a:cubicBezTo>
                      <a:pt x="501586" y="0"/>
                      <a:pt x="514350" y="12764"/>
                      <a:pt x="514350" y="28575"/>
                    </a:cubicBezTo>
                    <a:lnTo>
                      <a:pt x="514350" y="323850"/>
                    </a:lnTo>
                    <a:cubicBezTo>
                      <a:pt x="514350" y="339662"/>
                      <a:pt x="501586" y="352425"/>
                      <a:pt x="485775" y="352425"/>
                    </a:cubicBezTo>
                    <a:lnTo>
                      <a:pt x="191167" y="352425"/>
                    </a:lnTo>
                    <a:lnTo>
                      <a:pt x="114395" y="409575"/>
                    </a:lnTo>
                    <a:lnTo>
                      <a:pt x="114395" y="352425"/>
                    </a:lnTo>
                    <a:lnTo>
                      <a:pt x="28575" y="352425"/>
                    </a:lnTo>
                    <a:cubicBezTo>
                      <a:pt x="12764" y="352425"/>
                      <a:pt x="0" y="339662"/>
                      <a:pt x="0" y="323850"/>
                    </a:cubicBezTo>
                    <a:lnTo>
                      <a:pt x="0" y="28575"/>
                    </a:lnTo>
                    <a:cubicBezTo>
                      <a:pt x="0" y="12764"/>
                      <a:pt x="12764" y="0"/>
                      <a:pt x="28575" y="0"/>
                    </a:cubicBezTo>
                    <a:lnTo>
                      <a:pt x="485775" y="0"/>
                    </a:lnTo>
                    <a:close/>
                    <a:moveTo>
                      <a:pt x="123825" y="142875"/>
                    </a:moveTo>
                    <a:cubicBezTo>
                      <a:pt x="105442" y="142875"/>
                      <a:pt x="90488" y="157829"/>
                      <a:pt x="90488" y="176213"/>
                    </a:cubicBezTo>
                    <a:cubicBezTo>
                      <a:pt x="90488" y="194596"/>
                      <a:pt x="105442" y="209550"/>
                      <a:pt x="123825" y="209550"/>
                    </a:cubicBezTo>
                    <a:cubicBezTo>
                      <a:pt x="142208" y="209550"/>
                      <a:pt x="157163" y="194596"/>
                      <a:pt x="157163" y="176213"/>
                    </a:cubicBezTo>
                    <a:cubicBezTo>
                      <a:pt x="157163" y="157829"/>
                      <a:pt x="142208" y="142875"/>
                      <a:pt x="123825" y="142875"/>
                    </a:cubicBezTo>
                    <a:close/>
                    <a:moveTo>
                      <a:pt x="257175" y="142875"/>
                    </a:moveTo>
                    <a:cubicBezTo>
                      <a:pt x="238792" y="142875"/>
                      <a:pt x="223838" y="157829"/>
                      <a:pt x="223838" y="176213"/>
                    </a:cubicBezTo>
                    <a:cubicBezTo>
                      <a:pt x="223838" y="194596"/>
                      <a:pt x="238792" y="209550"/>
                      <a:pt x="257175" y="209550"/>
                    </a:cubicBezTo>
                    <a:cubicBezTo>
                      <a:pt x="275558" y="209550"/>
                      <a:pt x="290513" y="194596"/>
                      <a:pt x="290513" y="176213"/>
                    </a:cubicBezTo>
                    <a:cubicBezTo>
                      <a:pt x="290513" y="157829"/>
                      <a:pt x="275558" y="142875"/>
                      <a:pt x="257175" y="142875"/>
                    </a:cubicBezTo>
                    <a:close/>
                    <a:moveTo>
                      <a:pt x="390525" y="142875"/>
                    </a:moveTo>
                    <a:cubicBezTo>
                      <a:pt x="372142" y="142875"/>
                      <a:pt x="357188" y="157829"/>
                      <a:pt x="357188" y="176213"/>
                    </a:cubicBezTo>
                    <a:cubicBezTo>
                      <a:pt x="357188" y="194596"/>
                      <a:pt x="372142" y="209550"/>
                      <a:pt x="390525" y="209550"/>
                    </a:cubicBezTo>
                    <a:cubicBezTo>
                      <a:pt x="408908" y="209550"/>
                      <a:pt x="423863" y="194596"/>
                      <a:pt x="423863" y="176213"/>
                    </a:cubicBezTo>
                    <a:cubicBezTo>
                      <a:pt x="423863" y="157829"/>
                      <a:pt x="408908" y="142875"/>
                      <a:pt x="390525" y="142875"/>
                    </a:cubicBezTo>
                    <a:close/>
                  </a:path>
                </a:pathLst>
              </a:cu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70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171" name="íSlîďé">
                <a:extLst>
                  <a:ext uri="{FF2B5EF4-FFF2-40B4-BE49-F238E27FC236}">
                    <a16:creationId xmlns:a16="http://schemas.microsoft.com/office/drawing/2014/main" id="{32F2CD02-CDD2-4F58-BA11-3AEB6A6397C7}"/>
                  </a:ext>
                </a:extLst>
              </p:cNvPr>
              <p:cNvSpPr/>
              <p:nvPr/>
            </p:nvSpPr>
            <p:spPr>
              <a:xfrm>
                <a:off x="5931236" y="4303985"/>
                <a:ext cx="327727" cy="352424"/>
              </a:xfrm>
              <a:custGeom>
                <a:avLst/>
                <a:gdLst>
                  <a:gd name="connsiteX0" fmla="*/ 8038 w 487162"/>
                  <a:gd name="connsiteY0" fmla="*/ 513398 h 523875"/>
                  <a:gd name="connsiteX1" fmla="*/ 7467 w 487162"/>
                  <a:gd name="connsiteY1" fmla="*/ 512731 h 523875"/>
                  <a:gd name="connsiteX2" fmla="*/ 7467 w 487162"/>
                  <a:gd name="connsiteY2" fmla="*/ 512731 h 523875"/>
                  <a:gd name="connsiteX3" fmla="*/ 6991 w 487162"/>
                  <a:gd name="connsiteY3" fmla="*/ 512064 h 523875"/>
                  <a:gd name="connsiteX4" fmla="*/ 4990 w 487162"/>
                  <a:gd name="connsiteY4" fmla="*/ 509016 h 523875"/>
                  <a:gd name="connsiteX5" fmla="*/ 4990 w 487162"/>
                  <a:gd name="connsiteY5" fmla="*/ 509016 h 523875"/>
                  <a:gd name="connsiteX6" fmla="*/ 4514 w 487162"/>
                  <a:gd name="connsiteY6" fmla="*/ 508254 h 523875"/>
                  <a:gd name="connsiteX7" fmla="*/ 3752 w 487162"/>
                  <a:gd name="connsiteY7" fmla="*/ 506730 h 523875"/>
                  <a:gd name="connsiteX8" fmla="*/ 3085 w 487162"/>
                  <a:gd name="connsiteY8" fmla="*/ 505111 h 523875"/>
                  <a:gd name="connsiteX9" fmla="*/ 2990 w 487162"/>
                  <a:gd name="connsiteY9" fmla="*/ 504920 h 523875"/>
                  <a:gd name="connsiteX10" fmla="*/ 2895 w 487162"/>
                  <a:gd name="connsiteY10" fmla="*/ 504635 h 523875"/>
                  <a:gd name="connsiteX11" fmla="*/ 2895 w 487162"/>
                  <a:gd name="connsiteY11" fmla="*/ 504444 h 523875"/>
                  <a:gd name="connsiteX12" fmla="*/ 2228 w 487162"/>
                  <a:gd name="connsiteY12" fmla="*/ 502444 h 523875"/>
                  <a:gd name="connsiteX13" fmla="*/ 1847 w 487162"/>
                  <a:gd name="connsiteY13" fmla="*/ 501110 h 523875"/>
                  <a:gd name="connsiteX14" fmla="*/ 1371 w 487162"/>
                  <a:gd name="connsiteY14" fmla="*/ 499205 h 523875"/>
                  <a:gd name="connsiteX15" fmla="*/ 514 w 487162"/>
                  <a:gd name="connsiteY15" fmla="*/ 494919 h 523875"/>
                  <a:gd name="connsiteX16" fmla="*/ 228 w 487162"/>
                  <a:gd name="connsiteY16" fmla="*/ 492443 h 523875"/>
                  <a:gd name="connsiteX17" fmla="*/ 37 w 487162"/>
                  <a:gd name="connsiteY17" fmla="*/ 485870 h 523875"/>
                  <a:gd name="connsiteX18" fmla="*/ 4609 w 487162"/>
                  <a:gd name="connsiteY18" fmla="*/ 467582 h 523875"/>
                  <a:gd name="connsiteX19" fmla="*/ 154247 w 487162"/>
                  <a:gd name="connsiteY19" fmla="*/ 150876 h 523875"/>
                  <a:gd name="connsiteX20" fmla="*/ 157867 w 487162"/>
                  <a:gd name="connsiteY20" fmla="*/ 134588 h 523875"/>
                  <a:gd name="connsiteX21" fmla="*/ 157867 w 487162"/>
                  <a:gd name="connsiteY21" fmla="*/ 19050 h 523875"/>
                  <a:gd name="connsiteX22" fmla="*/ 119767 w 487162"/>
                  <a:gd name="connsiteY22" fmla="*/ 19050 h 523875"/>
                  <a:gd name="connsiteX23" fmla="*/ 119767 w 487162"/>
                  <a:gd name="connsiteY23" fmla="*/ 0 h 523875"/>
                  <a:gd name="connsiteX24" fmla="*/ 367417 w 487162"/>
                  <a:gd name="connsiteY24" fmla="*/ 0 h 523875"/>
                  <a:gd name="connsiteX25" fmla="*/ 367417 w 487162"/>
                  <a:gd name="connsiteY25" fmla="*/ 19050 h 523875"/>
                  <a:gd name="connsiteX26" fmla="*/ 329317 w 487162"/>
                  <a:gd name="connsiteY26" fmla="*/ 19050 h 523875"/>
                  <a:gd name="connsiteX27" fmla="*/ 329317 w 487162"/>
                  <a:gd name="connsiteY27" fmla="*/ 134684 h 523875"/>
                  <a:gd name="connsiteX28" fmla="*/ 332936 w 487162"/>
                  <a:gd name="connsiteY28" fmla="*/ 150971 h 523875"/>
                  <a:gd name="connsiteX29" fmla="*/ 482574 w 487162"/>
                  <a:gd name="connsiteY29" fmla="*/ 467678 h 523875"/>
                  <a:gd name="connsiteX30" fmla="*/ 484098 w 487162"/>
                  <a:gd name="connsiteY30" fmla="*/ 504920 h 523875"/>
                  <a:gd name="connsiteX31" fmla="*/ 484003 w 487162"/>
                  <a:gd name="connsiteY31" fmla="*/ 505111 h 523875"/>
                  <a:gd name="connsiteX32" fmla="*/ 483431 w 487162"/>
                  <a:gd name="connsiteY32" fmla="*/ 506540 h 523875"/>
                  <a:gd name="connsiteX33" fmla="*/ 458571 w 487162"/>
                  <a:gd name="connsiteY33" fmla="*/ 523780 h 523875"/>
                  <a:gd name="connsiteX34" fmla="*/ 456666 w 487162"/>
                  <a:gd name="connsiteY34" fmla="*/ 523875 h 523875"/>
                  <a:gd name="connsiteX35" fmla="*/ 30422 w 487162"/>
                  <a:gd name="connsiteY35" fmla="*/ 523875 h 523875"/>
                  <a:gd name="connsiteX36" fmla="*/ 28612 w 487162"/>
                  <a:gd name="connsiteY36" fmla="*/ 523780 h 523875"/>
                  <a:gd name="connsiteX37" fmla="*/ 26136 w 487162"/>
                  <a:gd name="connsiteY37" fmla="*/ 523494 h 523875"/>
                  <a:gd name="connsiteX38" fmla="*/ 22326 w 487162"/>
                  <a:gd name="connsiteY38" fmla="*/ 522637 h 523875"/>
                  <a:gd name="connsiteX39" fmla="*/ 22326 w 487162"/>
                  <a:gd name="connsiteY39" fmla="*/ 522637 h 523875"/>
                  <a:gd name="connsiteX40" fmla="*/ 16801 w 487162"/>
                  <a:gd name="connsiteY40" fmla="*/ 520351 h 523875"/>
                  <a:gd name="connsiteX41" fmla="*/ 15373 w 487162"/>
                  <a:gd name="connsiteY41" fmla="*/ 519589 h 523875"/>
                  <a:gd name="connsiteX42" fmla="*/ 14420 w 487162"/>
                  <a:gd name="connsiteY42" fmla="*/ 519017 h 523875"/>
                  <a:gd name="connsiteX43" fmla="*/ 9467 w 487162"/>
                  <a:gd name="connsiteY43" fmla="*/ 514922 h 523875"/>
                  <a:gd name="connsiteX44" fmla="*/ 8038 w 487162"/>
                  <a:gd name="connsiteY44" fmla="*/ 513398 h 523875"/>
                  <a:gd name="connsiteX45" fmla="*/ 8038 w 487162"/>
                  <a:gd name="connsiteY45" fmla="*/ 513398 h 523875"/>
                  <a:gd name="connsiteX46" fmla="*/ 254641 w 487162"/>
                  <a:gd name="connsiteY46" fmla="*/ 404146 h 523875"/>
                  <a:gd name="connsiteX47" fmla="*/ 251783 w 487162"/>
                  <a:gd name="connsiteY47" fmla="*/ 405956 h 523875"/>
                  <a:gd name="connsiteX48" fmla="*/ 246259 w 487162"/>
                  <a:gd name="connsiteY48" fmla="*/ 409670 h 523875"/>
                  <a:gd name="connsiteX49" fmla="*/ 54425 w 487162"/>
                  <a:gd name="connsiteY49" fmla="*/ 416243 h 523875"/>
                  <a:gd name="connsiteX50" fmla="*/ 50615 w 487162"/>
                  <a:gd name="connsiteY50" fmla="*/ 414719 h 523875"/>
                  <a:gd name="connsiteX51" fmla="*/ 21754 w 487162"/>
                  <a:gd name="connsiteY51" fmla="*/ 475774 h 523875"/>
                  <a:gd name="connsiteX52" fmla="*/ 20897 w 487162"/>
                  <a:gd name="connsiteY52" fmla="*/ 477679 h 523875"/>
                  <a:gd name="connsiteX53" fmla="*/ 20802 w 487162"/>
                  <a:gd name="connsiteY53" fmla="*/ 498158 h 523875"/>
                  <a:gd name="connsiteX54" fmla="*/ 27945 w 487162"/>
                  <a:gd name="connsiteY54" fmla="*/ 504444 h 523875"/>
                  <a:gd name="connsiteX55" fmla="*/ 29184 w 487162"/>
                  <a:gd name="connsiteY55" fmla="*/ 504635 h 523875"/>
                  <a:gd name="connsiteX56" fmla="*/ 30327 w 487162"/>
                  <a:gd name="connsiteY56" fmla="*/ 504730 h 523875"/>
                  <a:gd name="connsiteX57" fmla="*/ 456570 w 487162"/>
                  <a:gd name="connsiteY57" fmla="*/ 504730 h 523875"/>
                  <a:gd name="connsiteX58" fmla="*/ 457714 w 487162"/>
                  <a:gd name="connsiteY58" fmla="*/ 504635 h 523875"/>
                  <a:gd name="connsiteX59" fmla="*/ 466095 w 487162"/>
                  <a:gd name="connsiteY59" fmla="*/ 498062 h 523875"/>
                  <a:gd name="connsiteX60" fmla="*/ 466667 w 487162"/>
                  <a:gd name="connsiteY60" fmla="*/ 479584 h 523875"/>
                  <a:gd name="connsiteX61" fmla="*/ 466000 w 487162"/>
                  <a:gd name="connsiteY61" fmla="*/ 477584 h 523875"/>
                  <a:gd name="connsiteX62" fmla="*/ 465143 w 487162"/>
                  <a:gd name="connsiteY62" fmla="*/ 475679 h 523875"/>
                  <a:gd name="connsiteX63" fmla="*/ 423519 w 487162"/>
                  <a:gd name="connsiteY63" fmla="*/ 387477 h 523875"/>
                  <a:gd name="connsiteX64" fmla="*/ 254641 w 487162"/>
                  <a:gd name="connsiteY64" fmla="*/ 404146 h 523875"/>
                  <a:gd name="connsiteX65" fmla="*/ 305504 w 487162"/>
                  <a:gd name="connsiteY65" fmla="*/ 257175 h 523875"/>
                  <a:gd name="connsiteX66" fmla="*/ 272167 w 487162"/>
                  <a:gd name="connsiteY66" fmla="*/ 290513 h 523875"/>
                  <a:gd name="connsiteX67" fmla="*/ 305504 w 487162"/>
                  <a:gd name="connsiteY67" fmla="*/ 323850 h 523875"/>
                  <a:gd name="connsiteX68" fmla="*/ 338842 w 487162"/>
                  <a:gd name="connsiteY68" fmla="*/ 290513 h 523875"/>
                  <a:gd name="connsiteX69" fmla="*/ 305504 w 487162"/>
                  <a:gd name="connsiteY69" fmla="*/ 2571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038" y="513398"/>
                    </a:moveTo>
                    <a:lnTo>
                      <a:pt x="7467" y="512731"/>
                    </a:lnTo>
                    <a:lnTo>
                      <a:pt x="7467" y="512731"/>
                    </a:lnTo>
                    <a:lnTo>
                      <a:pt x="6991" y="512064"/>
                    </a:lnTo>
                    <a:cubicBezTo>
                      <a:pt x="6228" y="511112"/>
                      <a:pt x="5657" y="510064"/>
                      <a:pt x="4990" y="509016"/>
                    </a:cubicBezTo>
                    <a:lnTo>
                      <a:pt x="4990" y="509016"/>
                    </a:lnTo>
                    <a:lnTo>
                      <a:pt x="4514" y="508254"/>
                    </a:lnTo>
                    <a:lnTo>
                      <a:pt x="3752" y="506730"/>
                    </a:lnTo>
                    <a:lnTo>
                      <a:pt x="3085" y="505111"/>
                    </a:lnTo>
                    <a:lnTo>
                      <a:pt x="2990" y="504920"/>
                    </a:lnTo>
                    <a:lnTo>
                      <a:pt x="2895" y="504635"/>
                    </a:lnTo>
                    <a:lnTo>
                      <a:pt x="2895" y="504444"/>
                    </a:lnTo>
                    <a:lnTo>
                      <a:pt x="2228" y="502444"/>
                    </a:lnTo>
                    <a:cubicBezTo>
                      <a:pt x="2133" y="501968"/>
                      <a:pt x="1942" y="501587"/>
                      <a:pt x="1847" y="501110"/>
                    </a:cubicBezTo>
                    <a:cubicBezTo>
                      <a:pt x="1657" y="500444"/>
                      <a:pt x="1466" y="499872"/>
                      <a:pt x="1371" y="499205"/>
                    </a:cubicBezTo>
                    <a:cubicBezTo>
                      <a:pt x="990" y="497776"/>
                      <a:pt x="799" y="496348"/>
                      <a:pt x="514" y="494919"/>
                    </a:cubicBezTo>
                    <a:lnTo>
                      <a:pt x="228" y="492443"/>
                    </a:lnTo>
                    <a:cubicBezTo>
                      <a:pt x="37" y="490252"/>
                      <a:pt x="-58" y="488061"/>
                      <a:pt x="37" y="485870"/>
                    </a:cubicBezTo>
                    <a:cubicBezTo>
                      <a:pt x="323" y="479584"/>
                      <a:pt x="1847" y="473393"/>
                      <a:pt x="4609" y="467582"/>
                    </a:cubicBezTo>
                    <a:lnTo>
                      <a:pt x="154247" y="150876"/>
                    </a:lnTo>
                    <a:cubicBezTo>
                      <a:pt x="156628" y="145828"/>
                      <a:pt x="157867" y="140208"/>
                      <a:pt x="157867" y="134588"/>
                    </a:cubicBezTo>
                    <a:lnTo>
                      <a:pt x="157867" y="19050"/>
                    </a:lnTo>
                    <a:lnTo>
                      <a:pt x="119767" y="19050"/>
                    </a:lnTo>
                    <a:lnTo>
                      <a:pt x="119767" y="0"/>
                    </a:lnTo>
                    <a:lnTo>
                      <a:pt x="367417" y="0"/>
                    </a:lnTo>
                    <a:lnTo>
                      <a:pt x="367417" y="19050"/>
                    </a:lnTo>
                    <a:lnTo>
                      <a:pt x="329317" y="19050"/>
                    </a:lnTo>
                    <a:lnTo>
                      <a:pt x="329317" y="134684"/>
                    </a:lnTo>
                    <a:cubicBezTo>
                      <a:pt x="329317" y="140303"/>
                      <a:pt x="330555" y="145828"/>
                      <a:pt x="332936" y="150971"/>
                    </a:cubicBezTo>
                    <a:lnTo>
                      <a:pt x="482574" y="467678"/>
                    </a:lnTo>
                    <a:cubicBezTo>
                      <a:pt x="488098" y="479393"/>
                      <a:pt x="488670" y="492824"/>
                      <a:pt x="484098" y="504920"/>
                    </a:cubicBezTo>
                    <a:lnTo>
                      <a:pt x="484003" y="505111"/>
                    </a:lnTo>
                    <a:lnTo>
                      <a:pt x="483431" y="506540"/>
                    </a:lnTo>
                    <a:cubicBezTo>
                      <a:pt x="478954" y="516446"/>
                      <a:pt x="469429" y="523113"/>
                      <a:pt x="458571" y="523780"/>
                    </a:cubicBezTo>
                    <a:lnTo>
                      <a:pt x="456666" y="523875"/>
                    </a:lnTo>
                    <a:lnTo>
                      <a:pt x="30422" y="523875"/>
                    </a:lnTo>
                    <a:lnTo>
                      <a:pt x="28612" y="523780"/>
                    </a:lnTo>
                    <a:cubicBezTo>
                      <a:pt x="27755" y="523685"/>
                      <a:pt x="26993" y="523685"/>
                      <a:pt x="26136" y="523494"/>
                    </a:cubicBezTo>
                    <a:cubicBezTo>
                      <a:pt x="24802" y="523304"/>
                      <a:pt x="23564" y="523018"/>
                      <a:pt x="22326" y="522637"/>
                    </a:cubicBezTo>
                    <a:lnTo>
                      <a:pt x="22326" y="522637"/>
                    </a:lnTo>
                    <a:cubicBezTo>
                      <a:pt x="20421" y="522065"/>
                      <a:pt x="18516" y="521303"/>
                      <a:pt x="16801" y="520351"/>
                    </a:cubicBezTo>
                    <a:lnTo>
                      <a:pt x="15373" y="519589"/>
                    </a:lnTo>
                    <a:cubicBezTo>
                      <a:pt x="15087" y="519398"/>
                      <a:pt x="14801" y="519208"/>
                      <a:pt x="14420" y="519017"/>
                    </a:cubicBezTo>
                    <a:cubicBezTo>
                      <a:pt x="12610" y="517874"/>
                      <a:pt x="10896" y="516446"/>
                      <a:pt x="9467" y="514922"/>
                    </a:cubicBezTo>
                    <a:lnTo>
                      <a:pt x="8038" y="513398"/>
                    </a:lnTo>
                    <a:lnTo>
                      <a:pt x="8038" y="513398"/>
                    </a:lnTo>
                    <a:close/>
                    <a:moveTo>
                      <a:pt x="254641" y="404146"/>
                    </a:moveTo>
                    <a:lnTo>
                      <a:pt x="251783" y="405956"/>
                    </a:lnTo>
                    <a:lnTo>
                      <a:pt x="246259" y="409670"/>
                    </a:lnTo>
                    <a:cubicBezTo>
                      <a:pt x="199015" y="441008"/>
                      <a:pt x="119481" y="441960"/>
                      <a:pt x="54425" y="416243"/>
                    </a:cubicBezTo>
                    <a:lnTo>
                      <a:pt x="50615" y="414719"/>
                    </a:lnTo>
                    <a:lnTo>
                      <a:pt x="21754" y="475774"/>
                    </a:lnTo>
                    <a:lnTo>
                      <a:pt x="20897" y="477679"/>
                    </a:lnTo>
                    <a:cubicBezTo>
                      <a:pt x="18420" y="484251"/>
                      <a:pt x="18325" y="491490"/>
                      <a:pt x="20802" y="498158"/>
                    </a:cubicBezTo>
                    <a:cubicBezTo>
                      <a:pt x="22040" y="501396"/>
                      <a:pt x="24707" y="503682"/>
                      <a:pt x="27945" y="504444"/>
                    </a:cubicBezTo>
                    <a:lnTo>
                      <a:pt x="29184" y="504635"/>
                    </a:lnTo>
                    <a:lnTo>
                      <a:pt x="30327" y="504730"/>
                    </a:lnTo>
                    <a:lnTo>
                      <a:pt x="456570" y="504730"/>
                    </a:lnTo>
                    <a:lnTo>
                      <a:pt x="457714" y="504635"/>
                    </a:lnTo>
                    <a:cubicBezTo>
                      <a:pt x="461524" y="504254"/>
                      <a:pt x="464762" y="501682"/>
                      <a:pt x="466095" y="498062"/>
                    </a:cubicBezTo>
                    <a:cubicBezTo>
                      <a:pt x="468382" y="492157"/>
                      <a:pt x="468572" y="485585"/>
                      <a:pt x="466667" y="479584"/>
                    </a:cubicBezTo>
                    <a:lnTo>
                      <a:pt x="466000" y="477584"/>
                    </a:lnTo>
                    <a:lnTo>
                      <a:pt x="465143" y="475679"/>
                    </a:lnTo>
                    <a:lnTo>
                      <a:pt x="423519" y="387477"/>
                    </a:lnTo>
                    <a:cubicBezTo>
                      <a:pt x="365416" y="373190"/>
                      <a:pt x="295979" y="378714"/>
                      <a:pt x="254641" y="404146"/>
                    </a:cubicBezTo>
                    <a:close/>
                    <a:moveTo>
                      <a:pt x="305504" y="257175"/>
                    </a:moveTo>
                    <a:cubicBezTo>
                      <a:pt x="287121" y="257175"/>
                      <a:pt x="272167" y="272129"/>
                      <a:pt x="272167" y="290513"/>
                    </a:cubicBezTo>
                    <a:cubicBezTo>
                      <a:pt x="272167" y="308896"/>
                      <a:pt x="287121" y="323850"/>
                      <a:pt x="305504" y="323850"/>
                    </a:cubicBezTo>
                    <a:cubicBezTo>
                      <a:pt x="323887" y="323850"/>
                      <a:pt x="338842" y="308896"/>
                      <a:pt x="338842" y="290513"/>
                    </a:cubicBezTo>
                    <a:cubicBezTo>
                      <a:pt x="338842" y="272129"/>
                      <a:pt x="323887" y="257175"/>
                      <a:pt x="305504" y="257175"/>
                    </a:cubicBezTo>
                    <a:close/>
                  </a:path>
                </a:pathLst>
              </a:cu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172" name="îṣ1íde">
                <a:extLst>
                  <a:ext uri="{FF2B5EF4-FFF2-40B4-BE49-F238E27FC236}">
                    <a16:creationId xmlns:a16="http://schemas.microsoft.com/office/drawing/2014/main" id="{1109E253-E18F-497B-A734-74D16554B37B}"/>
                  </a:ext>
                </a:extLst>
              </p:cNvPr>
              <p:cNvSpPr/>
              <p:nvPr/>
            </p:nvSpPr>
            <p:spPr>
              <a:xfrm>
                <a:off x="5138436" y="3954348"/>
                <a:ext cx="352424" cy="346131"/>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173" name="íṥ1íḑé">
                <a:extLst>
                  <a:ext uri="{FF2B5EF4-FFF2-40B4-BE49-F238E27FC236}">
                    <a16:creationId xmlns:a16="http://schemas.microsoft.com/office/drawing/2014/main" id="{2083ACCE-4D2A-4FBD-AB64-F48C8B0B1C00}"/>
                  </a:ext>
                </a:extLst>
              </p:cNvPr>
              <p:cNvSpPr/>
              <p:nvPr/>
            </p:nvSpPr>
            <p:spPr>
              <a:xfrm>
                <a:off x="5169904" y="2971352"/>
                <a:ext cx="289492" cy="352424"/>
              </a:xfrm>
              <a:custGeom>
                <a:avLst/>
                <a:gdLst>
                  <a:gd name="connsiteX0" fmla="*/ 283464 w 438150"/>
                  <a:gd name="connsiteY0" fmla="*/ 0 h 533400"/>
                  <a:gd name="connsiteX1" fmla="*/ 285750 w 438150"/>
                  <a:gd name="connsiteY1" fmla="*/ 95 h 533400"/>
                  <a:gd name="connsiteX2" fmla="*/ 285750 w 438150"/>
                  <a:gd name="connsiteY2" fmla="*/ 123825 h 533400"/>
                  <a:gd name="connsiteX3" fmla="*/ 285845 w 438150"/>
                  <a:gd name="connsiteY3" fmla="*/ 125540 h 533400"/>
                  <a:gd name="connsiteX4" fmla="*/ 314325 w 438150"/>
                  <a:gd name="connsiteY4" fmla="*/ 152400 h 533400"/>
                  <a:gd name="connsiteX5" fmla="*/ 314325 w 438150"/>
                  <a:gd name="connsiteY5" fmla="*/ 152400 h 533400"/>
                  <a:gd name="connsiteX6" fmla="*/ 438055 w 438150"/>
                  <a:gd name="connsiteY6" fmla="*/ 152400 h 533400"/>
                  <a:gd name="connsiteX7" fmla="*/ 438150 w 438150"/>
                  <a:gd name="connsiteY7" fmla="*/ 154686 h 533400"/>
                  <a:gd name="connsiteX8" fmla="*/ 438150 w 438150"/>
                  <a:gd name="connsiteY8" fmla="*/ 504825 h 533400"/>
                  <a:gd name="connsiteX9" fmla="*/ 409575 w 438150"/>
                  <a:gd name="connsiteY9" fmla="*/ 533400 h 533400"/>
                  <a:gd name="connsiteX10" fmla="*/ 28575 w 438150"/>
                  <a:gd name="connsiteY10" fmla="*/ 533400 h 533400"/>
                  <a:gd name="connsiteX11" fmla="*/ 0 w 438150"/>
                  <a:gd name="connsiteY11" fmla="*/ 504825 h 533400"/>
                  <a:gd name="connsiteX12" fmla="*/ 0 w 438150"/>
                  <a:gd name="connsiteY12" fmla="*/ 28575 h 533400"/>
                  <a:gd name="connsiteX13" fmla="*/ 28575 w 438150"/>
                  <a:gd name="connsiteY13" fmla="*/ 0 h 533400"/>
                  <a:gd name="connsiteX14" fmla="*/ 283464 w 438150"/>
                  <a:gd name="connsiteY14" fmla="*/ 0 h 533400"/>
                  <a:gd name="connsiteX15" fmla="*/ 247650 w 438150"/>
                  <a:gd name="connsiteY15" fmla="*/ 200025 h 533400"/>
                  <a:gd name="connsiteX16" fmla="*/ 152400 w 438150"/>
                  <a:gd name="connsiteY16" fmla="*/ 200025 h 533400"/>
                  <a:gd name="connsiteX17" fmla="*/ 152400 w 438150"/>
                  <a:gd name="connsiteY17" fmla="*/ 409575 h 533400"/>
                  <a:gd name="connsiteX18" fmla="*/ 171450 w 438150"/>
                  <a:gd name="connsiteY18" fmla="*/ 409575 h 533400"/>
                  <a:gd name="connsiteX19" fmla="*/ 171450 w 438150"/>
                  <a:gd name="connsiteY19" fmla="*/ 314325 h 533400"/>
                  <a:gd name="connsiteX20" fmla="*/ 247650 w 438150"/>
                  <a:gd name="connsiteY20" fmla="*/ 314325 h 533400"/>
                  <a:gd name="connsiteX21" fmla="*/ 249746 w 438150"/>
                  <a:gd name="connsiteY21" fmla="*/ 314325 h 533400"/>
                  <a:gd name="connsiteX22" fmla="*/ 304800 w 438150"/>
                  <a:gd name="connsiteY22" fmla="*/ 257175 h 533400"/>
                  <a:gd name="connsiteX23" fmla="*/ 247650 w 438150"/>
                  <a:gd name="connsiteY23" fmla="*/ 200025 h 533400"/>
                  <a:gd name="connsiteX24" fmla="*/ 247650 w 438150"/>
                  <a:gd name="connsiteY24" fmla="*/ 200025 h 533400"/>
                  <a:gd name="connsiteX25" fmla="*/ 247650 w 438150"/>
                  <a:gd name="connsiteY25" fmla="*/ 219075 h 533400"/>
                  <a:gd name="connsiteX26" fmla="*/ 285750 w 438150"/>
                  <a:gd name="connsiteY26" fmla="*/ 257175 h 533400"/>
                  <a:gd name="connsiteX27" fmla="*/ 247650 w 438150"/>
                  <a:gd name="connsiteY27" fmla="*/ 295275 h 533400"/>
                  <a:gd name="connsiteX28" fmla="*/ 247650 w 438150"/>
                  <a:gd name="connsiteY28" fmla="*/ 295275 h 533400"/>
                  <a:gd name="connsiteX29" fmla="*/ 171450 w 438150"/>
                  <a:gd name="connsiteY29" fmla="*/ 295275 h 533400"/>
                  <a:gd name="connsiteX30" fmla="*/ 171450 w 438150"/>
                  <a:gd name="connsiteY30" fmla="*/ 219075 h 533400"/>
                  <a:gd name="connsiteX31" fmla="*/ 247650 w 438150"/>
                  <a:gd name="connsiteY31" fmla="*/ 219075 h 533400"/>
                  <a:gd name="connsiteX32" fmla="*/ 428625 w 438150"/>
                  <a:gd name="connsiteY32" fmla="*/ 133350 h 533400"/>
                  <a:gd name="connsiteX33" fmla="*/ 314325 w 438150"/>
                  <a:gd name="connsiteY33" fmla="*/ 133350 h 533400"/>
                  <a:gd name="connsiteX34" fmla="*/ 313182 w 438150"/>
                  <a:gd name="connsiteY34" fmla="*/ 133255 h 533400"/>
                  <a:gd name="connsiteX35" fmla="*/ 304800 w 438150"/>
                  <a:gd name="connsiteY35" fmla="*/ 123825 h 533400"/>
                  <a:gd name="connsiteX36" fmla="*/ 304800 w 438150"/>
                  <a:gd name="connsiteY36" fmla="*/ 123825 h 533400"/>
                  <a:gd name="connsiteX37" fmla="*/ 304800 w 438150"/>
                  <a:gd name="connsiteY37" fmla="*/ 9525 h 533400"/>
                  <a:gd name="connsiteX38" fmla="*/ 428625 w 438150"/>
                  <a:gd name="connsiteY38" fmla="*/ 13335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464" y="0"/>
                    </a:moveTo>
                    <a:cubicBezTo>
                      <a:pt x="284226" y="0"/>
                      <a:pt x="284988" y="0"/>
                      <a:pt x="285750" y="95"/>
                    </a:cubicBezTo>
                    <a:lnTo>
                      <a:pt x="285750" y="123825"/>
                    </a:lnTo>
                    <a:lnTo>
                      <a:pt x="285845" y="125540"/>
                    </a:lnTo>
                    <a:cubicBezTo>
                      <a:pt x="286703" y="140494"/>
                      <a:pt x="299085" y="152400"/>
                      <a:pt x="314325" y="152400"/>
                    </a:cubicBezTo>
                    <a:lnTo>
                      <a:pt x="314325" y="152400"/>
                    </a:lnTo>
                    <a:lnTo>
                      <a:pt x="438055" y="152400"/>
                    </a:lnTo>
                    <a:cubicBezTo>
                      <a:pt x="438150" y="153162"/>
                      <a:pt x="438150" y="153924"/>
                      <a:pt x="438150" y="154686"/>
                    </a:cubicBezTo>
                    <a:lnTo>
                      <a:pt x="438150" y="504825"/>
                    </a:lnTo>
                    <a:cubicBezTo>
                      <a:pt x="438150" y="520637"/>
                      <a:pt x="425387" y="533400"/>
                      <a:pt x="409575" y="533400"/>
                    </a:cubicBezTo>
                    <a:lnTo>
                      <a:pt x="28575" y="533400"/>
                    </a:lnTo>
                    <a:cubicBezTo>
                      <a:pt x="12764" y="533400"/>
                      <a:pt x="0" y="520637"/>
                      <a:pt x="0" y="504825"/>
                    </a:cubicBezTo>
                    <a:lnTo>
                      <a:pt x="0" y="28575"/>
                    </a:lnTo>
                    <a:cubicBezTo>
                      <a:pt x="0" y="12763"/>
                      <a:pt x="12764" y="0"/>
                      <a:pt x="28575" y="0"/>
                    </a:cubicBezTo>
                    <a:lnTo>
                      <a:pt x="283464" y="0"/>
                    </a:lnTo>
                    <a:close/>
                    <a:moveTo>
                      <a:pt x="247650" y="200025"/>
                    </a:moveTo>
                    <a:lnTo>
                      <a:pt x="152400" y="200025"/>
                    </a:lnTo>
                    <a:lnTo>
                      <a:pt x="152400" y="409575"/>
                    </a:lnTo>
                    <a:lnTo>
                      <a:pt x="171450" y="409575"/>
                    </a:lnTo>
                    <a:lnTo>
                      <a:pt x="171450" y="314325"/>
                    </a:lnTo>
                    <a:lnTo>
                      <a:pt x="247650" y="314325"/>
                    </a:lnTo>
                    <a:lnTo>
                      <a:pt x="249746" y="314325"/>
                    </a:lnTo>
                    <a:cubicBezTo>
                      <a:pt x="280321" y="313182"/>
                      <a:pt x="304800" y="288036"/>
                      <a:pt x="304800" y="257175"/>
                    </a:cubicBezTo>
                    <a:cubicBezTo>
                      <a:pt x="304800" y="225647"/>
                      <a:pt x="279178" y="200025"/>
                      <a:pt x="247650" y="200025"/>
                    </a:cubicBezTo>
                    <a:lnTo>
                      <a:pt x="247650" y="200025"/>
                    </a:lnTo>
                    <a:close/>
                    <a:moveTo>
                      <a:pt x="247650" y="219075"/>
                    </a:moveTo>
                    <a:cubicBezTo>
                      <a:pt x="268700" y="219075"/>
                      <a:pt x="285750" y="236125"/>
                      <a:pt x="285750" y="257175"/>
                    </a:cubicBezTo>
                    <a:cubicBezTo>
                      <a:pt x="285750" y="278225"/>
                      <a:pt x="268700" y="295275"/>
                      <a:pt x="247650" y="295275"/>
                    </a:cubicBezTo>
                    <a:lnTo>
                      <a:pt x="247650" y="295275"/>
                    </a:lnTo>
                    <a:lnTo>
                      <a:pt x="171450" y="295275"/>
                    </a:lnTo>
                    <a:lnTo>
                      <a:pt x="171450" y="219075"/>
                    </a:lnTo>
                    <a:lnTo>
                      <a:pt x="247650" y="219075"/>
                    </a:lnTo>
                    <a:close/>
                    <a:moveTo>
                      <a:pt x="428625" y="133350"/>
                    </a:moveTo>
                    <a:lnTo>
                      <a:pt x="314325" y="133350"/>
                    </a:lnTo>
                    <a:lnTo>
                      <a:pt x="313182" y="133255"/>
                    </a:lnTo>
                    <a:cubicBezTo>
                      <a:pt x="308515" y="132779"/>
                      <a:pt x="304800" y="128683"/>
                      <a:pt x="304800" y="123825"/>
                    </a:cubicBezTo>
                    <a:lnTo>
                      <a:pt x="304800" y="123825"/>
                    </a:lnTo>
                    <a:lnTo>
                      <a:pt x="304800" y="9525"/>
                    </a:lnTo>
                    <a:lnTo>
                      <a:pt x="428625" y="133350"/>
                    </a:lnTo>
                    <a:close/>
                  </a:path>
                </a:pathLst>
              </a:cu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grpSp>
        <p:sp>
          <p:nvSpPr>
            <p:cNvPr id="159" name="ís1îḋè">
              <a:extLst>
                <a:ext uri="{FF2B5EF4-FFF2-40B4-BE49-F238E27FC236}">
                  <a16:creationId xmlns:a16="http://schemas.microsoft.com/office/drawing/2014/main" id="{CE8FB92D-27B0-49A1-BCA6-DB92F5D49307}"/>
                </a:ext>
              </a:extLst>
            </p:cNvPr>
            <p:cNvSpPr/>
            <p:nvPr/>
          </p:nvSpPr>
          <p:spPr bwMode="auto">
            <a:xfrm>
              <a:off x="673100" y="2464787"/>
              <a:ext cx="3489325" cy="657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50000"/>
                </a:lnSpc>
              </a:pPr>
              <a:r>
                <a:rPr lang="en-US" altLang="zh-CN" sz="1100"/>
                <a:t>Copy pas</a:t>
              </a:r>
              <a:r>
                <a:rPr lang="en-US" altLang="zh-CN" sz="100"/>
                <a:t> </a:t>
              </a:r>
              <a:r>
                <a:rPr lang="en-US" altLang="zh-CN" sz="1100"/>
                <a:t>te </a:t>
              </a:r>
              <a:r>
                <a:rPr lang="en-US" altLang="zh-CN" sz="1100" dirty="0"/>
                <a:t>fonts. Choose the only option to retain text……</a:t>
              </a:r>
            </a:p>
          </p:txBody>
        </p:sp>
        <p:sp>
          <p:nvSpPr>
            <p:cNvPr id="160" name="iSļîḋé">
              <a:extLst>
                <a:ext uri="{FF2B5EF4-FFF2-40B4-BE49-F238E27FC236}">
                  <a16:creationId xmlns:a16="http://schemas.microsoft.com/office/drawing/2014/main" id="{295FEF84-B090-45B0-B505-6C095F5B9C79}"/>
                </a:ext>
              </a:extLst>
            </p:cNvPr>
            <p:cNvSpPr txBox="1"/>
            <p:nvPr/>
          </p:nvSpPr>
          <p:spPr bwMode="auto">
            <a:xfrm>
              <a:off x="673100" y="1763208"/>
              <a:ext cx="3489325" cy="541692"/>
            </a:xfrm>
            <a:prstGeom prst="roundRect">
              <a:avLst/>
            </a:prstGeom>
            <a:solidFill>
              <a:schemeClr val="accent1"/>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lnSpc>
                  <a:spcPct val="100000"/>
                </a:lnSpc>
                <a:spcBef>
                  <a:spcPct val="0"/>
                </a:spcBef>
              </a:pPr>
              <a:r>
                <a:rPr lang="en-US" altLang="zh-CN" b="1" u="sng">
                  <a:solidFill>
                    <a:schemeClr val="bg1"/>
                  </a:solidFill>
                </a:rPr>
                <a:t>01</a:t>
              </a:r>
              <a:r>
                <a:rPr lang="en-US" altLang="zh-CN" sz="100" b="1" u="sng">
                  <a:solidFill>
                    <a:schemeClr val="bg1"/>
                  </a:solidFill>
                </a:rPr>
                <a:t> </a:t>
              </a:r>
              <a:r>
                <a:rPr lang="en-US" altLang="zh-CN" b="1" u="sng">
                  <a:solidFill>
                    <a:schemeClr val="bg1"/>
                  </a:solidFill>
                </a:rPr>
                <a:t>.</a:t>
              </a:r>
              <a:r>
                <a:rPr lang="en-US" altLang="zh-CN" b="1" u="sng" dirty="0">
                  <a:solidFill>
                    <a:schemeClr val="bg1"/>
                  </a:solidFill>
                </a:rPr>
                <a:t>Text here</a:t>
              </a:r>
            </a:p>
          </p:txBody>
        </p:sp>
        <p:sp>
          <p:nvSpPr>
            <p:cNvPr id="161" name="ï$ľíḋê">
              <a:extLst>
                <a:ext uri="{FF2B5EF4-FFF2-40B4-BE49-F238E27FC236}">
                  <a16:creationId xmlns:a16="http://schemas.microsoft.com/office/drawing/2014/main" id="{CE8FB92D-27B0-49A1-BCA6-DB92F5D49307}"/>
                </a:ext>
              </a:extLst>
            </p:cNvPr>
            <p:cNvSpPr/>
            <p:nvPr/>
          </p:nvSpPr>
          <p:spPr bwMode="auto">
            <a:xfrm>
              <a:off x="673100" y="3182507"/>
              <a:ext cx="3489325" cy="657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50000"/>
                </a:lnSpc>
              </a:pPr>
              <a:r>
                <a:rPr lang="en-US" altLang="zh-CN" sz="1100"/>
                <a:t>Copy pas</a:t>
              </a:r>
              <a:r>
                <a:rPr lang="en-US" altLang="zh-CN" sz="100"/>
                <a:t> </a:t>
              </a:r>
              <a:r>
                <a:rPr lang="en-US" altLang="zh-CN" sz="1100"/>
                <a:t>te </a:t>
              </a:r>
              <a:r>
                <a:rPr lang="en-US" altLang="zh-CN" sz="1100" dirty="0"/>
                <a:t>fonts. Choose the only option to retain text……</a:t>
              </a:r>
            </a:p>
          </p:txBody>
        </p:sp>
        <p:sp>
          <p:nvSpPr>
            <p:cNvPr id="162" name="ïŝḻîḍe">
              <a:extLst>
                <a:ext uri="{FF2B5EF4-FFF2-40B4-BE49-F238E27FC236}">
                  <a16:creationId xmlns:a16="http://schemas.microsoft.com/office/drawing/2014/main" id="{CE8FB92D-27B0-49A1-BCA6-DB92F5D49307}"/>
                </a:ext>
              </a:extLst>
            </p:cNvPr>
            <p:cNvSpPr/>
            <p:nvPr/>
          </p:nvSpPr>
          <p:spPr bwMode="auto">
            <a:xfrm>
              <a:off x="673100" y="3900226"/>
              <a:ext cx="3489325" cy="657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50000"/>
                </a:lnSpc>
              </a:pPr>
              <a:r>
                <a:rPr lang="en-US" altLang="zh-CN" sz="1100"/>
                <a:t>Copy pas</a:t>
              </a:r>
              <a:r>
                <a:rPr lang="en-US" altLang="zh-CN" sz="100"/>
                <a:t> </a:t>
              </a:r>
              <a:r>
                <a:rPr lang="en-US" altLang="zh-CN" sz="1100"/>
                <a:t>te </a:t>
              </a:r>
              <a:r>
                <a:rPr lang="en-US" altLang="zh-CN" sz="1100" dirty="0"/>
                <a:t>fonts. Choose the only option to retain text……</a:t>
              </a:r>
            </a:p>
          </p:txBody>
        </p:sp>
        <p:sp>
          <p:nvSpPr>
            <p:cNvPr id="163" name="iSļiḋè">
              <a:extLst>
                <a:ext uri="{FF2B5EF4-FFF2-40B4-BE49-F238E27FC236}">
                  <a16:creationId xmlns:a16="http://schemas.microsoft.com/office/drawing/2014/main" id="{CE8FB92D-27B0-49A1-BCA6-DB92F5D49307}"/>
                </a:ext>
              </a:extLst>
            </p:cNvPr>
            <p:cNvSpPr/>
            <p:nvPr/>
          </p:nvSpPr>
          <p:spPr bwMode="auto">
            <a:xfrm>
              <a:off x="8029575" y="3337719"/>
              <a:ext cx="3489325" cy="657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altLang="zh-CN" sz="1100"/>
                <a:t>Copy pas</a:t>
              </a:r>
              <a:r>
                <a:rPr lang="en-US" altLang="zh-CN" sz="100"/>
                <a:t> </a:t>
              </a:r>
              <a:r>
                <a:rPr lang="en-US" altLang="zh-CN" sz="1100"/>
                <a:t>te </a:t>
              </a:r>
              <a:r>
                <a:rPr lang="en-US" altLang="zh-CN" sz="1100" dirty="0"/>
                <a:t>fonts. Choose the only option to retain text……</a:t>
              </a:r>
            </a:p>
          </p:txBody>
        </p:sp>
        <p:sp>
          <p:nvSpPr>
            <p:cNvPr id="164" name="îṣḷíḍè">
              <a:extLst>
                <a:ext uri="{FF2B5EF4-FFF2-40B4-BE49-F238E27FC236}">
                  <a16:creationId xmlns:a16="http://schemas.microsoft.com/office/drawing/2014/main" id="{295FEF84-B090-45B0-B505-6C095F5B9C79}"/>
                </a:ext>
              </a:extLst>
            </p:cNvPr>
            <p:cNvSpPr txBox="1"/>
            <p:nvPr/>
          </p:nvSpPr>
          <p:spPr bwMode="auto">
            <a:xfrm>
              <a:off x="8029575" y="2636140"/>
              <a:ext cx="3489325" cy="541692"/>
            </a:xfrm>
            <a:prstGeom prst="roundRect">
              <a:avLst/>
            </a:prstGeom>
            <a:solidFill>
              <a:schemeClr val="accent1"/>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b="1" u="sng">
                  <a:solidFill>
                    <a:schemeClr val="bg1"/>
                  </a:solidFill>
                </a:rPr>
                <a:t>02</a:t>
              </a:r>
              <a:r>
                <a:rPr lang="en-US" altLang="zh-CN" sz="100" b="1" u="sng">
                  <a:solidFill>
                    <a:schemeClr val="bg1"/>
                  </a:solidFill>
                </a:rPr>
                <a:t> </a:t>
              </a:r>
              <a:r>
                <a:rPr lang="en-US" altLang="zh-CN" b="1" u="sng">
                  <a:solidFill>
                    <a:schemeClr val="bg1"/>
                  </a:solidFill>
                </a:rPr>
                <a:t>.</a:t>
              </a:r>
              <a:r>
                <a:rPr lang="en-US" altLang="zh-CN" b="1" u="sng" dirty="0">
                  <a:solidFill>
                    <a:schemeClr val="bg1"/>
                  </a:solidFill>
                </a:rPr>
                <a:t>Text here</a:t>
              </a:r>
            </a:p>
          </p:txBody>
        </p:sp>
        <p:sp>
          <p:nvSpPr>
            <p:cNvPr id="165" name="iṧḷiḋê">
              <a:extLst>
                <a:ext uri="{FF2B5EF4-FFF2-40B4-BE49-F238E27FC236}">
                  <a16:creationId xmlns:a16="http://schemas.microsoft.com/office/drawing/2014/main" id="{CE8FB92D-27B0-49A1-BCA6-DB92F5D49307}"/>
                </a:ext>
              </a:extLst>
            </p:cNvPr>
            <p:cNvSpPr/>
            <p:nvPr/>
          </p:nvSpPr>
          <p:spPr bwMode="auto">
            <a:xfrm>
              <a:off x="8029575" y="4055439"/>
              <a:ext cx="3489325" cy="657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altLang="zh-CN" sz="1100"/>
                <a:t>Copy pas</a:t>
              </a:r>
              <a:r>
                <a:rPr lang="en-US" altLang="zh-CN" sz="100"/>
                <a:t> </a:t>
              </a:r>
              <a:r>
                <a:rPr lang="en-US" altLang="zh-CN" sz="1100"/>
                <a:t>te </a:t>
              </a:r>
              <a:r>
                <a:rPr lang="en-US" altLang="zh-CN" sz="1100" dirty="0"/>
                <a:t>fonts. Choose the only option to retain text……</a:t>
              </a:r>
            </a:p>
          </p:txBody>
        </p:sp>
        <p:sp>
          <p:nvSpPr>
            <p:cNvPr id="166" name="ïSľíḑê">
              <a:extLst>
                <a:ext uri="{FF2B5EF4-FFF2-40B4-BE49-F238E27FC236}">
                  <a16:creationId xmlns:a16="http://schemas.microsoft.com/office/drawing/2014/main" id="{CE8FB92D-27B0-49A1-BCA6-DB92F5D49307}"/>
                </a:ext>
              </a:extLst>
            </p:cNvPr>
            <p:cNvSpPr/>
            <p:nvPr/>
          </p:nvSpPr>
          <p:spPr bwMode="auto">
            <a:xfrm>
              <a:off x="8029575" y="4773158"/>
              <a:ext cx="3489325" cy="657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altLang="zh-CN" sz="1100"/>
                <a:t>Copy pas</a:t>
              </a:r>
              <a:r>
                <a:rPr lang="en-US" altLang="zh-CN" sz="100"/>
                <a:t> </a:t>
              </a:r>
              <a:r>
                <a:rPr lang="en-US" altLang="zh-CN" sz="1100"/>
                <a:t>te </a:t>
              </a:r>
              <a:r>
                <a:rPr lang="en-US" altLang="zh-CN" sz="1100" dirty="0"/>
                <a:t>fonts. Choose the only option to retain text……</a:t>
              </a:r>
            </a:p>
          </p:txBody>
        </p:sp>
      </p:grpSp>
    </p:spTree>
    <p:custDataLst>
      <p:tags r:id="rId2"/>
    </p:custDataLst>
    <p:extLst>
      <p:ext uri="{BB962C8B-B14F-4D97-AF65-F5344CB8AC3E}">
        <p14:creationId xmlns:p14="http://schemas.microsoft.com/office/powerpoint/2010/main" val="41479437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ïşliḋê"/>
        <p:cNvGrpSpPr/>
        <p:nvPr/>
      </p:nvGrpSpPr>
      <p:grpSpPr>
        <a:xfrm>
          <a:off x="0" y="0"/>
          <a:ext cx="0" cy="0"/>
          <a:chOff x="0" y="0"/>
          <a:chExt cx="0" cy="0"/>
        </a:xfrm>
      </p:grpSpPr>
      <p:cxnSp>
        <p:nvCxnSpPr>
          <p:cNvPr id="24" name="îšḷiḍè">
            <a:extLst>
              <a:ext uri="{FF2B5EF4-FFF2-40B4-BE49-F238E27FC236}">
                <a16:creationId xmlns:a16="http://schemas.microsoft.com/office/drawing/2014/main" id="{F230F9CC-0875-4190-B161-9B29D295AB7D}"/>
              </a:ext>
            </a:extLst>
          </p:cNvPr>
          <p:cNvCxnSpPr>
            <a:stCxn id="13" idx="6"/>
            <a:endCxn id="15" idx="2"/>
          </p:cNvCxnSpPr>
          <p:nvPr/>
        </p:nvCxnSpPr>
        <p:spPr>
          <a:xfrm>
            <a:off x="1707470" y="4851300"/>
            <a:ext cx="8777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 name="îSḷíḓé">
            <a:extLst>
              <a:ext uri="{FF2B5EF4-FFF2-40B4-BE49-F238E27FC236}">
                <a16:creationId xmlns:a16="http://schemas.microsoft.com/office/drawing/2014/main" id="{1DF7AF31-F240-4A3D-97E4-139F7A795C71}"/>
              </a:ext>
            </a:extLst>
          </p:cNvPr>
          <p:cNvSpPr>
            <a:spLocks noGrp="1"/>
          </p:cNvSpPr>
          <p:nvPr>
            <p:ph type="title"/>
          </p:nvPr>
        </p:nvSpPr>
        <p:spPr/>
        <p:txBody>
          <a:bodyPr/>
          <a:lstStyle/>
          <a:p>
            <a:r>
              <a:rPr lang="en-US" altLang="zh-CN"/>
              <a:t>Clic</a:t>
            </a:r>
            <a:r>
              <a:rPr lang="en-US" altLang="zh-CN" sz="100"/>
              <a:t> </a:t>
            </a:r>
            <a:r>
              <a:rPr lang="en-US" altLang="zh-CN"/>
              <a:t>k </a:t>
            </a:r>
            <a:r>
              <a:rPr lang="en-US" altLang="zh-CN" dirty="0"/>
              <a:t>to edit Master title style</a:t>
            </a:r>
            <a:endParaRPr lang="zh-CN" altLang="en-US" dirty="0"/>
          </a:p>
        </p:txBody>
      </p:sp>
      <p:sp>
        <p:nvSpPr>
          <p:cNvPr id="3" name="ïśḷiḋè">
            <a:extLst>
              <a:ext uri="{FF2B5EF4-FFF2-40B4-BE49-F238E27FC236}">
                <a16:creationId xmlns:a16="http://schemas.microsoft.com/office/drawing/2014/main" id="{138EEB1B-AB42-4E6E-9891-0256859AA566}"/>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íşľiḓè">
            <a:extLst>
              <a:ext uri="{FF2B5EF4-FFF2-40B4-BE49-F238E27FC236}">
                <a16:creationId xmlns:a16="http://schemas.microsoft.com/office/drawing/2014/main" id="{1C0B3C47-37CA-4FD5-85A7-189D4C7E14CC}"/>
              </a:ext>
            </a:extLst>
          </p:cNvPr>
          <p:cNvSpPr>
            <a:spLocks noGrp="1"/>
          </p:cNvSpPr>
          <p:nvPr>
            <p:ph type="sldNum" sz="quarter" idx="12"/>
          </p:nvPr>
        </p:nvSpPr>
        <p:spPr/>
        <p:txBody>
          <a:bodyPr/>
          <a:lstStyle/>
          <a:p>
            <a:fld id="{5DD3DB80-B894-403A-B48E-6FDC1A72010E}" type="slidenum">
              <a:rPr lang="zh-CN" altLang="en-US" smtClean="0"/>
              <a:pPr/>
              <a:t>13</a:t>
            </a:fld>
            <a:r>
              <a:rPr lang="zh-CN" altLang="en-US" sz="100"/>
              <a:t> </a:t>
            </a:r>
          </a:p>
        </p:txBody>
      </p:sp>
      <p:sp>
        <p:nvSpPr>
          <p:cNvPr id="7" name="îṧľïḍè">
            <a:extLst>
              <a:ext uri="{FF2B5EF4-FFF2-40B4-BE49-F238E27FC236}">
                <a16:creationId xmlns:a16="http://schemas.microsoft.com/office/drawing/2014/main" id="{42A46F6B-A2F3-4832-A711-0EDC0162C317}"/>
              </a:ext>
            </a:extLst>
          </p:cNvPr>
          <p:cNvSpPr/>
          <p:nvPr/>
        </p:nvSpPr>
        <p:spPr>
          <a:xfrm>
            <a:off x="4597672" y="4334115"/>
            <a:ext cx="1034370" cy="103437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marL="225425" lvl="0" indent="-225425" algn="ctr" fontAlgn="base">
              <a:spcBef>
                <a:spcPct val="0"/>
              </a:spcBef>
              <a:spcAft>
                <a:spcPct val="0"/>
              </a:spcAft>
              <a:defRPr/>
            </a:pPr>
            <a:r>
              <a:rPr lang="en-US" altLang="zh-CN" sz="1400" b="1" kern="0">
                <a:solidFill>
                  <a:prstClr val="black"/>
                </a:solidFill>
              </a:rPr>
              <a:t>T</a:t>
            </a:r>
            <a:r>
              <a:rPr lang="en-US" altLang="zh-CN" sz="100" b="1" kern="0">
                <a:solidFill>
                  <a:prstClr val="black"/>
                </a:solidFill>
              </a:rPr>
              <a:t> </a:t>
            </a:r>
            <a:r>
              <a:rPr lang="en-US" altLang="zh-CN" sz="1400" b="1" kern="0">
                <a:solidFill>
                  <a:prstClr val="black"/>
                </a:solidFill>
              </a:rPr>
              <a:t>ext</a:t>
            </a:r>
            <a:endParaRPr lang="en-US" altLang="zh-CN" sz="800" b="1" kern="0" dirty="0">
              <a:solidFill>
                <a:prstClr val="black"/>
              </a:solidFill>
            </a:endParaRPr>
          </a:p>
        </p:txBody>
      </p:sp>
      <p:sp>
        <p:nvSpPr>
          <p:cNvPr id="8" name="iṣľîḓé">
            <a:extLst>
              <a:ext uri="{FF2B5EF4-FFF2-40B4-BE49-F238E27FC236}">
                <a16:creationId xmlns:a16="http://schemas.microsoft.com/office/drawing/2014/main" id="{802808F7-60D4-4964-9D39-6ADF3271E207}"/>
              </a:ext>
            </a:extLst>
          </p:cNvPr>
          <p:cNvSpPr/>
          <p:nvPr/>
        </p:nvSpPr>
        <p:spPr>
          <a:xfrm>
            <a:off x="6559958" y="4334115"/>
            <a:ext cx="1034370" cy="103437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marL="225425" lvl="0" indent="-225425" algn="ctr" fontAlgn="base">
              <a:spcBef>
                <a:spcPct val="0"/>
              </a:spcBef>
              <a:spcAft>
                <a:spcPct val="0"/>
              </a:spcAft>
              <a:defRPr/>
            </a:pPr>
            <a:r>
              <a:rPr lang="en-US" altLang="zh-CN" sz="1400" b="1" kern="0">
                <a:solidFill>
                  <a:prstClr val="black"/>
                </a:solidFill>
              </a:rPr>
              <a:t>T</a:t>
            </a:r>
            <a:r>
              <a:rPr lang="en-US" altLang="zh-CN" sz="100" b="1" kern="0">
                <a:solidFill>
                  <a:prstClr val="black"/>
                </a:solidFill>
              </a:rPr>
              <a:t> </a:t>
            </a:r>
            <a:r>
              <a:rPr lang="en-US" altLang="zh-CN" sz="1400" b="1" kern="0">
                <a:solidFill>
                  <a:prstClr val="black"/>
                </a:solidFill>
              </a:rPr>
              <a:t>ext</a:t>
            </a:r>
            <a:endParaRPr lang="en-US" altLang="zh-CN" sz="800" b="1" kern="0" dirty="0">
              <a:solidFill>
                <a:prstClr val="black"/>
              </a:solidFill>
            </a:endParaRPr>
          </a:p>
        </p:txBody>
      </p:sp>
      <p:sp>
        <p:nvSpPr>
          <p:cNvPr id="9" name="îSľíḍe">
            <a:extLst>
              <a:ext uri="{FF2B5EF4-FFF2-40B4-BE49-F238E27FC236}">
                <a16:creationId xmlns:a16="http://schemas.microsoft.com/office/drawing/2014/main" id="{D3FC1522-E2A5-439A-AD8B-450BA0894405}"/>
              </a:ext>
            </a:extLst>
          </p:cNvPr>
          <p:cNvSpPr/>
          <p:nvPr/>
        </p:nvSpPr>
        <p:spPr>
          <a:xfrm>
            <a:off x="2635386" y="4334115"/>
            <a:ext cx="1034370" cy="103437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marL="225425" lvl="0" indent="-225425" algn="ctr" fontAlgn="base">
              <a:spcBef>
                <a:spcPct val="0"/>
              </a:spcBef>
              <a:spcAft>
                <a:spcPct val="0"/>
              </a:spcAft>
              <a:defRPr/>
            </a:pPr>
            <a:r>
              <a:rPr lang="en-US" altLang="zh-CN" sz="1400" b="1" kern="0">
                <a:solidFill>
                  <a:prstClr val="black"/>
                </a:solidFill>
              </a:rPr>
              <a:t>T</a:t>
            </a:r>
            <a:r>
              <a:rPr lang="en-US" altLang="zh-CN" sz="100" b="1" kern="0">
                <a:solidFill>
                  <a:prstClr val="black"/>
                </a:solidFill>
              </a:rPr>
              <a:t> </a:t>
            </a:r>
            <a:r>
              <a:rPr lang="en-US" altLang="zh-CN" sz="1400" b="1" kern="0">
                <a:solidFill>
                  <a:prstClr val="black"/>
                </a:solidFill>
              </a:rPr>
              <a:t>ext</a:t>
            </a:r>
            <a:endParaRPr lang="en-US" altLang="zh-CN" sz="800" b="1" kern="0" dirty="0">
              <a:solidFill>
                <a:prstClr val="black"/>
              </a:solidFill>
            </a:endParaRPr>
          </a:p>
        </p:txBody>
      </p:sp>
      <p:sp>
        <p:nvSpPr>
          <p:cNvPr id="10" name="iṣlïḑè">
            <a:extLst>
              <a:ext uri="{FF2B5EF4-FFF2-40B4-BE49-F238E27FC236}">
                <a16:creationId xmlns:a16="http://schemas.microsoft.com/office/drawing/2014/main" id="{D83A483C-7AE0-42A5-BD2B-44675BC01833}"/>
              </a:ext>
            </a:extLst>
          </p:cNvPr>
          <p:cNvSpPr/>
          <p:nvPr/>
        </p:nvSpPr>
        <p:spPr>
          <a:xfrm>
            <a:off x="8522244" y="4334115"/>
            <a:ext cx="1034370" cy="103437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marL="225425" lvl="0" indent="-225425" algn="ctr" fontAlgn="base">
              <a:spcBef>
                <a:spcPct val="0"/>
              </a:spcBef>
              <a:spcAft>
                <a:spcPct val="0"/>
              </a:spcAft>
              <a:defRPr/>
            </a:pPr>
            <a:r>
              <a:rPr lang="en-US" altLang="zh-CN" sz="1400" b="1" kern="0">
                <a:solidFill>
                  <a:prstClr val="black"/>
                </a:solidFill>
              </a:rPr>
              <a:t>T</a:t>
            </a:r>
            <a:r>
              <a:rPr lang="en-US" altLang="zh-CN" sz="100" b="1" kern="0">
                <a:solidFill>
                  <a:prstClr val="black"/>
                </a:solidFill>
              </a:rPr>
              <a:t> </a:t>
            </a:r>
            <a:r>
              <a:rPr lang="en-US" altLang="zh-CN" sz="1400" b="1" kern="0">
                <a:solidFill>
                  <a:prstClr val="black"/>
                </a:solidFill>
              </a:rPr>
              <a:t>ext</a:t>
            </a:r>
            <a:endParaRPr lang="en-US" altLang="zh-CN" sz="800" b="1" kern="0" dirty="0">
              <a:solidFill>
                <a:prstClr val="black"/>
              </a:solidFill>
            </a:endParaRPr>
          </a:p>
        </p:txBody>
      </p:sp>
      <p:sp>
        <p:nvSpPr>
          <p:cNvPr id="13" name="iṧļïďè">
            <a:extLst>
              <a:ext uri="{FF2B5EF4-FFF2-40B4-BE49-F238E27FC236}">
                <a16:creationId xmlns:a16="http://schemas.microsoft.com/office/drawing/2014/main" id="{9A3DBAD7-0745-48E7-BC1E-63DF1EB41D4F}"/>
              </a:ext>
            </a:extLst>
          </p:cNvPr>
          <p:cNvSpPr/>
          <p:nvPr/>
        </p:nvSpPr>
        <p:spPr>
          <a:xfrm>
            <a:off x="673100" y="4334115"/>
            <a:ext cx="1034370" cy="103437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marL="225425" lvl="0" indent="-225425" algn="ctr" fontAlgn="base">
              <a:spcBef>
                <a:spcPct val="0"/>
              </a:spcBef>
              <a:spcAft>
                <a:spcPct val="0"/>
              </a:spcAft>
              <a:defRPr/>
            </a:pPr>
            <a:r>
              <a:rPr lang="en-US" altLang="zh-CN" sz="1400" b="1" kern="0">
                <a:solidFill>
                  <a:prstClr val="black"/>
                </a:solidFill>
              </a:rPr>
              <a:t>T</a:t>
            </a:r>
            <a:r>
              <a:rPr lang="en-US" altLang="zh-CN" sz="100" b="1" kern="0">
                <a:solidFill>
                  <a:prstClr val="black"/>
                </a:solidFill>
              </a:rPr>
              <a:t> </a:t>
            </a:r>
            <a:r>
              <a:rPr lang="en-US" altLang="zh-CN" sz="1400" b="1" kern="0">
                <a:solidFill>
                  <a:prstClr val="black"/>
                </a:solidFill>
              </a:rPr>
              <a:t>ext</a:t>
            </a:r>
            <a:endParaRPr lang="en-US" altLang="zh-CN" sz="800" b="1" kern="0" dirty="0">
              <a:solidFill>
                <a:prstClr val="black"/>
              </a:solidFill>
            </a:endParaRPr>
          </a:p>
        </p:txBody>
      </p:sp>
      <p:sp>
        <p:nvSpPr>
          <p:cNvPr id="15" name="îṥlíḑé">
            <a:extLst>
              <a:ext uri="{FF2B5EF4-FFF2-40B4-BE49-F238E27FC236}">
                <a16:creationId xmlns:a16="http://schemas.microsoft.com/office/drawing/2014/main" id="{8AA94891-9A3C-49B4-ACD5-1C6ED91A9962}"/>
              </a:ext>
            </a:extLst>
          </p:cNvPr>
          <p:cNvSpPr/>
          <p:nvPr/>
        </p:nvSpPr>
        <p:spPr>
          <a:xfrm>
            <a:off x="10484530" y="4334115"/>
            <a:ext cx="1034370" cy="103437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marL="225425" lvl="0" indent="-225425" algn="ctr" fontAlgn="base">
              <a:spcBef>
                <a:spcPct val="0"/>
              </a:spcBef>
              <a:spcAft>
                <a:spcPct val="0"/>
              </a:spcAft>
              <a:defRPr/>
            </a:pPr>
            <a:r>
              <a:rPr lang="en-US" altLang="zh-CN" sz="1400" b="1" kern="0">
                <a:solidFill>
                  <a:prstClr val="black"/>
                </a:solidFill>
              </a:rPr>
              <a:t>T</a:t>
            </a:r>
            <a:r>
              <a:rPr lang="en-US" altLang="zh-CN" sz="100" b="1" kern="0">
                <a:solidFill>
                  <a:prstClr val="black"/>
                </a:solidFill>
              </a:rPr>
              <a:t> </a:t>
            </a:r>
            <a:r>
              <a:rPr lang="en-US" altLang="zh-CN" sz="1400" b="1" kern="0">
                <a:solidFill>
                  <a:prstClr val="black"/>
                </a:solidFill>
              </a:rPr>
              <a:t>ext</a:t>
            </a:r>
            <a:endParaRPr lang="en-US" altLang="zh-CN" sz="800" b="1" kern="0" dirty="0">
              <a:solidFill>
                <a:prstClr val="black"/>
              </a:solidFill>
            </a:endParaRPr>
          </a:p>
        </p:txBody>
      </p:sp>
      <p:sp>
        <p:nvSpPr>
          <p:cNvPr id="17" name="ïşḷíḋe">
            <a:extLst>
              <a:ext uri="{FF2B5EF4-FFF2-40B4-BE49-F238E27FC236}">
                <a16:creationId xmlns:a16="http://schemas.microsoft.com/office/drawing/2014/main" id="{63AFD77B-56E8-40AB-A7E1-265D1DFEEC88}"/>
              </a:ext>
            </a:extLst>
          </p:cNvPr>
          <p:cNvSpPr txBox="1"/>
          <p:nvPr/>
        </p:nvSpPr>
        <p:spPr>
          <a:xfrm>
            <a:off x="673100" y="1900677"/>
            <a:ext cx="3238500" cy="430455"/>
          </a:xfrm>
          <a:prstGeom prst="rect">
            <a:avLst/>
          </a:prstGeom>
          <a:noFill/>
          <a:ln>
            <a:noFill/>
          </a:ln>
        </p:spPr>
        <p:txBody>
          <a:bodyPr wrap="square" lIns="91440" tIns="45720" rIns="91440" bIns="45720" anchor="ctr" anchorCtr="0">
            <a:normAutofit/>
          </a:bodyPr>
          <a:lstStyle/>
          <a:p>
            <a:pPr marL="0" marR="0" lvl="0" indent="0" algn="l" defTabSz="913765" rtl="0" eaLnBrk="1" fontAlgn="auto" latinLnBrk="0" hangingPunct="1">
              <a:lnSpc>
                <a:spcPct val="100000"/>
              </a:lnSpc>
              <a:spcBef>
                <a:spcPts val="0"/>
              </a:spcBef>
              <a:spcAft>
                <a:spcPts val="0"/>
              </a:spcAft>
              <a:buClrTx/>
              <a:buSzPct val="25000"/>
              <a:buFontTx/>
              <a:buNone/>
              <a:defRPr/>
            </a:pPr>
            <a:r>
              <a:rPr kumimoji="0" lang="de-DE" sz="2000" b="1" i="0" u="none" strike="noStrike" kern="1200" cap="none" spc="0" normalizeH="0" baseline="0" noProof="0">
                <a:ln>
                  <a:noFill/>
                </a:ln>
                <a:effectLst/>
                <a:uLnTx/>
                <a:uFillTx/>
              </a:rPr>
              <a:t>T</a:t>
            </a:r>
            <a:r>
              <a:rPr kumimoji="0" lang="de-DE" sz="100" b="1" i="0" u="none" strike="noStrike" kern="1200" cap="none" spc="0" normalizeH="0" baseline="0" noProof="0">
                <a:ln>
                  <a:noFill/>
                </a:ln>
                <a:effectLst/>
                <a:uLnTx/>
                <a:uFillTx/>
              </a:rPr>
              <a:t> </a:t>
            </a:r>
            <a:r>
              <a:rPr kumimoji="0" lang="de-DE" sz="2000" b="1" i="0" u="none" strike="noStrike" kern="1200" cap="none" spc="0" normalizeH="0" baseline="0" noProof="0">
                <a:ln>
                  <a:noFill/>
                </a:ln>
                <a:effectLst/>
                <a:uLnTx/>
                <a:uFillTx/>
              </a:rPr>
              <a:t>ext </a:t>
            </a:r>
            <a:r>
              <a:rPr kumimoji="0" lang="de-DE" sz="2000" b="1" i="0" u="none" strike="noStrike" kern="1200" cap="none" spc="0" normalizeH="0" baseline="0" noProof="0" dirty="0">
                <a:ln>
                  <a:noFill/>
                </a:ln>
                <a:effectLst/>
                <a:uLnTx/>
                <a:uFillTx/>
              </a:rPr>
              <a:t>here</a:t>
            </a:r>
          </a:p>
        </p:txBody>
      </p:sp>
      <p:sp>
        <p:nvSpPr>
          <p:cNvPr id="18" name="isľíḍè">
            <a:extLst>
              <a:ext uri="{FF2B5EF4-FFF2-40B4-BE49-F238E27FC236}">
                <a16:creationId xmlns:a16="http://schemas.microsoft.com/office/drawing/2014/main" id="{8183052D-7E03-44CF-BAEF-EB35950B879D}"/>
              </a:ext>
            </a:extLst>
          </p:cNvPr>
          <p:cNvSpPr txBox="1"/>
          <p:nvPr/>
        </p:nvSpPr>
        <p:spPr>
          <a:xfrm>
            <a:off x="673100" y="2331131"/>
            <a:ext cx="3238500" cy="777983"/>
          </a:xfrm>
          <a:prstGeom prst="rect">
            <a:avLst/>
          </a:prstGeom>
          <a:noFill/>
          <a:ln>
            <a:noFill/>
          </a:ln>
        </p:spPr>
        <p:txBody>
          <a:bodyPr wrap="square" lIns="91440" tIns="45720" rIns="91440" bIns="45720" anchor="t"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200" b="0" i="0" u="none" strike="noStrike" kern="1200" cap="none" spc="0" normalizeH="0" baseline="0" noProof="0">
                <a:ln>
                  <a:noFill/>
                </a:ln>
                <a:effectLst/>
                <a:uLnTx/>
                <a:uFillTx/>
              </a:rPr>
              <a:t>Copy pas</a:t>
            </a:r>
            <a:r>
              <a:rPr kumimoji="0" lang="en-US" sz="100" b="0" i="0" u="none" strike="noStrike" kern="1200" cap="none" spc="0" normalizeH="0" baseline="0" noProof="0">
                <a:ln>
                  <a:noFill/>
                </a:ln>
                <a:effectLst/>
                <a:uLnTx/>
                <a:uFillTx/>
              </a:rPr>
              <a:t> </a:t>
            </a:r>
            <a:r>
              <a:rPr kumimoji="0" lang="en-US" sz="1200" b="0" i="0" u="none" strike="noStrike" kern="1200" cap="none" spc="0" normalizeH="0" baseline="0" noProof="0">
                <a:ln>
                  <a:noFill/>
                </a:ln>
                <a:effectLst/>
                <a:uLnTx/>
                <a:uFillTx/>
              </a:rPr>
              <a:t>te </a:t>
            </a:r>
            <a:r>
              <a:rPr kumimoji="0" lang="en-US" sz="1200" b="0" i="0" u="none" strike="noStrike" kern="1200" cap="none" spc="0" normalizeH="0" baseline="0" noProof="0" dirty="0">
                <a:ln>
                  <a:noFill/>
                </a:ln>
                <a:effectLst/>
                <a:uLnTx/>
                <a:uFillTx/>
              </a:rPr>
              <a:t>fonts. Choose the only option to retain text.…</a:t>
            </a:r>
            <a:r>
              <a:rPr kumimoji="0" lang="de-DE" sz="1200" b="0" i="0" u="none" strike="noStrike" kern="1200" cap="none" spc="0" normalizeH="0" baseline="0" noProof="0" dirty="0">
                <a:ln>
                  <a:noFill/>
                </a:ln>
                <a:effectLst/>
                <a:uLnTx/>
                <a:uFillTx/>
              </a:rPr>
              <a:t>.</a:t>
            </a:r>
          </a:p>
        </p:txBody>
      </p:sp>
      <p:sp>
        <p:nvSpPr>
          <p:cNvPr id="19" name="išļide">
            <a:extLst>
              <a:ext uri="{FF2B5EF4-FFF2-40B4-BE49-F238E27FC236}">
                <a16:creationId xmlns:a16="http://schemas.microsoft.com/office/drawing/2014/main" id="{3D38CC3C-CEEB-4DB7-A1C6-9B90F11D9C1B}"/>
              </a:ext>
            </a:extLst>
          </p:cNvPr>
          <p:cNvSpPr txBox="1"/>
          <p:nvPr/>
        </p:nvSpPr>
        <p:spPr>
          <a:xfrm>
            <a:off x="673100" y="3198122"/>
            <a:ext cx="3238500" cy="777983"/>
          </a:xfrm>
          <a:prstGeom prst="rect">
            <a:avLst/>
          </a:prstGeom>
          <a:noFill/>
          <a:ln>
            <a:noFill/>
          </a:ln>
        </p:spPr>
        <p:txBody>
          <a:bodyPr wrap="square" lIns="91440" tIns="45720" rIns="91440" bIns="45720" anchor="t"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200" b="0" i="0" u="none" strike="noStrike" kern="1200" cap="none" spc="0" normalizeH="0" baseline="0" noProof="0">
                <a:ln>
                  <a:noFill/>
                </a:ln>
                <a:effectLst/>
                <a:uLnTx/>
                <a:uFillTx/>
              </a:rPr>
              <a:t>Copy pas</a:t>
            </a:r>
            <a:r>
              <a:rPr kumimoji="0" lang="en-US" sz="100" b="0" i="0" u="none" strike="noStrike" kern="1200" cap="none" spc="0" normalizeH="0" baseline="0" noProof="0">
                <a:ln>
                  <a:noFill/>
                </a:ln>
                <a:effectLst/>
                <a:uLnTx/>
                <a:uFillTx/>
              </a:rPr>
              <a:t> </a:t>
            </a:r>
            <a:r>
              <a:rPr kumimoji="0" lang="en-US" sz="1200" b="0" i="0" u="none" strike="noStrike" kern="1200" cap="none" spc="0" normalizeH="0" baseline="0" noProof="0">
                <a:ln>
                  <a:noFill/>
                </a:ln>
                <a:effectLst/>
                <a:uLnTx/>
                <a:uFillTx/>
              </a:rPr>
              <a:t>te </a:t>
            </a:r>
            <a:r>
              <a:rPr kumimoji="0" lang="en-US" sz="1200" b="0" i="0" u="none" strike="noStrike" kern="1200" cap="none" spc="0" normalizeH="0" baseline="0" noProof="0" dirty="0">
                <a:ln>
                  <a:noFill/>
                </a:ln>
                <a:effectLst/>
                <a:uLnTx/>
                <a:uFillTx/>
              </a:rPr>
              <a:t>fonts. Choose the only option to retain text.…</a:t>
            </a:r>
            <a:r>
              <a:rPr kumimoji="0" lang="de-DE" sz="1200" b="0" i="0" u="none" strike="noStrike" kern="1200" cap="none" spc="0" normalizeH="0" baseline="0" noProof="0" dirty="0">
                <a:ln>
                  <a:noFill/>
                </a:ln>
                <a:effectLst/>
                <a:uLnTx/>
                <a:uFillTx/>
              </a:rPr>
              <a:t>.</a:t>
            </a:r>
          </a:p>
        </p:txBody>
      </p:sp>
      <p:sp>
        <p:nvSpPr>
          <p:cNvPr id="20" name="iŝliḓé">
            <a:extLst>
              <a:ext uri="{FF2B5EF4-FFF2-40B4-BE49-F238E27FC236}">
                <a16:creationId xmlns:a16="http://schemas.microsoft.com/office/drawing/2014/main" id="{DE8288DD-700E-46F5-BAFE-E1DF17242B20}"/>
              </a:ext>
            </a:extLst>
          </p:cNvPr>
          <p:cNvSpPr txBox="1"/>
          <p:nvPr/>
        </p:nvSpPr>
        <p:spPr>
          <a:xfrm>
            <a:off x="8293100" y="1900677"/>
            <a:ext cx="3238500" cy="430455"/>
          </a:xfrm>
          <a:prstGeom prst="rect">
            <a:avLst/>
          </a:prstGeom>
          <a:noFill/>
          <a:ln>
            <a:noFill/>
          </a:ln>
        </p:spPr>
        <p:txBody>
          <a:bodyPr wrap="square" lIns="91440" tIns="45720" rIns="91440" bIns="45720" anchor="ctr" anchorCtr="0">
            <a:normAutofit/>
          </a:bodyPr>
          <a:lstStyle/>
          <a:p>
            <a:pPr marL="0" marR="0" lvl="0" indent="0" algn="r" defTabSz="913765" rtl="0" eaLnBrk="1" fontAlgn="auto" latinLnBrk="0" hangingPunct="1">
              <a:lnSpc>
                <a:spcPct val="100000"/>
              </a:lnSpc>
              <a:spcBef>
                <a:spcPts val="0"/>
              </a:spcBef>
              <a:spcAft>
                <a:spcPts val="0"/>
              </a:spcAft>
              <a:buClrTx/>
              <a:buSzPct val="25000"/>
              <a:buFontTx/>
              <a:buNone/>
              <a:defRPr/>
            </a:pPr>
            <a:r>
              <a:rPr kumimoji="0" lang="de-DE" sz="2000" b="1" i="0" u="none" strike="noStrike" kern="1200" cap="none" spc="0" normalizeH="0" baseline="0" noProof="0">
                <a:ln>
                  <a:noFill/>
                </a:ln>
                <a:effectLst/>
                <a:uLnTx/>
                <a:uFillTx/>
              </a:rPr>
              <a:t>T</a:t>
            </a:r>
            <a:r>
              <a:rPr kumimoji="0" lang="de-DE" sz="100" b="1" i="0" u="none" strike="noStrike" kern="1200" cap="none" spc="0" normalizeH="0" baseline="0" noProof="0">
                <a:ln>
                  <a:noFill/>
                </a:ln>
                <a:effectLst/>
                <a:uLnTx/>
                <a:uFillTx/>
              </a:rPr>
              <a:t> </a:t>
            </a:r>
            <a:r>
              <a:rPr kumimoji="0" lang="de-DE" sz="2000" b="1" i="0" u="none" strike="noStrike" kern="1200" cap="none" spc="0" normalizeH="0" baseline="0" noProof="0">
                <a:ln>
                  <a:noFill/>
                </a:ln>
                <a:effectLst/>
                <a:uLnTx/>
                <a:uFillTx/>
              </a:rPr>
              <a:t>ext </a:t>
            </a:r>
            <a:r>
              <a:rPr kumimoji="0" lang="de-DE" sz="2000" b="1" i="0" u="none" strike="noStrike" kern="1200" cap="none" spc="0" normalizeH="0" baseline="0" noProof="0" dirty="0">
                <a:ln>
                  <a:noFill/>
                </a:ln>
                <a:effectLst/>
                <a:uLnTx/>
                <a:uFillTx/>
              </a:rPr>
              <a:t>here</a:t>
            </a:r>
          </a:p>
        </p:txBody>
      </p:sp>
      <p:sp>
        <p:nvSpPr>
          <p:cNvPr id="21" name="îsḷïḋè">
            <a:extLst>
              <a:ext uri="{FF2B5EF4-FFF2-40B4-BE49-F238E27FC236}">
                <a16:creationId xmlns:a16="http://schemas.microsoft.com/office/drawing/2014/main" id="{F0ABC81D-95C7-45E7-9892-C9D43E2A389D}"/>
              </a:ext>
            </a:extLst>
          </p:cNvPr>
          <p:cNvSpPr txBox="1"/>
          <p:nvPr/>
        </p:nvSpPr>
        <p:spPr>
          <a:xfrm>
            <a:off x="8293100" y="2331131"/>
            <a:ext cx="3238500" cy="777983"/>
          </a:xfrm>
          <a:prstGeom prst="rect">
            <a:avLst/>
          </a:prstGeom>
          <a:noFill/>
          <a:ln>
            <a:noFill/>
          </a:ln>
        </p:spPr>
        <p:txBody>
          <a:bodyPr wrap="square" lIns="91440" tIns="45720" rIns="91440" bIns="45720" anchor="t" anchorCtr="0">
            <a:normAutofit/>
          </a:bodyPr>
          <a:lstStyle/>
          <a:p>
            <a:pPr marL="0" marR="0" lvl="0" indent="0" algn="r" defTabSz="913765" rtl="0" eaLnBrk="1" fontAlgn="auto" latinLnBrk="0" hangingPunct="1">
              <a:lnSpc>
                <a:spcPct val="150000"/>
              </a:lnSpc>
              <a:spcBef>
                <a:spcPts val="0"/>
              </a:spcBef>
              <a:spcAft>
                <a:spcPts val="0"/>
              </a:spcAft>
              <a:buClrTx/>
              <a:buSzPct val="25000"/>
              <a:buFontTx/>
              <a:buNone/>
              <a:defRPr/>
            </a:pPr>
            <a:r>
              <a:rPr kumimoji="0" lang="en-US" sz="1200" b="0" i="0" u="none" strike="noStrike" kern="1200" cap="none" spc="0" normalizeH="0" baseline="0" noProof="0">
                <a:ln>
                  <a:noFill/>
                </a:ln>
                <a:effectLst/>
                <a:uLnTx/>
                <a:uFillTx/>
              </a:rPr>
              <a:t>Copy pas</a:t>
            </a:r>
            <a:r>
              <a:rPr kumimoji="0" lang="en-US" sz="100" b="0" i="0" u="none" strike="noStrike" kern="1200" cap="none" spc="0" normalizeH="0" baseline="0" noProof="0">
                <a:ln>
                  <a:noFill/>
                </a:ln>
                <a:effectLst/>
                <a:uLnTx/>
                <a:uFillTx/>
              </a:rPr>
              <a:t> </a:t>
            </a:r>
            <a:r>
              <a:rPr kumimoji="0" lang="en-US" sz="1200" b="0" i="0" u="none" strike="noStrike" kern="1200" cap="none" spc="0" normalizeH="0" baseline="0" noProof="0">
                <a:ln>
                  <a:noFill/>
                </a:ln>
                <a:effectLst/>
                <a:uLnTx/>
                <a:uFillTx/>
              </a:rPr>
              <a:t>te </a:t>
            </a:r>
            <a:r>
              <a:rPr kumimoji="0" lang="en-US" sz="1200" b="0" i="0" u="none" strike="noStrike" kern="1200" cap="none" spc="0" normalizeH="0" baseline="0" noProof="0" dirty="0">
                <a:ln>
                  <a:noFill/>
                </a:ln>
                <a:effectLst/>
                <a:uLnTx/>
                <a:uFillTx/>
              </a:rPr>
              <a:t>fonts. Choose the only option to retain text.…</a:t>
            </a:r>
            <a:r>
              <a:rPr kumimoji="0" lang="de-DE" sz="1200" b="0" i="0" u="none" strike="noStrike" kern="1200" cap="none" spc="0" normalizeH="0" baseline="0" noProof="0" dirty="0">
                <a:ln>
                  <a:noFill/>
                </a:ln>
                <a:effectLst/>
                <a:uLnTx/>
                <a:uFillTx/>
              </a:rPr>
              <a:t>.</a:t>
            </a:r>
          </a:p>
        </p:txBody>
      </p:sp>
      <p:sp>
        <p:nvSpPr>
          <p:cNvPr id="22" name="í$ļîḑè">
            <a:extLst>
              <a:ext uri="{FF2B5EF4-FFF2-40B4-BE49-F238E27FC236}">
                <a16:creationId xmlns:a16="http://schemas.microsoft.com/office/drawing/2014/main" id="{2B906AD2-C5EA-4510-A038-7A3962DF6AEC}"/>
              </a:ext>
            </a:extLst>
          </p:cNvPr>
          <p:cNvSpPr txBox="1"/>
          <p:nvPr/>
        </p:nvSpPr>
        <p:spPr>
          <a:xfrm>
            <a:off x="8293100" y="3198122"/>
            <a:ext cx="3238500" cy="777983"/>
          </a:xfrm>
          <a:prstGeom prst="rect">
            <a:avLst/>
          </a:prstGeom>
          <a:noFill/>
          <a:ln>
            <a:noFill/>
          </a:ln>
        </p:spPr>
        <p:txBody>
          <a:bodyPr wrap="square" lIns="91440" tIns="45720" rIns="91440" bIns="45720" anchor="t" anchorCtr="0">
            <a:normAutofit/>
          </a:bodyPr>
          <a:lstStyle/>
          <a:p>
            <a:pPr marL="0" marR="0" lvl="0" indent="0" algn="r" defTabSz="913765" rtl="0" eaLnBrk="1" fontAlgn="auto" latinLnBrk="0" hangingPunct="1">
              <a:lnSpc>
                <a:spcPct val="150000"/>
              </a:lnSpc>
              <a:spcBef>
                <a:spcPts val="0"/>
              </a:spcBef>
              <a:spcAft>
                <a:spcPts val="0"/>
              </a:spcAft>
              <a:buClrTx/>
              <a:buSzPct val="25000"/>
              <a:buFontTx/>
              <a:buNone/>
              <a:defRPr/>
            </a:pPr>
            <a:r>
              <a:rPr kumimoji="0" lang="en-US" sz="1200" b="0" i="0" u="none" strike="noStrike" kern="1200" cap="none" spc="0" normalizeH="0" baseline="0" noProof="0">
                <a:ln>
                  <a:noFill/>
                </a:ln>
                <a:effectLst/>
                <a:uLnTx/>
                <a:uFillTx/>
              </a:rPr>
              <a:t>Copy pas</a:t>
            </a:r>
            <a:r>
              <a:rPr kumimoji="0" lang="en-US" sz="100" b="0" i="0" u="none" strike="noStrike" kern="1200" cap="none" spc="0" normalizeH="0" baseline="0" noProof="0">
                <a:ln>
                  <a:noFill/>
                </a:ln>
                <a:effectLst/>
                <a:uLnTx/>
                <a:uFillTx/>
              </a:rPr>
              <a:t> </a:t>
            </a:r>
            <a:r>
              <a:rPr kumimoji="0" lang="en-US" sz="1200" b="0" i="0" u="none" strike="noStrike" kern="1200" cap="none" spc="0" normalizeH="0" baseline="0" noProof="0">
                <a:ln>
                  <a:noFill/>
                </a:ln>
                <a:effectLst/>
                <a:uLnTx/>
                <a:uFillTx/>
              </a:rPr>
              <a:t>te </a:t>
            </a:r>
            <a:r>
              <a:rPr kumimoji="0" lang="en-US" sz="1200" b="0" i="0" u="none" strike="noStrike" kern="1200" cap="none" spc="0" normalizeH="0" baseline="0" noProof="0" dirty="0">
                <a:ln>
                  <a:noFill/>
                </a:ln>
                <a:effectLst/>
                <a:uLnTx/>
                <a:uFillTx/>
              </a:rPr>
              <a:t>fonts. Choose the only option to retain text.…</a:t>
            </a:r>
            <a:r>
              <a:rPr kumimoji="0" lang="de-DE" sz="1200" b="0" i="0" u="none" strike="noStrike" kern="1200" cap="none" spc="0" normalizeH="0" baseline="0" noProof="0" dirty="0">
                <a:ln>
                  <a:noFill/>
                </a:ln>
                <a:effectLst/>
                <a:uLnTx/>
                <a:uFillTx/>
              </a:rPr>
              <a:t>.</a:t>
            </a:r>
          </a:p>
        </p:txBody>
      </p:sp>
    </p:spTree>
    <p:custDataLst>
      <p:tags r:id="rId2"/>
    </p:custDataLst>
    <p:extLst>
      <p:ext uri="{BB962C8B-B14F-4D97-AF65-F5344CB8AC3E}">
        <p14:creationId xmlns:p14="http://schemas.microsoft.com/office/powerpoint/2010/main" val="772801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îṥľiḓè"/>
        <p:cNvGrpSpPr/>
        <p:nvPr/>
      </p:nvGrpSpPr>
      <p:grpSpPr>
        <a:xfrm>
          <a:off x="0" y="0"/>
          <a:ext cx="0" cy="0"/>
          <a:chOff x="0" y="0"/>
          <a:chExt cx="0" cy="0"/>
        </a:xfrm>
      </p:grpSpPr>
      <p:sp>
        <p:nvSpPr>
          <p:cNvPr id="2" name="ïṧlíďe">
            <a:extLst>
              <a:ext uri="{FF2B5EF4-FFF2-40B4-BE49-F238E27FC236}">
                <a16:creationId xmlns:a16="http://schemas.microsoft.com/office/drawing/2014/main" id="{A26C1C76-DEE7-4396-A88E-AC448C1B90B5}"/>
              </a:ext>
            </a:extLst>
          </p:cNvPr>
          <p:cNvSpPr>
            <a:spLocks noGrp="1"/>
          </p:cNvSpPr>
          <p:nvPr>
            <p:ph type="title"/>
          </p:nvPr>
        </p:nvSpPr>
        <p:spPr/>
        <p:txBody>
          <a:bodyPr/>
          <a:lstStyle/>
          <a:p>
            <a:r>
              <a:rPr lang="en-US" altLang="zh-CN"/>
              <a:t>Clic</a:t>
            </a:r>
            <a:r>
              <a:rPr lang="en-US" altLang="zh-CN" sz="100"/>
              <a:t> </a:t>
            </a:r>
            <a:r>
              <a:rPr lang="en-US" altLang="zh-CN"/>
              <a:t>k </a:t>
            </a:r>
            <a:r>
              <a:rPr lang="en-US" altLang="zh-CN" dirty="0"/>
              <a:t>to edit Master title style</a:t>
            </a:r>
            <a:endParaRPr lang="zh-CN" altLang="en-US" dirty="0"/>
          </a:p>
        </p:txBody>
      </p:sp>
      <p:sp>
        <p:nvSpPr>
          <p:cNvPr id="3" name="îṡľiḋê">
            <a:extLst>
              <a:ext uri="{FF2B5EF4-FFF2-40B4-BE49-F238E27FC236}">
                <a16:creationId xmlns:a16="http://schemas.microsoft.com/office/drawing/2014/main" id="{FAFF6866-B52D-430D-BE7B-50402CA51729}"/>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íŝliḓe">
            <a:extLst>
              <a:ext uri="{FF2B5EF4-FFF2-40B4-BE49-F238E27FC236}">
                <a16:creationId xmlns:a16="http://schemas.microsoft.com/office/drawing/2014/main" id="{32BF7097-EADF-4BEF-8524-2AF7E08B0D2F}"/>
              </a:ext>
            </a:extLst>
          </p:cNvPr>
          <p:cNvSpPr>
            <a:spLocks noGrp="1"/>
          </p:cNvSpPr>
          <p:nvPr>
            <p:ph type="sldNum" sz="quarter" idx="12"/>
          </p:nvPr>
        </p:nvSpPr>
        <p:spPr/>
        <p:txBody>
          <a:bodyPr/>
          <a:lstStyle/>
          <a:p>
            <a:fld id="{5DD3DB80-B894-403A-B48E-6FDC1A72010E}" type="slidenum">
              <a:rPr lang="zh-CN" altLang="en-US" smtClean="0"/>
              <a:pPr/>
              <a:t>14</a:t>
            </a:fld>
            <a:r>
              <a:rPr lang="zh-CN" altLang="en-US" sz="100"/>
              <a:t> </a:t>
            </a:r>
          </a:p>
        </p:txBody>
      </p:sp>
      <p:grpSp>
        <p:nvGrpSpPr>
          <p:cNvPr id="33" name="í$ḻiď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DFD49E5-E9FF-405C-AF5A-96B3E26F2053}"/>
              </a:ext>
            </a:extLst>
          </p:cNvPr>
          <p:cNvGrpSpPr>
            <a:grpSpLocks noChangeAspect="1"/>
          </p:cNvGrpSpPr>
          <p:nvPr/>
        </p:nvGrpSpPr>
        <p:grpSpPr>
          <a:xfrm>
            <a:off x="660400" y="1470374"/>
            <a:ext cx="10858501" cy="4323652"/>
            <a:chOff x="660400" y="1470374"/>
            <a:chExt cx="10858501" cy="4323652"/>
          </a:xfrm>
        </p:grpSpPr>
        <p:sp>
          <p:nvSpPr>
            <p:cNvPr id="34" name="îśliḓé">
              <a:extLst>
                <a:ext uri="{FF2B5EF4-FFF2-40B4-BE49-F238E27FC236}">
                  <a16:creationId xmlns:a16="http://schemas.microsoft.com/office/drawing/2014/main" id="{F8E07573-A8E5-42F7-B445-E2E8E3B47ABD}"/>
                </a:ext>
              </a:extLst>
            </p:cNvPr>
            <p:cNvSpPr/>
            <p:nvPr/>
          </p:nvSpPr>
          <p:spPr bwMode="auto">
            <a:xfrm>
              <a:off x="660400" y="2032075"/>
              <a:ext cx="2849598" cy="66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50000"/>
                </a:lnSpc>
              </a:pPr>
              <a:r>
                <a:rPr lang="en-US" altLang="zh-CN" sz="1100"/>
                <a:t>Copy pas</a:t>
              </a:r>
              <a:r>
                <a:rPr lang="en-US" altLang="zh-CN" sz="100"/>
                <a:t> </a:t>
              </a:r>
              <a:r>
                <a:rPr lang="en-US" altLang="zh-CN" sz="1100"/>
                <a:t>te </a:t>
              </a:r>
              <a:r>
                <a:rPr lang="en-US" altLang="zh-CN" sz="1100" dirty="0"/>
                <a:t>fonts. Choose the only option to retain text……</a:t>
              </a:r>
            </a:p>
          </p:txBody>
        </p:sp>
        <p:sp>
          <p:nvSpPr>
            <p:cNvPr id="35" name="îşḻïḋe">
              <a:extLst>
                <a:ext uri="{FF2B5EF4-FFF2-40B4-BE49-F238E27FC236}">
                  <a16:creationId xmlns:a16="http://schemas.microsoft.com/office/drawing/2014/main" id="{F8E07573-A8E5-42F7-B445-E2E8E3B47ABD}"/>
                </a:ext>
              </a:extLst>
            </p:cNvPr>
            <p:cNvSpPr/>
            <p:nvPr/>
          </p:nvSpPr>
          <p:spPr bwMode="auto">
            <a:xfrm>
              <a:off x="674787" y="4839554"/>
              <a:ext cx="3465394" cy="66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50000"/>
                </a:lnSpc>
              </a:pPr>
              <a:r>
                <a:rPr lang="en-US" altLang="zh-CN" sz="1100"/>
                <a:t>Copy pas</a:t>
              </a:r>
              <a:r>
                <a:rPr lang="en-US" altLang="zh-CN" sz="100"/>
                <a:t> </a:t>
              </a:r>
              <a:r>
                <a:rPr lang="en-US" altLang="zh-CN" sz="1100"/>
                <a:t>te </a:t>
              </a:r>
              <a:r>
                <a:rPr lang="en-US" altLang="zh-CN" sz="1100" dirty="0"/>
                <a:t>fonts. Choose the only option to retain text……</a:t>
              </a:r>
            </a:p>
          </p:txBody>
        </p:sp>
        <p:sp>
          <p:nvSpPr>
            <p:cNvPr id="36" name="íślîḋê">
              <a:extLst>
                <a:ext uri="{FF2B5EF4-FFF2-40B4-BE49-F238E27FC236}">
                  <a16:creationId xmlns:a16="http://schemas.microsoft.com/office/drawing/2014/main" id="{F8E07573-A8E5-42F7-B445-E2E8E3B47ABD}"/>
                </a:ext>
              </a:extLst>
            </p:cNvPr>
            <p:cNvSpPr/>
            <p:nvPr/>
          </p:nvSpPr>
          <p:spPr bwMode="auto">
            <a:xfrm>
              <a:off x="4757208" y="1470374"/>
              <a:ext cx="2664883" cy="66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altLang="zh-CN" sz="1100"/>
                <a:t>Copy pas</a:t>
              </a:r>
              <a:r>
                <a:rPr lang="en-US" altLang="zh-CN" sz="100"/>
                <a:t> </a:t>
              </a:r>
              <a:r>
                <a:rPr lang="en-US" altLang="zh-CN" sz="1100"/>
                <a:t>te </a:t>
              </a:r>
              <a:r>
                <a:rPr lang="en-US" altLang="zh-CN" sz="1100" dirty="0"/>
                <a:t>fonts. Choose the only option to retain text……</a:t>
              </a:r>
            </a:p>
          </p:txBody>
        </p:sp>
        <p:sp>
          <p:nvSpPr>
            <p:cNvPr id="37" name="ï$1îḋê">
              <a:extLst>
                <a:ext uri="{FF2B5EF4-FFF2-40B4-BE49-F238E27FC236}">
                  <a16:creationId xmlns:a16="http://schemas.microsoft.com/office/drawing/2014/main" id="{F8E07573-A8E5-42F7-B445-E2E8E3B47ABD}"/>
                </a:ext>
              </a:extLst>
            </p:cNvPr>
            <p:cNvSpPr/>
            <p:nvPr/>
          </p:nvSpPr>
          <p:spPr bwMode="auto">
            <a:xfrm>
              <a:off x="4757208" y="5129516"/>
              <a:ext cx="2664883" cy="66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altLang="zh-CN" sz="1100"/>
                <a:t>Copy pas</a:t>
              </a:r>
              <a:r>
                <a:rPr lang="en-US" altLang="zh-CN" sz="100"/>
                <a:t> </a:t>
              </a:r>
              <a:r>
                <a:rPr lang="en-US" altLang="zh-CN" sz="1100"/>
                <a:t>te </a:t>
              </a:r>
              <a:r>
                <a:rPr lang="en-US" altLang="zh-CN" sz="1100" dirty="0"/>
                <a:t>fonts. Choose the only option to retain text……</a:t>
              </a:r>
            </a:p>
          </p:txBody>
        </p:sp>
        <p:sp>
          <p:nvSpPr>
            <p:cNvPr id="38" name="iṡḷíḓè">
              <a:extLst>
                <a:ext uri="{FF2B5EF4-FFF2-40B4-BE49-F238E27FC236}">
                  <a16:creationId xmlns:a16="http://schemas.microsoft.com/office/drawing/2014/main" id="{F8E07573-A8E5-42F7-B445-E2E8E3B47ABD}"/>
                </a:ext>
              </a:extLst>
            </p:cNvPr>
            <p:cNvSpPr/>
            <p:nvPr/>
          </p:nvSpPr>
          <p:spPr bwMode="auto">
            <a:xfrm>
              <a:off x="8011223" y="1992009"/>
              <a:ext cx="3507678" cy="66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altLang="zh-CN" sz="1100"/>
                <a:t>Copy pas</a:t>
              </a:r>
              <a:r>
                <a:rPr lang="en-US" altLang="zh-CN" sz="100"/>
                <a:t> </a:t>
              </a:r>
              <a:r>
                <a:rPr lang="en-US" altLang="zh-CN" sz="1100"/>
                <a:t>te </a:t>
              </a:r>
              <a:r>
                <a:rPr lang="en-US" altLang="zh-CN" sz="1100" dirty="0"/>
                <a:t>fonts. Choose the only option to retain text……</a:t>
              </a:r>
            </a:p>
          </p:txBody>
        </p:sp>
        <p:sp>
          <p:nvSpPr>
            <p:cNvPr id="39" name="íṣḻiḑé">
              <a:extLst>
                <a:ext uri="{FF2B5EF4-FFF2-40B4-BE49-F238E27FC236}">
                  <a16:creationId xmlns:a16="http://schemas.microsoft.com/office/drawing/2014/main" id="{F8E07573-A8E5-42F7-B445-E2E8E3B47ABD}"/>
                </a:ext>
              </a:extLst>
            </p:cNvPr>
            <p:cNvSpPr/>
            <p:nvPr/>
          </p:nvSpPr>
          <p:spPr bwMode="auto">
            <a:xfrm>
              <a:off x="8910492" y="4534837"/>
              <a:ext cx="2608407" cy="66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altLang="zh-CN" sz="1100"/>
                <a:t>Copy pas</a:t>
              </a:r>
              <a:r>
                <a:rPr lang="en-US" altLang="zh-CN" sz="100"/>
                <a:t> </a:t>
              </a:r>
              <a:r>
                <a:rPr lang="en-US" altLang="zh-CN" sz="1100"/>
                <a:t>te </a:t>
              </a:r>
              <a:r>
                <a:rPr lang="en-US" altLang="zh-CN" sz="1100" dirty="0"/>
                <a:t>fonts. Choose the only option to retain text……</a:t>
              </a:r>
            </a:p>
          </p:txBody>
        </p:sp>
        <p:sp>
          <p:nvSpPr>
            <p:cNvPr id="40" name="îṥļïḍe">
              <a:extLst>
                <a:ext uri="{FF2B5EF4-FFF2-40B4-BE49-F238E27FC236}">
                  <a16:creationId xmlns:a16="http://schemas.microsoft.com/office/drawing/2014/main" id="{BD449EB6-CD36-42E3-BE47-6295907FE35E}"/>
                </a:ext>
              </a:extLst>
            </p:cNvPr>
            <p:cNvSpPr/>
            <p:nvPr/>
          </p:nvSpPr>
          <p:spPr bwMode="auto">
            <a:xfrm>
              <a:off x="3276922" y="3045815"/>
              <a:ext cx="1311146" cy="118010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5" y="1"/>
                  </a:moveTo>
                  <a:cubicBezTo>
                    <a:pt x="6251" y="-5"/>
                    <a:pt x="5853" y="101"/>
                    <a:pt x="5494" y="306"/>
                  </a:cubicBezTo>
                  <a:cubicBezTo>
                    <a:pt x="5116" y="522"/>
                    <a:pt x="4793" y="842"/>
                    <a:pt x="4559" y="1236"/>
                  </a:cubicBezTo>
                  <a:lnTo>
                    <a:pt x="257" y="9428"/>
                  </a:lnTo>
                  <a:cubicBezTo>
                    <a:pt x="94" y="9832"/>
                    <a:pt x="7" y="10271"/>
                    <a:pt x="1" y="10714"/>
                  </a:cubicBezTo>
                  <a:cubicBezTo>
                    <a:pt x="-6" y="11192"/>
                    <a:pt x="81" y="11664"/>
                    <a:pt x="257" y="12100"/>
                  </a:cubicBezTo>
                  <a:lnTo>
                    <a:pt x="4417" y="20185"/>
                  </a:lnTo>
                  <a:cubicBezTo>
                    <a:pt x="4636" y="20609"/>
                    <a:pt x="4952" y="20962"/>
                    <a:pt x="5332" y="21208"/>
                  </a:cubicBezTo>
                  <a:cubicBezTo>
                    <a:pt x="5696" y="21443"/>
                    <a:pt x="6108" y="21572"/>
                    <a:pt x="6529" y="21584"/>
                  </a:cubicBezTo>
                  <a:lnTo>
                    <a:pt x="14739" y="21584"/>
                  </a:lnTo>
                  <a:cubicBezTo>
                    <a:pt x="15238" y="21588"/>
                    <a:pt x="15728" y="21446"/>
                    <a:pt x="16162" y="21172"/>
                  </a:cubicBezTo>
                  <a:cubicBezTo>
                    <a:pt x="16544" y="20929"/>
                    <a:pt x="16872" y="20591"/>
                    <a:pt x="17115" y="20183"/>
                  </a:cubicBezTo>
                  <a:lnTo>
                    <a:pt x="21228" y="12302"/>
                  </a:lnTo>
                  <a:cubicBezTo>
                    <a:pt x="21468" y="11849"/>
                    <a:pt x="21594" y="11332"/>
                    <a:pt x="21593" y="10807"/>
                  </a:cubicBezTo>
                  <a:cubicBezTo>
                    <a:pt x="21593" y="10284"/>
                    <a:pt x="21467" y="9771"/>
                    <a:pt x="21228" y="9321"/>
                  </a:cubicBezTo>
                  <a:lnTo>
                    <a:pt x="17012" y="1258"/>
                  </a:lnTo>
                  <a:cubicBezTo>
                    <a:pt x="16793" y="865"/>
                    <a:pt x="16484" y="543"/>
                    <a:pt x="16118" y="322"/>
                  </a:cubicBezTo>
                  <a:cubicBezTo>
                    <a:pt x="15748" y="99"/>
                    <a:pt x="15331" y="-12"/>
                    <a:pt x="14910" y="1"/>
                  </a:cubicBezTo>
                  <a:lnTo>
                    <a:pt x="6655" y="1"/>
                  </a:lnTo>
                  <a:close/>
                  <a:moveTo>
                    <a:pt x="7548" y="2327"/>
                  </a:moveTo>
                  <a:lnTo>
                    <a:pt x="14024" y="2327"/>
                  </a:lnTo>
                  <a:cubicBezTo>
                    <a:pt x="14354" y="2317"/>
                    <a:pt x="14681" y="2404"/>
                    <a:pt x="14972" y="2579"/>
                  </a:cubicBezTo>
                  <a:cubicBezTo>
                    <a:pt x="15259" y="2752"/>
                    <a:pt x="15499" y="3005"/>
                    <a:pt x="15671" y="3313"/>
                  </a:cubicBezTo>
                  <a:lnTo>
                    <a:pt x="18979" y="9638"/>
                  </a:lnTo>
                  <a:cubicBezTo>
                    <a:pt x="19166" y="9991"/>
                    <a:pt x="19266" y="10395"/>
                    <a:pt x="19266" y="10804"/>
                  </a:cubicBezTo>
                  <a:cubicBezTo>
                    <a:pt x="19267" y="11217"/>
                    <a:pt x="19167" y="11622"/>
                    <a:pt x="18979" y="11977"/>
                  </a:cubicBezTo>
                  <a:lnTo>
                    <a:pt x="15753" y="18159"/>
                  </a:lnTo>
                  <a:cubicBezTo>
                    <a:pt x="15561" y="18478"/>
                    <a:pt x="15307" y="18744"/>
                    <a:pt x="15007" y="18935"/>
                  </a:cubicBezTo>
                  <a:cubicBezTo>
                    <a:pt x="14666" y="19150"/>
                    <a:pt x="14281" y="19261"/>
                    <a:pt x="13889" y="19258"/>
                  </a:cubicBezTo>
                  <a:lnTo>
                    <a:pt x="7450" y="19258"/>
                  </a:lnTo>
                  <a:cubicBezTo>
                    <a:pt x="7120" y="19249"/>
                    <a:pt x="6797" y="19147"/>
                    <a:pt x="6511" y="18963"/>
                  </a:cubicBezTo>
                  <a:cubicBezTo>
                    <a:pt x="6213" y="18770"/>
                    <a:pt x="5964" y="18493"/>
                    <a:pt x="5792" y="18161"/>
                  </a:cubicBezTo>
                  <a:lnTo>
                    <a:pt x="2530" y="11819"/>
                  </a:lnTo>
                  <a:cubicBezTo>
                    <a:pt x="2391" y="11477"/>
                    <a:pt x="2323" y="11105"/>
                    <a:pt x="2328" y="10730"/>
                  </a:cubicBezTo>
                  <a:cubicBezTo>
                    <a:pt x="2333" y="10382"/>
                    <a:pt x="2402" y="10040"/>
                    <a:pt x="2530" y="9723"/>
                  </a:cubicBezTo>
                  <a:lnTo>
                    <a:pt x="5903" y="3295"/>
                  </a:lnTo>
                  <a:cubicBezTo>
                    <a:pt x="6087" y="2986"/>
                    <a:pt x="6340" y="2735"/>
                    <a:pt x="6637" y="2565"/>
                  </a:cubicBezTo>
                  <a:cubicBezTo>
                    <a:pt x="6918" y="2405"/>
                    <a:pt x="7232" y="2323"/>
                    <a:pt x="7548" y="2327"/>
                  </a:cubicBezTo>
                  <a:close/>
                </a:path>
              </a:pathLst>
            </a:custGeom>
            <a:solidFill>
              <a:schemeClr val="bg1">
                <a:lumMod val="8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endParaRPr>
            </a:p>
          </p:txBody>
        </p:sp>
        <p:sp>
          <p:nvSpPr>
            <p:cNvPr id="41" name="ïṣľiḓè">
              <a:extLst>
                <a:ext uri="{FF2B5EF4-FFF2-40B4-BE49-F238E27FC236}">
                  <a16:creationId xmlns:a16="http://schemas.microsoft.com/office/drawing/2014/main" id="{7A20C0E7-7DCE-4AB9-865E-49E817C227F4}"/>
                </a:ext>
              </a:extLst>
            </p:cNvPr>
            <p:cNvSpPr/>
            <p:nvPr/>
          </p:nvSpPr>
          <p:spPr bwMode="auto">
            <a:xfrm>
              <a:off x="4358496" y="2401989"/>
              <a:ext cx="1311145" cy="118010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7" y="1"/>
                  </a:moveTo>
                  <a:cubicBezTo>
                    <a:pt x="6253" y="-5"/>
                    <a:pt x="5853" y="101"/>
                    <a:pt x="5494" y="306"/>
                  </a:cubicBezTo>
                  <a:cubicBezTo>
                    <a:pt x="5116" y="522"/>
                    <a:pt x="4795" y="842"/>
                    <a:pt x="4561" y="1236"/>
                  </a:cubicBezTo>
                  <a:lnTo>
                    <a:pt x="259" y="9428"/>
                  </a:lnTo>
                  <a:cubicBezTo>
                    <a:pt x="96" y="9832"/>
                    <a:pt x="7" y="10271"/>
                    <a:pt x="1" y="10714"/>
                  </a:cubicBezTo>
                  <a:cubicBezTo>
                    <a:pt x="-6" y="11192"/>
                    <a:pt x="83" y="11664"/>
                    <a:pt x="259" y="12100"/>
                  </a:cubicBezTo>
                  <a:lnTo>
                    <a:pt x="4419" y="20185"/>
                  </a:lnTo>
                  <a:cubicBezTo>
                    <a:pt x="4638" y="20609"/>
                    <a:pt x="4953" y="20962"/>
                    <a:pt x="5334" y="21208"/>
                  </a:cubicBezTo>
                  <a:cubicBezTo>
                    <a:pt x="5698" y="21443"/>
                    <a:pt x="6110" y="21572"/>
                    <a:pt x="6531" y="21584"/>
                  </a:cubicBezTo>
                  <a:lnTo>
                    <a:pt x="14739" y="21584"/>
                  </a:lnTo>
                  <a:cubicBezTo>
                    <a:pt x="15238" y="21588"/>
                    <a:pt x="15730" y="21446"/>
                    <a:pt x="16164" y="21172"/>
                  </a:cubicBezTo>
                  <a:cubicBezTo>
                    <a:pt x="16546" y="20929"/>
                    <a:pt x="16872" y="20591"/>
                    <a:pt x="17115" y="20183"/>
                  </a:cubicBezTo>
                  <a:lnTo>
                    <a:pt x="21228" y="12302"/>
                  </a:lnTo>
                  <a:cubicBezTo>
                    <a:pt x="21468" y="11849"/>
                    <a:pt x="21594" y="11332"/>
                    <a:pt x="21593" y="10807"/>
                  </a:cubicBezTo>
                  <a:cubicBezTo>
                    <a:pt x="21593" y="10284"/>
                    <a:pt x="21467" y="9771"/>
                    <a:pt x="21228" y="9321"/>
                  </a:cubicBezTo>
                  <a:lnTo>
                    <a:pt x="17012" y="1258"/>
                  </a:lnTo>
                  <a:cubicBezTo>
                    <a:pt x="16793" y="865"/>
                    <a:pt x="16486" y="543"/>
                    <a:pt x="16120" y="322"/>
                  </a:cubicBezTo>
                  <a:cubicBezTo>
                    <a:pt x="15750" y="99"/>
                    <a:pt x="15333" y="-12"/>
                    <a:pt x="14912" y="1"/>
                  </a:cubicBezTo>
                  <a:lnTo>
                    <a:pt x="6657" y="1"/>
                  </a:lnTo>
                  <a:close/>
                  <a:moveTo>
                    <a:pt x="7548" y="2327"/>
                  </a:moveTo>
                  <a:lnTo>
                    <a:pt x="14024" y="2327"/>
                  </a:lnTo>
                  <a:cubicBezTo>
                    <a:pt x="14354" y="2317"/>
                    <a:pt x="14681" y="2404"/>
                    <a:pt x="14972" y="2579"/>
                  </a:cubicBezTo>
                  <a:cubicBezTo>
                    <a:pt x="15259" y="2752"/>
                    <a:pt x="15501" y="3005"/>
                    <a:pt x="15673" y="3313"/>
                  </a:cubicBezTo>
                  <a:lnTo>
                    <a:pt x="18979" y="9638"/>
                  </a:lnTo>
                  <a:cubicBezTo>
                    <a:pt x="19166" y="9991"/>
                    <a:pt x="19266" y="10395"/>
                    <a:pt x="19266" y="10804"/>
                  </a:cubicBezTo>
                  <a:cubicBezTo>
                    <a:pt x="19267" y="11217"/>
                    <a:pt x="19167" y="11622"/>
                    <a:pt x="18979" y="11977"/>
                  </a:cubicBezTo>
                  <a:lnTo>
                    <a:pt x="15754" y="18159"/>
                  </a:lnTo>
                  <a:cubicBezTo>
                    <a:pt x="15563" y="18478"/>
                    <a:pt x="15307" y="18744"/>
                    <a:pt x="15007" y="18935"/>
                  </a:cubicBezTo>
                  <a:cubicBezTo>
                    <a:pt x="14666" y="19150"/>
                    <a:pt x="14281" y="19261"/>
                    <a:pt x="13889" y="19258"/>
                  </a:cubicBezTo>
                  <a:lnTo>
                    <a:pt x="7450" y="19258"/>
                  </a:lnTo>
                  <a:cubicBezTo>
                    <a:pt x="7120" y="19249"/>
                    <a:pt x="6797" y="19147"/>
                    <a:pt x="6511" y="18963"/>
                  </a:cubicBezTo>
                  <a:cubicBezTo>
                    <a:pt x="6213" y="18770"/>
                    <a:pt x="5964" y="18493"/>
                    <a:pt x="5792" y="18161"/>
                  </a:cubicBezTo>
                  <a:lnTo>
                    <a:pt x="2530" y="11819"/>
                  </a:lnTo>
                  <a:cubicBezTo>
                    <a:pt x="2391" y="11477"/>
                    <a:pt x="2323" y="11105"/>
                    <a:pt x="2328" y="10730"/>
                  </a:cubicBezTo>
                  <a:cubicBezTo>
                    <a:pt x="2333" y="10382"/>
                    <a:pt x="2402" y="10040"/>
                    <a:pt x="2530" y="9723"/>
                  </a:cubicBezTo>
                  <a:lnTo>
                    <a:pt x="5905" y="3295"/>
                  </a:lnTo>
                  <a:cubicBezTo>
                    <a:pt x="6089" y="2986"/>
                    <a:pt x="6342" y="2735"/>
                    <a:pt x="6639" y="2565"/>
                  </a:cubicBezTo>
                  <a:cubicBezTo>
                    <a:pt x="6920" y="2405"/>
                    <a:pt x="7232" y="2323"/>
                    <a:pt x="7548" y="2327"/>
                  </a:cubicBezTo>
                  <a:close/>
                </a:path>
              </a:pathLst>
            </a:custGeom>
            <a:solidFill>
              <a:schemeClr val="bg1">
                <a:lumMod val="8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endParaRPr>
            </a:p>
          </p:txBody>
        </p:sp>
        <p:sp>
          <p:nvSpPr>
            <p:cNvPr id="42" name="ïŝḻiḋé">
              <a:extLst>
                <a:ext uri="{FF2B5EF4-FFF2-40B4-BE49-F238E27FC236}">
                  <a16:creationId xmlns:a16="http://schemas.microsoft.com/office/drawing/2014/main" id="{71640B4D-2073-4AD8-95B7-AABF36C72241}"/>
                </a:ext>
              </a:extLst>
            </p:cNvPr>
            <p:cNvSpPr/>
            <p:nvPr/>
          </p:nvSpPr>
          <p:spPr bwMode="auto">
            <a:xfrm>
              <a:off x="5439707" y="3045815"/>
              <a:ext cx="1311146" cy="118010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7" y="1"/>
                  </a:moveTo>
                  <a:cubicBezTo>
                    <a:pt x="6253" y="-5"/>
                    <a:pt x="5853" y="101"/>
                    <a:pt x="5494" y="306"/>
                  </a:cubicBezTo>
                  <a:cubicBezTo>
                    <a:pt x="5116" y="522"/>
                    <a:pt x="4795" y="842"/>
                    <a:pt x="4561" y="1236"/>
                  </a:cubicBezTo>
                  <a:lnTo>
                    <a:pt x="259" y="9428"/>
                  </a:lnTo>
                  <a:cubicBezTo>
                    <a:pt x="96" y="9832"/>
                    <a:pt x="7" y="10271"/>
                    <a:pt x="1" y="10714"/>
                  </a:cubicBezTo>
                  <a:cubicBezTo>
                    <a:pt x="-6" y="11192"/>
                    <a:pt x="83" y="11664"/>
                    <a:pt x="259" y="12100"/>
                  </a:cubicBezTo>
                  <a:lnTo>
                    <a:pt x="4419" y="20185"/>
                  </a:lnTo>
                  <a:cubicBezTo>
                    <a:pt x="4638" y="20609"/>
                    <a:pt x="4953" y="20962"/>
                    <a:pt x="5334" y="21208"/>
                  </a:cubicBezTo>
                  <a:cubicBezTo>
                    <a:pt x="5698" y="21443"/>
                    <a:pt x="6110" y="21572"/>
                    <a:pt x="6531" y="21584"/>
                  </a:cubicBezTo>
                  <a:lnTo>
                    <a:pt x="14739" y="21584"/>
                  </a:lnTo>
                  <a:cubicBezTo>
                    <a:pt x="15238" y="21588"/>
                    <a:pt x="15730" y="21446"/>
                    <a:pt x="16164" y="21172"/>
                  </a:cubicBezTo>
                  <a:cubicBezTo>
                    <a:pt x="16546" y="20929"/>
                    <a:pt x="16872" y="20591"/>
                    <a:pt x="17115" y="20183"/>
                  </a:cubicBezTo>
                  <a:lnTo>
                    <a:pt x="21228" y="12302"/>
                  </a:lnTo>
                  <a:cubicBezTo>
                    <a:pt x="21468" y="11849"/>
                    <a:pt x="21594" y="11332"/>
                    <a:pt x="21593" y="10807"/>
                  </a:cubicBezTo>
                  <a:cubicBezTo>
                    <a:pt x="21593" y="10284"/>
                    <a:pt x="21467" y="9771"/>
                    <a:pt x="21228" y="9321"/>
                  </a:cubicBezTo>
                  <a:lnTo>
                    <a:pt x="17012" y="1258"/>
                  </a:lnTo>
                  <a:cubicBezTo>
                    <a:pt x="16793" y="865"/>
                    <a:pt x="16486" y="543"/>
                    <a:pt x="16120" y="322"/>
                  </a:cubicBezTo>
                  <a:cubicBezTo>
                    <a:pt x="15750" y="99"/>
                    <a:pt x="15333" y="-12"/>
                    <a:pt x="14912" y="1"/>
                  </a:cubicBezTo>
                  <a:lnTo>
                    <a:pt x="6657" y="1"/>
                  </a:lnTo>
                  <a:close/>
                  <a:moveTo>
                    <a:pt x="7548" y="2327"/>
                  </a:moveTo>
                  <a:lnTo>
                    <a:pt x="14024" y="2327"/>
                  </a:lnTo>
                  <a:cubicBezTo>
                    <a:pt x="14354" y="2317"/>
                    <a:pt x="14681" y="2404"/>
                    <a:pt x="14972" y="2579"/>
                  </a:cubicBezTo>
                  <a:cubicBezTo>
                    <a:pt x="15259" y="2752"/>
                    <a:pt x="15501" y="3005"/>
                    <a:pt x="15673" y="3313"/>
                  </a:cubicBezTo>
                  <a:lnTo>
                    <a:pt x="18979" y="9638"/>
                  </a:lnTo>
                  <a:cubicBezTo>
                    <a:pt x="19166" y="9991"/>
                    <a:pt x="19266" y="10395"/>
                    <a:pt x="19266" y="10804"/>
                  </a:cubicBezTo>
                  <a:cubicBezTo>
                    <a:pt x="19267" y="11217"/>
                    <a:pt x="19167" y="11622"/>
                    <a:pt x="18979" y="11977"/>
                  </a:cubicBezTo>
                  <a:lnTo>
                    <a:pt x="15754" y="18159"/>
                  </a:lnTo>
                  <a:cubicBezTo>
                    <a:pt x="15563" y="18478"/>
                    <a:pt x="15307" y="18744"/>
                    <a:pt x="15007" y="18935"/>
                  </a:cubicBezTo>
                  <a:cubicBezTo>
                    <a:pt x="14666" y="19150"/>
                    <a:pt x="14281" y="19261"/>
                    <a:pt x="13889" y="19258"/>
                  </a:cubicBezTo>
                  <a:lnTo>
                    <a:pt x="7450" y="19258"/>
                  </a:lnTo>
                  <a:cubicBezTo>
                    <a:pt x="7120" y="19249"/>
                    <a:pt x="6797" y="19147"/>
                    <a:pt x="6511" y="18963"/>
                  </a:cubicBezTo>
                  <a:cubicBezTo>
                    <a:pt x="6213" y="18770"/>
                    <a:pt x="5964" y="18493"/>
                    <a:pt x="5792" y="18161"/>
                  </a:cubicBezTo>
                  <a:lnTo>
                    <a:pt x="2530" y="11819"/>
                  </a:lnTo>
                  <a:cubicBezTo>
                    <a:pt x="2391" y="11477"/>
                    <a:pt x="2323" y="11105"/>
                    <a:pt x="2328" y="10730"/>
                  </a:cubicBezTo>
                  <a:cubicBezTo>
                    <a:pt x="2333" y="10382"/>
                    <a:pt x="2402" y="10040"/>
                    <a:pt x="2530" y="9723"/>
                  </a:cubicBezTo>
                  <a:lnTo>
                    <a:pt x="5905" y="3295"/>
                  </a:lnTo>
                  <a:cubicBezTo>
                    <a:pt x="6089" y="2986"/>
                    <a:pt x="6340" y="2735"/>
                    <a:pt x="6637" y="2565"/>
                  </a:cubicBezTo>
                  <a:cubicBezTo>
                    <a:pt x="6918" y="2405"/>
                    <a:pt x="7232" y="2323"/>
                    <a:pt x="7548" y="2327"/>
                  </a:cubicBezTo>
                  <a:close/>
                </a:path>
              </a:pathLst>
            </a:custGeom>
            <a:solidFill>
              <a:schemeClr val="accent1"/>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endParaRPr>
            </a:p>
          </p:txBody>
        </p:sp>
        <p:sp>
          <p:nvSpPr>
            <p:cNvPr id="43" name="iSḻîdè">
              <a:extLst>
                <a:ext uri="{FF2B5EF4-FFF2-40B4-BE49-F238E27FC236}">
                  <a16:creationId xmlns:a16="http://schemas.microsoft.com/office/drawing/2014/main" id="{F5FD3AEA-39BB-455E-B21B-BB51118D3D7E}"/>
                </a:ext>
              </a:extLst>
            </p:cNvPr>
            <p:cNvSpPr/>
            <p:nvPr/>
          </p:nvSpPr>
          <p:spPr bwMode="auto">
            <a:xfrm>
              <a:off x="6518139" y="2401989"/>
              <a:ext cx="1311146" cy="118010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7" y="1"/>
                  </a:moveTo>
                  <a:cubicBezTo>
                    <a:pt x="6253" y="-5"/>
                    <a:pt x="5853" y="101"/>
                    <a:pt x="5494" y="306"/>
                  </a:cubicBezTo>
                  <a:cubicBezTo>
                    <a:pt x="5116" y="522"/>
                    <a:pt x="4795" y="842"/>
                    <a:pt x="4561" y="1236"/>
                  </a:cubicBezTo>
                  <a:lnTo>
                    <a:pt x="259" y="9428"/>
                  </a:lnTo>
                  <a:cubicBezTo>
                    <a:pt x="96" y="9832"/>
                    <a:pt x="7" y="10271"/>
                    <a:pt x="1" y="10714"/>
                  </a:cubicBezTo>
                  <a:cubicBezTo>
                    <a:pt x="-6" y="11192"/>
                    <a:pt x="83" y="11664"/>
                    <a:pt x="259" y="12100"/>
                  </a:cubicBezTo>
                  <a:lnTo>
                    <a:pt x="4419" y="20185"/>
                  </a:lnTo>
                  <a:cubicBezTo>
                    <a:pt x="4638" y="20609"/>
                    <a:pt x="4953" y="20962"/>
                    <a:pt x="5334" y="21208"/>
                  </a:cubicBezTo>
                  <a:cubicBezTo>
                    <a:pt x="5698" y="21443"/>
                    <a:pt x="6110" y="21572"/>
                    <a:pt x="6531" y="21584"/>
                  </a:cubicBezTo>
                  <a:lnTo>
                    <a:pt x="14739" y="21584"/>
                  </a:lnTo>
                  <a:cubicBezTo>
                    <a:pt x="15238" y="21588"/>
                    <a:pt x="15730" y="21446"/>
                    <a:pt x="16164" y="21172"/>
                  </a:cubicBezTo>
                  <a:cubicBezTo>
                    <a:pt x="16546" y="20929"/>
                    <a:pt x="16872" y="20591"/>
                    <a:pt x="17115" y="20183"/>
                  </a:cubicBezTo>
                  <a:lnTo>
                    <a:pt x="21228" y="12302"/>
                  </a:lnTo>
                  <a:cubicBezTo>
                    <a:pt x="21468" y="11849"/>
                    <a:pt x="21594" y="11332"/>
                    <a:pt x="21593" y="10807"/>
                  </a:cubicBezTo>
                  <a:cubicBezTo>
                    <a:pt x="21593" y="10284"/>
                    <a:pt x="21467" y="9771"/>
                    <a:pt x="21228" y="9321"/>
                  </a:cubicBezTo>
                  <a:lnTo>
                    <a:pt x="17012" y="1258"/>
                  </a:lnTo>
                  <a:cubicBezTo>
                    <a:pt x="16793" y="865"/>
                    <a:pt x="16486" y="543"/>
                    <a:pt x="16120" y="322"/>
                  </a:cubicBezTo>
                  <a:cubicBezTo>
                    <a:pt x="15750" y="99"/>
                    <a:pt x="15333" y="-12"/>
                    <a:pt x="14912" y="1"/>
                  </a:cubicBezTo>
                  <a:lnTo>
                    <a:pt x="6657" y="1"/>
                  </a:lnTo>
                  <a:close/>
                  <a:moveTo>
                    <a:pt x="7548" y="2327"/>
                  </a:moveTo>
                  <a:lnTo>
                    <a:pt x="14024" y="2327"/>
                  </a:lnTo>
                  <a:cubicBezTo>
                    <a:pt x="14354" y="2317"/>
                    <a:pt x="14681" y="2404"/>
                    <a:pt x="14972" y="2579"/>
                  </a:cubicBezTo>
                  <a:cubicBezTo>
                    <a:pt x="15259" y="2752"/>
                    <a:pt x="15501" y="3005"/>
                    <a:pt x="15673" y="3313"/>
                  </a:cubicBezTo>
                  <a:lnTo>
                    <a:pt x="18979" y="9638"/>
                  </a:lnTo>
                  <a:cubicBezTo>
                    <a:pt x="19166" y="9991"/>
                    <a:pt x="19265" y="10395"/>
                    <a:pt x="19266" y="10804"/>
                  </a:cubicBezTo>
                  <a:cubicBezTo>
                    <a:pt x="19267" y="11217"/>
                    <a:pt x="19167" y="11622"/>
                    <a:pt x="18979" y="11977"/>
                  </a:cubicBezTo>
                  <a:lnTo>
                    <a:pt x="15754" y="18159"/>
                  </a:lnTo>
                  <a:cubicBezTo>
                    <a:pt x="15563" y="18478"/>
                    <a:pt x="15307" y="18744"/>
                    <a:pt x="15007" y="18935"/>
                  </a:cubicBezTo>
                  <a:cubicBezTo>
                    <a:pt x="14666" y="19150"/>
                    <a:pt x="14281" y="19261"/>
                    <a:pt x="13889" y="19258"/>
                  </a:cubicBezTo>
                  <a:lnTo>
                    <a:pt x="7450" y="19258"/>
                  </a:lnTo>
                  <a:cubicBezTo>
                    <a:pt x="7120" y="19249"/>
                    <a:pt x="6797" y="19147"/>
                    <a:pt x="6511" y="18963"/>
                  </a:cubicBezTo>
                  <a:cubicBezTo>
                    <a:pt x="6213" y="18770"/>
                    <a:pt x="5964" y="18493"/>
                    <a:pt x="5792" y="18161"/>
                  </a:cubicBezTo>
                  <a:lnTo>
                    <a:pt x="2530" y="11819"/>
                  </a:lnTo>
                  <a:cubicBezTo>
                    <a:pt x="2391" y="11477"/>
                    <a:pt x="2323" y="11105"/>
                    <a:pt x="2328" y="10730"/>
                  </a:cubicBezTo>
                  <a:cubicBezTo>
                    <a:pt x="2333" y="10382"/>
                    <a:pt x="2402" y="10040"/>
                    <a:pt x="2530" y="9723"/>
                  </a:cubicBezTo>
                  <a:lnTo>
                    <a:pt x="5905" y="3295"/>
                  </a:lnTo>
                  <a:cubicBezTo>
                    <a:pt x="6089" y="2986"/>
                    <a:pt x="6340" y="2735"/>
                    <a:pt x="6637" y="2565"/>
                  </a:cubicBezTo>
                  <a:cubicBezTo>
                    <a:pt x="6918" y="2405"/>
                    <a:pt x="7232" y="2323"/>
                    <a:pt x="7548" y="2327"/>
                  </a:cubicBezTo>
                  <a:close/>
                </a:path>
              </a:pathLst>
            </a:custGeom>
            <a:solidFill>
              <a:schemeClr val="bg1">
                <a:lumMod val="8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endParaRPr>
            </a:p>
          </p:txBody>
        </p:sp>
        <p:sp>
          <p:nvSpPr>
            <p:cNvPr id="44" name="ïṡlíḋé">
              <a:extLst>
                <a:ext uri="{FF2B5EF4-FFF2-40B4-BE49-F238E27FC236}">
                  <a16:creationId xmlns:a16="http://schemas.microsoft.com/office/drawing/2014/main" id="{D93054A1-C6C4-4189-A4E2-CE5152B1D79E}"/>
                </a:ext>
              </a:extLst>
            </p:cNvPr>
            <p:cNvSpPr/>
            <p:nvPr/>
          </p:nvSpPr>
          <p:spPr bwMode="auto">
            <a:xfrm>
              <a:off x="7599347" y="3045815"/>
              <a:ext cx="1311146" cy="118010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7" y="1"/>
                  </a:moveTo>
                  <a:cubicBezTo>
                    <a:pt x="6253" y="-5"/>
                    <a:pt x="5853" y="101"/>
                    <a:pt x="5494" y="306"/>
                  </a:cubicBezTo>
                  <a:cubicBezTo>
                    <a:pt x="5116" y="522"/>
                    <a:pt x="4795" y="842"/>
                    <a:pt x="4561" y="1236"/>
                  </a:cubicBezTo>
                  <a:lnTo>
                    <a:pt x="259" y="9428"/>
                  </a:lnTo>
                  <a:cubicBezTo>
                    <a:pt x="96" y="9832"/>
                    <a:pt x="7" y="10271"/>
                    <a:pt x="1" y="10714"/>
                  </a:cubicBezTo>
                  <a:cubicBezTo>
                    <a:pt x="-6" y="11192"/>
                    <a:pt x="83" y="11664"/>
                    <a:pt x="259" y="12100"/>
                  </a:cubicBezTo>
                  <a:lnTo>
                    <a:pt x="4419" y="20185"/>
                  </a:lnTo>
                  <a:cubicBezTo>
                    <a:pt x="4638" y="20609"/>
                    <a:pt x="4953" y="20962"/>
                    <a:pt x="5334" y="21208"/>
                  </a:cubicBezTo>
                  <a:cubicBezTo>
                    <a:pt x="5698" y="21443"/>
                    <a:pt x="6110" y="21572"/>
                    <a:pt x="6531" y="21584"/>
                  </a:cubicBezTo>
                  <a:lnTo>
                    <a:pt x="14739" y="21584"/>
                  </a:lnTo>
                  <a:cubicBezTo>
                    <a:pt x="15238" y="21588"/>
                    <a:pt x="15730" y="21446"/>
                    <a:pt x="16164" y="21172"/>
                  </a:cubicBezTo>
                  <a:cubicBezTo>
                    <a:pt x="16546" y="20929"/>
                    <a:pt x="16872" y="20591"/>
                    <a:pt x="17115" y="20183"/>
                  </a:cubicBezTo>
                  <a:lnTo>
                    <a:pt x="21228" y="12302"/>
                  </a:lnTo>
                  <a:cubicBezTo>
                    <a:pt x="21468" y="11849"/>
                    <a:pt x="21594" y="11332"/>
                    <a:pt x="21593" y="10807"/>
                  </a:cubicBezTo>
                  <a:cubicBezTo>
                    <a:pt x="21593" y="10284"/>
                    <a:pt x="21467" y="9771"/>
                    <a:pt x="21228" y="9321"/>
                  </a:cubicBezTo>
                  <a:lnTo>
                    <a:pt x="17012" y="1258"/>
                  </a:lnTo>
                  <a:cubicBezTo>
                    <a:pt x="16793" y="865"/>
                    <a:pt x="16486" y="543"/>
                    <a:pt x="16120" y="322"/>
                  </a:cubicBezTo>
                  <a:cubicBezTo>
                    <a:pt x="15750" y="99"/>
                    <a:pt x="15331" y="-12"/>
                    <a:pt x="14910" y="1"/>
                  </a:cubicBezTo>
                  <a:lnTo>
                    <a:pt x="6657" y="1"/>
                  </a:lnTo>
                  <a:close/>
                  <a:moveTo>
                    <a:pt x="7548" y="2327"/>
                  </a:moveTo>
                  <a:lnTo>
                    <a:pt x="14024" y="2327"/>
                  </a:lnTo>
                  <a:cubicBezTo>
                    <a:pt x="14354" y="2317"/>
                    <a:pt x="14681" y="2404"/>
                    <a:pt x="14972" y="2579"/>
                  </a:cubicBezTo>
                  <a:cubicBezTo>
                    <a:pt x="15259" y="2752"/>
                    <a:pt x="15501" y="3005"/>
                    <a:pt x="15673" y="3313"/>
                  </a:cubicBezTo>
                  <a:lnTo>
                    <a:pt x="18979" y="9638"/>
                  </a:lnTo>
                  <a:cubicBezTo>
                    <a:pt x="19166" y="9991"/>
                    <a:pt x="19266" y="10395"/>
                    <a:pt x="19266" y="10804"/>
                  </a:cubicBezTo>
                  <a:cubicBezTo>
                    <a:pt x="19267" y="11217"/>
                    <a:pt x="19167" y="11622"/>
                    <a:pt x="18979" y="11977"/>
                  </a:cubicBezTo>
                  <a:lnTo>
                    <a:pt x="15754" y="18159"/>
                  </a:lnTo>
                  <a:cubicBezTo>
                    <a:pt x="15563" y="18478"/>
                    <a:pt x="15307" y="18744"/>
                    <a:pt x="15007" y="18935"/>
                  </a:cubicBezTo>
                  <a:cubicBezTo>
                    <a:pt x="14666" y="19150"/>
                    <a:pt x="14281" y="19261"/>
                    <a:pt x="13889" y="19258"/>
                  </a:cubicBezTo>
                  <a:lnTo>
                    <a:pt x="7450" y="19258"/>
                  </a:lnTo>
                  <a:cubicBezTo>
                    <a:pt x="7120" y="19249"/>
                    <a:pt x="6797" y="19147"/>
                    <a:pt x="6511" y="18963"/>
                  </a:cubicBezTo>
                  <a:cubicBezTo>
                    <a:pt x="6213" y="18770"/>
                    <a:pt x="5964" y="18493"/>
                    <a:pt x="5792" y="18161"/>
                  </a:cubicBezTo>
                  <a:lnTo>
                    <a:pt x="2530" y="11819"/>
                  </a:lnTo>
                  <a:cubicBezTo>
                    <a:pt x="2392" y="11477"/>
                    <a:pt x="2323" y="11105"/>
                    <a:pt x="2328" y="10730"/>
                  </a:cubicBezTo>
                  <a:cubicBezTo>
                    <a:pt x="2333" y="10382"/>
                    <a:pt x="2402" y="10040"/>
                    <a:pt x="2530" y="9723"/>
                  </a:cubicBezTo>
                  <a:lnTo>
                    <a:pt x="5903" y="3295"/>
                  </a:lnTo>
                  <a:cubicBezTo>
                    <a:pt x="6087" y="2986"/>
                    <a:pt x="6340" y="2735"/>
                    <a:pt x="6637" y="2565"/>
                  </a:cubicBezTo>
                  <a:cubicBezTo>
                    <a:pt x="6918" y="2405"/>
                    <a:pt x="7232" y="2323"/>
                    <a:pt x="7548" y="2327"/>
                  </a:cubicBezTo>
                  <a:close/>
                </a:path>
              </a:pathLst>
            </a:custGeom>
            <a:solidFill>
              <a:schemeClr val="bg1">
                <a:lumMod val="8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endParaRPr>
            </a:p>
          </p:txBody>
        </p:sp>
        <p:sp>
          <p:nvSpPr>
            <p:cNvPr id="45" name="i$ḷîďé">
              <a:extLst>
                <a:ext uri="{FF2B5EF4-FFF2-40B4-BE49-F238E27FC236}">
                  <a16:creationId xmlns:a16="http://schemas.microsoft.com/office/drawing/2014/main" id="{AFEB7091-24F8-445B-B261-43A79914EFB3}"/>
                </a:ext>
              </a:extLst>
            </p:cNvPr>
            <p:cNvSpPr/>
            <p:nvPr/>
          </p:nvSpPr>
          <p:spPr bwMode="auto">
            <a:xfrm>
              <a:off x="4358496" y="3700670"/>
              <a:ext cx="1311146" cy="118010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5" y="1"/>
                  </a:moveTo>
                  <a:cubicBezTo>
                    <a:pt x="6251" y="-5"/>
                    <a:pt x="5853" y="99"/>
                    <a:pt x="5494" y="304"/>
                  </a:cubicBezTo>
                  <a:cubicBezTo>
                    <a:pt x="5116" y="520"/>
                    <a:pt x="4793" y="840"/>
                    <a:pt x="4559" y="1234"/>
                  </a:cubicBezTo>
                  <a:lnTo>
                    <a:pt x="257" y="9428"/>
                  </a:lnTo>
                  <a:cubicBezTo>
                    <a:pt x="94" y="9832"/>
                    <a:pt x="7" y="10269"/>
                    <a:pt x="1" y="10712"/>
                  </a:cubicBezTo>
                  <a:cubicBezTo>
                    <a:pt x="-6" y="11190"/>
                    <a:pt x="81" y="11664"/>
                    <a:pt x="257" y="12100"/>
                  </a:cubicBezTo>
                  <a:lnTo>
                    <a:pt x="4417" y="20185"/>
                  </a:lnTo>
                  <a:cubicBezTo>
                    <a:pt x="4636" y="20609"/>
                    <a:pt x="4952" y="20960"/>
                    <a:pt x="5332" y="21206"/>
                  </a:cubicBezTo>
                  <a:cubicBezTo>
                    <a:pt x="5696" y="21441"/>
                    <a:pt x="6108" y="21572"/>
                    <a:pt x="6529" y="21584"/>
                  </a:cubicBezTo>
                  <a:lnTo>
                    <a:pt x="14739" y="21584"/>
                  </a:lnTo>
                  <a:cubicBezTo>
                    <a:pt x="15238" y="21588"/>
                    <a:pt x="15728" y="21444"/>
                    <a:pt x="16162" y="21170"/>
                  </a:cubicBezTo>
                  <a:cubicBezTo>
                    <a:pt x="16544" y="20927"/>
                    <a:pt x="16872" y="20589"/>
                    <a:pt x="17115" y="20181"/>
                  </a:cubicBezTo>
                  <a:lnTo>
                    <a:pt x="21226" y="12300"/>
                  </a:lnTo>
                  <a:cubicBezTo>
                    <a:pt x="21466" y="11847"/>
                    <a:pt x="21594" y="11330"/>
                    <a:pt x="21593" y="10805"/>
                  </a:cubicBezTo>
                  <a:cubicBezTo>
                    <a:pt x="21593" y="10282"/>
                    <a:pt x="21465" y="9771"/>
                    <a:pt x="21226" y="9321"/>
                  </a:cubicBezTo>
                  <a:lnTo>
                    <a:pt x="17012" y="1258"/>
                  </a:lnTo>
                  <a:cubicBezTo>
                    <a:pt x="16793" y="865"/>
                    <a:pt x="16484" y="543"/>
                    <a:pt x="16118" y="322"/>
                  </a:cubicBezTo>
                  <a:cubicBezTo>
                    <a:pt x="15748" y="99"/>
                    <a:pt x="15331" y="-12"/>
                    <a:pt x="14910" y="1"/>
                  </a:cubicBezTo>
                  <a:lnTo>
                    <a:pt x="6655" y="1"/>
                  </a:lnTo>
                  <a:close/>
                  <a:moveTo>
                    <a:pt x="7548" y="2327"/>
                  </a:moveTo>
                  <a:lnTo>
                    <a:pt x="14024" y="2327"/>
                  </a:lnTo>
                  <a:cubicBezTo>
                    <a:pt x="14354" y="2317"/>
                    <a:pt x="14681" y="2402"/>
                    <a:pt x="14972" y="2577"/>
                  </a:cubicBezTo>
                  <a:cubicBezTo>
                    <a:pt x="15259" y="2750"/>
                    <a:pt x="15499" y="3005"/>
                    <a:pt x="15671" y="3313"/>
                  </a:cubicBezTo>
                  <a:lnTo>
                    <a:pt x="18979" y="9636"/>
                  </a:lnTo>
                  <a:cubicBezTo>
                    <a:pt x="19166" y="9989"/>
                    <a:pt x="19266" y="10393"/>
                    <a:pt x="19266" y="10802"/>
                  </a:cubicBezTo>
                  <a:cubicBezTo>
                    <a:pt x="19267" y="11215"/>
                    <a:pt x="19167" y="11620"/>
                    <a:pt x="18979" y="11975"/>
                  </a:cubicBezTo>
                  <a:lnTo>
                    <a:pt x="15753" y="18156"/>
                  </a:lnTo>
                  <a:cubicBezTo>
                    <a:pt x="15561" y="18476"/>
                    <a:pt x="15307" y="18742"/>
                    <a:pt x="15007" y="18933"/>
                  </a:cubicBezTo>
                  <a:cubicBezTo>
                    <a:pt x="14666" y="19148"/>
                    <a:pt x="14281" y="19261"/>
                    <a:pt x="13889" y="19258"/>
                  </a:cubicBezTo>
                  <a:lnTo>
                    <a:pt x="7450" y="19258"/>
                  </a:lnTo>
                  <a:cubicBezTo>
                    <a:pt x="7120" y="19249"/>
                    <a:pt x="6797" y="19145"/>
                    <a:pt x="6511" y="18961"/>
                  </a:cubicBezTo>
                  <a:cubicBezTo>
                    <a:pt x="6213" y="18768"/>
                    <a:pt x="5964" y="18493"/>
                    <a:pt x="5792" y="18161"/>
                  </a:cubicBezTo>
                  <a:lnTo>
                    <a:pt x="2530" y="11817"/>
                  </a:lnTo>
                  <a:cubicBezTo>
                    <a:pt x="2392" y="11475"/>
                    <a:pt x="2323" y="11103"/>
                    <a:pt x="2328" y="10728"/>
                  </a:cubicBezTo>
                  <a:cubicBezTo>
                    <a:pt x="2333" y="10380"/>
                    <a:pt x="2402" y="10038"/>
                    <a:pt x="2530" y="9721"/>
                  </a:cubicBezTo>
                  <a:lnTo>
                    <a:pt x="5903" y="3295"/>
                  </a:lnTo>
                  <a:cubicBezTo>
                    <a:pt x="6087" y="2986"/>
                    <a:pt x="6340" y="2735"/>
                    <a:pt x="6637" y="2565"/>
                  </a:cubicBezTo>
                  <a:cubicBezTo>
                    <a:pt x="6918" y="2405"/>
                    <a:pt x="7232" y="2323"/>
                    <a:pt x="7548" y="2327"/>
                  </a:cubicBezTo>
                  <a:close/>
                </a:path>
              </a:pathLst>
            </a:custGeom>
            <a:solidFill>
              <a:schemeClr val="bg1">
                <a:lumMod val="8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endParaRPr>
            </a:p>
          </p:txBody>
        </p:sp>
        <p:sp>
          <p:nvSpPr>
            <p:cNvPr id="46" name="işḷïḓé">
              <a:extLst>
                <a:ext uri="{FF2B5EF4-FFF2-40B4-BE49-F238E27FC236}">
                  <a16:creationId xmlns:a16="http://schemas.microsoft.com/office/drawing/2014/main" id="{C9E4C738-AADF-4191-B75F-D7478ADFF224}"/>
                </a:ext>
              </a:extLst>
            </p:cNvPr>
            <p:cNvSpPr/>
            <p:nvPr/>
          </p:nvSpPr>
          <p:spPr bwMode="auto">
            <a:xfrm>
              <a:off x="6518139" y="3700670"/>
              <a:ext cx="1311146" cy="1180106"/>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5" y="1"/>
                  </a:moveTo>
                  <a:cubicBezTo>
                    <a:pt x="6251" y="-5"/>
                    <a:pt x="5853" y="99"/>
                    <a:pt x="5494" y="304"/>
                  </a:cubicBezTo>
                  <a:cubicBezTo>
                    <a:pt x="5116" y="520"/>
                    <a:pt x="4793" y="840"/>
                    <a:pt x="4559" y="1234"/>
                  </a:cubicBezTo>
                  <a:lnTo>
                    <a:pt x="257" y="9428"/>
                  </a:lnTo>
                  <a:cubicBezTo>
                    <a:pt x="94" y="9832"/>
                    <a:pt x="7" y="10269"/>
                    <a:pt x="1" y="10712"/>
                  </a:cubicBezTo>
                  <a:cubicBezTo>
                    <a:pt x="-6" y="11190"/>
                    <a:pt x="81" y="11664"/>
                    <a:pt x="257" y="12100"/>
                  </a:cubicBezTo>
                  <a:lnTo>
                    <a:pt x="4417" y="20185"/>
                  </a:lnTo>
                  <a:cubicBezTo>
                    <a:pt x="4636" y="20609"/>
                    <a:pt x="4952" y="20960"/>
                    <a:pt x="5332" y="21206"/>
                  </a:cubicBezTo>
                  <a:cubicBezTo>
                    <a:pt x="5696" y="21441"/>
                    <a:pt x="6108" y="21572"/>
                    <a:pt x="6529" y="21584"/>
                  </a:cubicBezTo>
                  <a:lnTo>
                    <a:pt x="14739" y="21584"/>
                  </a:lnTo>
                  <a:cubicBezTo>
                    <a:pt x="15238" y="21588"/>
                    <a:pt x="15728" y="21444"/>
                    <a:pt x="16162" y="21170"/>
                  </a:cubicBezTo>
                  <a:cubicBezTo>
                    <a:pt x="16544" y="20927"/>
                    <a:pt x="16872" y="20589"/>
                    <a:pt x="17115" y="20181"/>
                  </a:cubicBezTo>
                  <a:lnTo>
                    <a:pt x="21226" y="12300"/>
                  </a:lnTo>
                  <a:cubicBezTo>
                    <a:pt x="21466" y="11847"/>
                    <a:pt x="21594" y="11330"/>
                    <a:pt x="21593" y="10805"/>
                  </a:cubicBezTo>
                  <a:cubicBezTo>
                    <a:pt x="21593" y="10282"/>
                    <a:pt x="21465" y="9771"/>
                    <a:pt x="21226" y="9321"/>
                  </a:cubicBezTo>
                  <a:lnTo>
                    <a:pt x="17010" y="1258"/>
                  </a:lnTo>
                  <a:cubicBezTo>
                    <a:pt x="16791" y="865"/>
                    <a:pt x="16484" y="543"/>
                    <a:pt x="16118" y="322"/>
                  </a:cubicBezTo>
                  <a:cubicBezTo>
                    <a:pt x="15748" y="99"/>
                    <a:pt x="15331" y="-12"/>
                    <a:pt x="14910" y="1"/>
                  </a:cubicBezTo>
                  <a:lnTo>
                    <a:pt x="6655" y="1"/>
                  </a:lnTo>
                  <a:close/>
                  <a:moveTo>
                    <a:pt x="7548" y="2327"/>
                  </a:moveTo>
                  <a:lnTo>
                    <a:pt x="14024" y="2327"/>
                  </a:lnTo>
                  <a:cubicBezTo>
                    <a:pt x="14354" y="2317"/>
                    <a:pt x="14681" y="2402"/>
                    <a:pt x="14972" y="2577"/>
                  </a:cubicBezTo>
                  <a:cubicBezTo>
                    <a:pt x="15259" y="2750"/>
                    <a:pt x="15499" y="3005"/>
                    <a:pt x="15671" y="3313"/>
                  </a:cubicBezTo>
                  <a:lnTo>
                    <a:pt x="18979" y="9636"/>
                  </a:lnTo>
                  <a:cubicBezTo>
                    <a:pt x="19166" y="9989"/>
                    <a:pt x="19265" y="10393"/>
                    <a:pt x="19266" y="10802"/>
                  </a:cubicBezTo>
                  <a:cubicBezTo>
                    <a:pt x="19267" y="11215"/>
                    <a:pt x="19167" y="11620"/>
                    <a:pt x="18979" y="11975"/>
                  </a:cubicBezTo>
                  <a:lnTo>
                    <a:pt x="15753" y="18156"/>
                  </a:lnTo>
                  <a:cubicBezTo>
                    <a:pt x="15561" y="18476"/>
                    <a:pt x="15307" y="18742"/>
                    <a:pt x="15007" y="18933"/>
                  </a:cubicBezTo>
                  <a:cubicBezTo>
                    <a:pt x="14666" y="19148"/>
                    <a:pt x="14281" y="19261"/>
                    <a:pt x="13889" y="19258"/>
                  </a:cubicBezTo>
                  <a:lnTo>
                    <a:pt x="7450" y="19258"/>
                  </a:lnTo>
                  <a:cubicBezTo>
                    <a:pt x="7120" y="19249"/>
                    <a:pt x="6797" y="19145"/>
                    <a:pt x="6511" y="18961"/>
                  </a:cubicBezTo>
                  <a:cubicBezTo>
                    <a:pt x="6213" y="18768"/>
                    <a:pt x="5964" y="18493"/>
                    <a:pt x="5792" y="18161"/>
                  </a:cubicBezTo>
                  <a:lnTo>
                    <a:pt x="2530" y="11817"/>
                  </a:lnTo>
                  <a:cubicBezTo>
                    <a:pt x="2391" y="11475"/>
                    <a:pt x="2323" y="11103"/>
                    <a:pt x="2328" y="10728"/>
                  </a:cubicBezTo>
                  <a:cubicBezTo>
                    <a:pt x="2333" y="10380"/>
                    <a:pt x="2402" y="10038"/>
                    <a:pt x="2530" y="9721"/>
                  </a:cubicBezTo>
                  <a:lnTo>
                    <a:pt x="5903" y="3295"/>
                  </a:lnTo>
                  <a:cubicBezTo>
                    <a:pt x="6087" y="2986"/>
                    <a:pt x="6340" y="2735"/>
                    <a:pt x="6637" y="2565"/>
                  </a:cubicBezTo>
                  <a:cubicBezTo>
                    <a:pt x="6918" y="2405"/>
                    <a:pt x="7232" y="2323"/>
                    <a:pt x="7548" y="2327"/>
                  </a:cubicBezTo>
                  <a:close/>
                </a:path>
              </a:pathLst>
            </a:custGeom>
            <a:solidFill>
              <a:schemeClr val="bg1">
                <a:lumMod val="8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endParaRPr>
            </a:p>
          </p:txBody>
        </p:sp>
        <p:sp>
          <p:nvSpPr>
            <p:cNvPr id="47" name="íSļiḋê">
              <a:extLst>
                <a:ext uri="{FF2B5EF4-FFF2-40B4-BE49-F238E27FC236}">
                  <a16:creationId xmlns:a16="http://schemas.microsoft.com/office/drawing/2014/main" id="{801BE1D1-E063-4492-89C4-359A2E14F064}"/>
                </a:ext>
              </a:extLst>
            </p:cNvPr>
            <p:cNvSpPr/>
            <p:nvPr/>
          </p:nvSpPr>
          <p:spPr bwMode="auto">
            <a:xfrm>
              <a:off x="3521243" y="3265716"/>
              <a:ext cx="822506" cy="740303"/>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lumMod val="9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600" i="1" u="sng"/>
                <a:t>T</a:t>
              </a:r>
              <a:r>
                <a:rPr lang="en-US" altLang="zh-CN" sz="100" i="1" u="sng"/>
                <a:t> </a:t>
              </a:r>
              <a:r>
                <a:rPr lang="en-US" altLang="zh-CN" sz="1600" i="1" u="sng"/>
                <a:t>ext</a:t>
              </a:r>
              <a:endParaRPr lang="id-ID" altLang="zh-CN" sz="1600" i="1" u="sng" dirty="0"/>
            </a:p>
          </p:txBody>
        </p:sp>
        <p:sp>
          <p:nvSpPr>
            <p:cNvPr id="48" name="îṡľiďé">
              <a:extLst>
                <a:ext uri="{FF2B5EF4-FFF2-40B4-BE49-F238E27FC236}">
                  <a16:creationId xmlns:a16="http://schemas.microsoft.com/office/drawing/2014/main" id="{6B78A784-8893-4A52-92D6-0C508C9A0EEA}"/>
                </a:ext>
              </a:extLst>
            </p:cNvPr>
            <p:cNvSpPr/>
            <p:nvPr/>
          </p:nvSpPr>
          <p:spPr bwMode="auto">
            <a:xfrm>
              <a:off x="3149600" y="2797568"/>
              <a:ext cx="181406" cy="533816"/>
            </a:xfrm>
            <a:custGeom>
              <a:avLst/>
              <a:gdLst>
                <a:gd name="T0" fmla="+- 0 11496 1393"/>
                <a:gd name="T1" fmla="*/ T0 w 20207"/>
                <a:gd name="T2" fmla="*/ 10800 h 21600"/>
                <a:gd name="T3" fmla="+- 0 11496 1393"/>
                <a:gd name="T4" fmla="*/ T3 w 20207"/>
                <a:gd name="T5" fmla="*/ 10800 h 21600"/>
                <a:gd name="T6" fmla="+- 0 11496 1393"/>
                <a:gd name="T7" fmla="*/ T6 w 20207"/>
                <a:gd name="T8" fmla="*/ 10800 h 21600"/>
                <a:gd name="T9" fmla="+- 0 11496 1393"/>
                <a:gd name="T10" fmla="*/ T9 w 20207"/>
                <a:gd name="T11" fmla="*/ 10800 h 21600"/>
              </a:gdLst>
              <a:ahLst/>
              <a:cxnLst>
                <a:cxn ang="0">
                  <a:pos x="T1" y="T2"/>
                </a:cxn>
                <a:cxn ang="0">
                  <a:pos x="T4" y="T5"/>
                </a:cxn>
                <a:cxn ang="0">
                  <a:pos x="T7" y="T8"/>
                </a:cxn>
                <a:cxn ang="0">
                  <a:pos x="T10" y="T11"/>
                </a:cxn>
              </a:cxnLst>
              <a:rect l="0" t="0" r="r" b="b"/>
              <a:pathLst>
                <a:path w="20207" h="21600">
                  <a:moveTo>
                    <a:pt x="6664" y="0"/>
                  </a:moveTo>
                  <a:cubicBezTo>
                    <a:pt x="663" y="3444"/>
                    <a:pt x="-1393" y="7604"/>
                    <a:pt x="937" y="11591"/>
                  </a:cubicBezTo>
                  <a:cubicBezTo>
                    <a:pt x="3360" y="15738"/>
                    <a:pt x="10314" y="19350"/>
                    <a:pt x="20207" y="21600"/>
                  </a:cubicBezTo>
                </a:path>
              </a:pathLst>
            </a:custGeom>
            <a:noFill/>
            <a:ln w="19050" cap="flat" cmpd="sng">
              <a:solidFill>
                <a:schemeClr val="bg1">
                  <a:lumMod val="75000"/>
                </a:schemeClr>
              </a:solidFill>
              <a:prstDash val="solid"/>
              <a:miter lim="400000"/>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A6AAA9"/>
                </a:solidFill>
              </a:endParaRPr>
            </a:p>
          </p:txBody>
        </p:sp>
        <p:sp>
          <p:nvSpPr>
            <p:cNvPr id="49" name="î$ļíde">
              <a:extLst>
                <a:ext uri="{FF2B5EF4-FFF2-40B4-BE49-F238E27FC236}">
                  <a16:creationId xmlns:a16="http://schemas.microsoft.com/office/drawing/2014/main" id="{B14E357E-E662-4335-8280-A6860AD87DB1}"/>
                </a:ext>
              </a:extLst>
            </p:cNvPr>
            <p:cNvSpPr/>
            <p:nvPr/>
          </p:nvSpPr>
          <p:spPr bwMode="auto">
            <a:xfrm rot="10277900">
              <a:off x="8848717" y="3962654"/>
              <a:ext cx="180983" cy="533816"/>
            </a:xfrm>
            <a:custGeom>
              <a:avLst/>
              <a:gdLst>
                <a:gd name="T0" fmla="+- 0 11496 1393"/>
                <a:gd name="T1" fmla="*/ T0 w 20207"/>
                <a:gd name="T2" fmla="*/ 10800 h 21600"/>
                <a:gd name="T3" fmla="+- 0 11496 1393"/>
                <a:gd name="T4" fmla="*/ T3 w 20207"/>
                <a:gd name="T5" fmla="*/ 10800 h 21600"/>
                <a:gd name="T6" fmla="+- 0 11496 1393"/>
                <a:gd name="T7" fmla="*/ T6 w 20207"/>
                <a:gd name="T8" fmla="*/ 10800 h 21600"/>
                <a:gd name="T9" fmla="+- 0 11496 1393"/>
                <a:gd name="T10" fmla="*/ T9 w 20207"/>
                <a:gd name="T11" fmla="*/ 10800 h 21600"/>
              </a:gdLst>
              <a:ahLst/>
              <a:cxnLst>
                <a:cxn ang="0">
                  <a:pos x="T1" y="T2"/>
                </a:cxn>
                <a:cxn ang="0">
                  <a:pos x="T4" y="T5"/>
                </a:cxn>
                <a:cxn ang="0">
                  <a:pos x="T7" y="T8"/>
                </a:cxn>
                <a:cxn ang="0">
                  <a:pos x="T10" y="T11"/>
                </a:cxn>
              </a:cxnLst>
              <a:rect l="0" t="0" r="r" b="b"/>
              <a:pathLst>
                <a:path w="20207" h="21600">
                  <a:moveTo>
                    <a:pt x="6664" y="0"/>
                  </a:moveTo>
                  <a:cubicBezTo>
                    <a:pt x="663" y="3444"/>
                    <a:pt x="-1393" y="7604"/>
                    <a:pt x="937" y="11591"/>
                  </a:cubicBezTo>
                  <a:cubicBezTo>
                    <a:pt x="3360" y="15738"/>
                    <a:pt x="10314" y="19350"/>
                    <a:pt x="20207" y="21600"/>
                  </a:cubicBezTo>
                </a:path>
              </a:pathLst>
            </a:custGeom>
            <a:noFill/>
            <a:ln w="19050" cap="flat" cmpd="sng">
              <a:solidFill>
                <a:schemeClr val="bg1">
                  <a:lumMod val="75000"/>
                </a:schemeClr>
              </a:solidFill>
              <a:prstDash val="solid"/>
              <a:miter lim="400000"/>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A6AAA9"/>
                </a:solidFill>
              </a:endParaRPr>
            </a:p>
          </p:txBody>
        </p:sp>
        <p:sp>
          <p:nvSpPr>
            <p:cNvPr id="50" name="ïṡľïdé">
              <a:extLst>
                <a:ext uri="{FF2B5EF4-FFF2-40B4-BE49-F238E27FC236}">
                  <a16:creationId xmlns:a16="http://schemas.microsoft.com/office/drawing/2014/main" id="{8DB5C5CC-E0D7-48B5-8292-E19F1720323D}"/>
                </a:ext>
              </a:extLst>
            </p:cNvPr>
            <p:cNvSpPr/>
            <p:nvPr/>
          </p:nvSpPr>
          <p:spPr bwMode="auto">
            <a:xfrm flipV="1">
              <a:off x="6095279" y="4331433"/>
              <a:ext cx="0" cy="203402"/>
            </a:xfrm>
            <a:prstGeom prst="line">
              <a:avLst/>
            </a:prstGeom>
            <a:noFill/>
            <a:ln w="19050" cap="flat" cmpd="sng">
              <a:solidFill>
                <a:schemeClr val="bg1">
                  <a:lumMod val="75000"/>
                </a:schemeClr>
              </a:solidFill>
              <a:prstDash val="solid"/>
              <a:round/>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endParaRPr>
            </a:p>
          </p:txBody>
        </p:sp>
        <p:sp>
          <p:nvSpPr>
            <p:cNvPr id="51" name="ïṩḷiďè">
              <a:extLst>
                <a:ext uri="{FF2B5EF4-FFF2-40B4-BE49-F238E27FC236}">
                  <a16:creationId xmlns:a16="http://schemas.microsoft.com/office/drawing/2014/main" id="{D7FAD30C-F89F-456C-9561-9A26919D73EA}"/>
                </a:ext>
              </a:extLst>
            </p:cNvPr>
            <p:cNvSpPr/>
            <p:nvPr/>
          </p:nvSpPr>
          <p:spPr bwMode="auto">
            <a:xfrm flipV="1">
              <a:off x="6095279" y="2758146"/>
              <a:ext cx="0" cy="203402"/>
            </a:xfrm>
            <a:prstGeom prst="line">
              <a:avLst/>
            </a:prstGeom>
            <a:noFill/>
            <a:ln w="19050" cap="flat" cmpd="sng">
              <a:solidFill>
                <a:schemeClr val="bg1">
                  <a:lumMod val="75000"/>
                </a:schemeClr>
              </a:solidFill>
              <a:prstDash val="solid"/>
              <a:round/>
              <a:headEnd type="triangl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endParaRPr>
            </a:p>
          </p:txBody>
        </p:sp>
        <p:sp>
          <p:nvSpPr>
            <p:cNvPr id="52" name="ïṩlíḋê">
              <a:extLst>
                <a:ext uri="{FF2B5EF4-FFF2-40B4-BE49-F238E27FC236}">
                  <a16:creationId xmlns:a16="http://schemas.microsoft.com/office/drawing/2014/main" id="{5E1EBFB7-DEAD-422D-A4BC-8D8ACF8A943D}"/>
                </a:ext>
              </a:extLst>
            </p:cNvPr>
            <p:cNvSpPr/>
            <p:nvPr/>
          </p:nvSpPr>
          <p:spPr bwMode="auto">
            <a:xfrm>
              <a:off x="7197552" y="2134884"/>
              <a:ext cx="813670" cy="227091"/>
            </a:xfrm>
            <a:custGeom>
              <a:avLst/>
              <a:gdLst>
                <a:gd name="T0" fmla="*/ 10800 w 21600"/>
                <a:gd name="T1" fmla="+- 0 11878 2157"/>
                <a:gd name="T2" fmla="*/ 11878 h 19443"/>
                <a:gd name="T3" fmla="*/ 10800 w 21600"/>
                <a:gd name="T4" fmla="+- 0 11878 2157"/>
                <a:gd name="T5" fmla="*/ 11878 h 19443"/>
                <a:gd name="T6" fmla="*/ 10800 w 21600"/>
                <a:gd name="T7" fmla="+- 0 11878 2157"/>
                <a:gd name="T8" fmla="*/ 11878 h 19443"/>
                <a:gd name="T9" fmla="*/ 10800 w 21600"/>
                <a:gd name="T10" fmla="+- 0 11878 2157"/>
                <a:gd name="T11" fmla="*/ 11878 h 19443"/>
              </a:gdLst>
              <a:ahLst/>
              <a:cxnLst>
                <a:cxn ang="0">
                  <a:pos x="T0" y="T2"/>
                </a:cxn>
                <a:cxn ang="0">
                  <a:pos x="T3" y="T5"/>
                </a:cxn>
                <a:cxn ang="0">
                  <a:pos x="T6" y="T8"/>
                </a:cxn>
                <a:cxn ang="0">
                  <a:pos x="T9" y="T11"/>
                </a:cxn>
              </a:cxnLst>
              <a:rect l="0" t="0" r="r" b="b"/>
              <a:pathLst>
                <a:path w="21600" h="19443">
                  <a:moveTo>
                    <a:pt x="21600" y="10269"/>
                  </a:moveTo>
                  <a:cubicBezTo>
                    <a:pt x="17881" y="1095"/>
                    <a:pt x="13075" y="-2157"/>
                    <a:pt x="8526" y="1425"/>
                  </a:cubicBezTo>
                  <a:cubicBezTo>
                    <a:pt x="5128" y="4102"/>
                    <a:pt x="2118" y="10463"/>
                    <a:pt x="0" y="19443"/>
                  </a:cubicBezTo>
                </a:path>
              </a:pathLst>
            </a:custGeom>
            <a:noFill/>
            <a:ln w="19050" cap="flat" cmpd="sng">
              <a:solidFill>
                <a:schemeClr val="bg1">
                  <a:lumMod val="75000"/>
                </a:schemeClr>
              </a:solidFill>
              <a:prstDash val="solid"/>
              <a:miter lim="400000"/>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fontScale="7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endParaRPr>
            </a:p>
          </p:txBody>
        </p:sp>
        <p:sp>
          <p:nvSpPr>
            <p:cNvPr id="53" name="îṥ1íďê">
              <a:extLst>
                <a:ext uri="{FF2B5EF4-FFF2-40B4-BE49-F238E27FC236}">
                  <a16:creationId xmlns:a16="http://schemas.microsoft.com/office/drawing/2014/main" id="{32FA26BC-EE1E-4CAF-9B2D-A03978CB35F3}"/>
                </a:ext>
              </a:extLst>
            </p:cNvPr>
            <p:cNvSpPr/>
            <p:nvPr/>
          </p:nvSpPr>
          <p:spPr bwMode="auto">
            <a:xfrm>
              <a:off x="4140181" y="4924512"/>
              <a:ext cx="855071" cy="205004"/>
            </a:xfrm>
            <a:custGeom>
              <a:avLst/>
              <a:gdLst>
                <a:gd name="T0" fmla="*/ 10800 w 21600"/>
                <a:gd name="T1" fmla="*/ 10285 h 20570"/>
                <a:gd name="T2" fmla="*/ 10800 w 21600"/>
                <a:gd name="T3" fmla="*/ 10285 h 20570"/>
                <a:gd name="T4" fmla="*/ 10800 w 21600"/>
                <a:gd name="T5" fmla="*/ 10285 h 20570"/>
                <a:gd name="T6" fmla="*/ 10800 w 21600"/>
                <a:gd name="T7" fmla="*/ 10285 h 20570"/>
              </a:gdLst>
              <a:ahLst/>
              <a:cxnLst>
                <a:cxn ang="0">
                  <a:pos x="T0" y="T1"/>
                </a:cxn>
                <a:cxn ang="0">
                  <a:pos x="T2" y="T3"/>
                </a:cxn>
                <a:cxn ang="0">
                  <a:pos x="T4" y="T5"/>
                </a:cxn>
                <a:cxn ang="0">
                  <a:pos x="T6" y="T7"/>
                </a:cxn>
              </a:cxnLst>
              <a:rect l="0" t="0" r="r" b="b"/>
              <a:pathLst>
                <a:path w="21600" h="20570">
                  <a:moveTo>
                    <a:pt x="0" y="11524"/>
                  </a:moveTo>
                  <a:cubicBezTo>
                    <a:pt x="3205" y="18556"/>
                    <a:pt x="6868" y="21600"/>
                    <a:pt x="10513" y="20262"/>
                  </a:cubicBezTo>
                  <a:cubicBezTo>
                    <a:pt x="14683" y="18731"/>
                    <a:pt x="18595" y="11582"/>
                    <a:pt x="21600" y="0"/>
                  </a:cubicBezTo>
                </a:path>
              </a:pathLst>
            </a:custGeom>
            <a:noFill/>
            <a:ln w="19050" cap="flat" cmpd="sng">
              <a:solidFill>
                <a:schemeClr val="bg1">
                  <a:lumMod val="75000"/>
                </a:schemeClr>
              </a:solidFill>
              <a:prstDash val="solid"/>
              <a:miter lim="400000"/>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fontScale="5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zh-CN" sz="1600">
                <a:solidFill>
                  <a:srgbClr val="000000"/>
                </a:solidFill>
              </a:endParaRPr>
            </a:p>
          </p:txBody>
        </p:sp>
        <p:sp>
          <p:nvSpPr>
            <p:cNvPr id="54" name="íşliḓê">
              <a:extLst>
                <a:ext uri="{FF2B5EF4-FFF2-40B4-BE49-F238E27FC236}">
                  <a16:creationId xmlns:a16="http://schemas.microsoft.com/office/drawing/2014/main" id="{440BD3B9-1B86-4154-A219-34D353FC7CC4}"/>
                </a:ext>
              </a:extLst>
            </p:cNvPr>
            <p:cNvSpPr/>
            <p:nvPr/>
          </p:nvSpPr>
          <p:spPr bwMode="auto">
            <a:xfrm>
              <a:off x="6762459" y="3920572"/>
              <a:ext cx="822506" cy="740303"/>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lumMod val="9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600" i="1" u="sng"/>
                <a:t>T</a:t>
              </a:r>
              <a:r>
                <a:rPr lang="en-US" altLang="zh-CN" sz="100" i="1" u="sng"/>
                <a:t> </a:t>
              </a:r>
              <a:r>
                <a:rPr lang="en-US" altLang="zh-CN" sz="1600" i="1" u="sng"/>
                <a:t>ext</a:t>
              </a:r>
              <a:endParaRPr lang="id-ID" altLang="zh-CN" sz="1600" i="1" u="sng" dirty="0"/>
            </a:p>
          </p:txBody>
        </p:sp>
        <p:sp>
          <p:nvSpPr>
            <p:cNvPr id="55" name="išḷîḓè">
              <a:extLst>
                <a:ext uri="{FF2B5EF4-FFF2-40B4-BE49-F238E27FC236}">
                  <a16:creationId xmlns:a16="http://schemas.microsoft.com/office/drawing/2014/main" id="{0D72C337-D823-4CF1-A4C7-D6BD1740E745}"/>
                </a:ext>
              </a:extLst>
            </p:cNvPr>
            <p:cNvSpPr/>
            <p:nvPr/>
          </p:nvSpPr>
          <p:spPr bwMode="auto">
            <a:xfrm>
              <a:off x="4602816" y="2621891"/>
              <a:ext cx="822506" cy="740303"/>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lumMod val="9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600" i="1" u="sng"/>
                <a:t>T</a:t>
              </a:r>
              <a:r>
                <a:rPr lang="en-US" altLang="zh-CN" sz="100" i="1" u="sng"/>
                <a:t> </a:t>
              </a:r>
              <a:r>
                <a:rPr lang="en-US" altLang="zh-CN" sz="1600" i="1" u="sng"/>
                <a:t>ext</a:t>
              </a:r>
              <a:endParaRPr lang="id-ID" altLang="zh-CN" sz="1600" i="1" u="sng" dirty="0"/>
            </a:p>
          </p:txBody>
        </p:sp>
        <p:sp>
          <p:nvSpPr>
            <p:cNvPr id="56" name="íṥ1ïḍê">
              <a:extLst>
                <a:ext uri="{FF2B5EF4-FFF2-40B4-BE49-F238E27FC236}">
                  <a16:creationId xmlns:a16="http://schemas.microsoft.com/office/drawing/2014/main" id="{3486A40D-1CA2-400A-B122-A618A78D8831}"/>
                </a:ext>
              </a:extLst>
            </p:cNvPr>
            <p:cNvSpPr/>
            <p:nvPr/>
          </p:nvSpPr>
          <p:spPr bwMode="auto">
            <a:xfrm>
              <a:off x="5684027" y="3265717"/>
              <a:ext cx="822506" cy="740303"/>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lumMod val="9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id-ID" altLang="zh-CN" sz="1600" i="1" u="sng" dirty="0"/>
            </a:p>
          </p:txBody>
        </p:sp>
        <p:sp>
          <p:nvSpPr>
            <p:cNvPr id="57" name="íśľïḋè">
              <a:extLst>
                <a:ext uri="{FF2B5EF4-FFF2-40B4-BE49-F238E27FC236}">
                  <a16:creationId xmlns:a16="http://schemas.microsoft.com/office/drawing/2014/main" id="{1F2F09B5-26CD-41AC-B3D9-A3995934E1F5}"/>
                </a:ext>
              </a:extLst>
            </p:cNvPr>
            <p:cNvSpPr/>
            <p:nvPr/>
          </p:nvSpPr>
          <p:spPr bwMode="auto">
            <a:xfrm>
              <a:off x="7843667" y="3265717"/>
              <a:ext cx="822506" cy="740303"/>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lumMod val="9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600" i="1" u="sng"/>
                <a:t>T</a:t>
              </a:r>
              <a:r>
                <a:rPr lang="en-US" altLang="zh-CN" sz="100" i="1" u="sng"/>
                <a:t> </a:t>
              </a:r>
              <a:r>
                <a:rPr lang="en-US" altLang="zh-CN" sz="1600" i="1" u="sng"/>
                <a:t>ext</a:t>
              </a:r>
              <a:endParaRPr lang="id-ID" altLang="zh-CN" sz="1600" i="1" u="sng" dirty="0"/>
            </a:p>
          </p:txBody>
        </p:sp>
        <p:sp>
          <p:nvSpPr>
            <p:cNvPr id="58" name="íṩḻîḑé">
              <a:extLst>
                <a:ext uri="{FF2B5EF4-FFF2-40B4-BE49-F238E27FC236}">
                  <a16:creationId xmlns:a16="http://schemas.microsoft.com/office/drawing/2014/main" id="{58B1F123-4A7B-45D2-8324-893A7AB2B153}"/>
                </a:ext>
              </a:extLst>
            </p:cNvPr>
            <p:cNvSpPr/>
            <p:nvPr/>
          </p:nvSpPr>
          <p:spPr bwMode="auto">
            <a:xfrm>
              <a:off x="4602816" y="3920572"/>
              <a:ext cx="822506" cy="740303"/>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lumMod val="9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600" i="1" u="sng"/>
                <a:t>T</a:t>
              </a:r>
              <a:r>
                <a:rPr lang="en-US" altLang="zh-CN" sz="100" i="1" u="sng"/>
                <a:t> </a:t>
              </a:r>
              <a:r>
                <a:rPr lang="en-US" altLang="zh-CN" sz="1600" i="1" u="sng"/>
                <a:t>ext</a:t>
              </a:r>
              <a:endParaRPr lang="id-ID" altLang="zh-CN" sz="1600" i="1" u="sng" dirty="0"/>
            </a:p>
          </p:txBody>
        </p:sp>
        <p:sp>
          <p:nvSpPr>
            <p:cNvPr id="59" name="iṣľíḍe">
              <a:extLst>
                <a:ext uri="{FF2B5EF4-FFF2-40B4-BE49-F238E27FC236}">
                  <a16:creationId xmlns:a16="http://schemas.microsoft.com/office/drawing/2014/main" id="{54C5AD62-0066-425C-984F-D4B0DB3E6BA0}"/>
                </a:ext>
              </a:extLst>
            </p:cNvPr>
            <p:cNvSpPr/>
            <p:nvPr/>
          </p:nvSpPr>
          <p:spPr bwMode="auto">
            <a:xfrm>
              <a:off x="6762459" y="2621891"/>
              <a:ext cx="822506" cy="740303"/>
            </a:xfrm>
            <a:custGeom>
              <a:avLst/>
              <a:gdLst>
                <a:gd name="T0" fmla="+- 0 10802 6"/>
                <a:gd name="T1" fmla="*/ T0 w 21593"/>
                <a:gd name="T2" fmla="+- 0 10804 12"/>
                <a:gd name="T3" fmla="*/ 10804 h 21584"/>
                <a:gd name="T4" fmla="+- 0 10802 6"/>
                <a:gd name="T5" fmla="*/ T4 w 21593"/>
                <a:gd name="T6" fmla="+- 0 10804 12"/>
                <a:gd name="T7" fmla="*/ 10804 h 21584"/>
                <a:gd name="T8" fmla="+- 0 10802 6"/>
                <a:gd name="T9" fmla="*/ T8 w 21593"/>
                <a:gd name="T10" fmla="+- 0 10804 12"/>
                <a:gd name="T11" fmla="*/ 10804 h 21584"/>
                <a:gd name="T12" fmla="+- 0 10802 6"/>
                <a:gd name="T13" fmla="*/ T12 w 21593"/>
                <a:gd name="T14" fmla="+- 0 10804 12"/>
                <a:gd name="T15" fmla="*/ 10804 h 21584"/>
              </a:gdLst>
              <a:ahLst/>
              <a:cxnLst>
                <a:cxn ang="0">
                  <a:pos x="T1" y="T3"/>
                </a:cxn>
                <a:cxn ang="0">
                  <a:pos x="T5" y="T7"/>
                </a:cxn>
                <a:cxn ang="0">
                  <a:pos x="T9" y="T11"/>
                </a:cxn>
                <a:cxn ang="0">
                  <a:pos x="T13" y="T15"/>
                </a:cxn>
              </a:cxnLst>
              <a:rect l="0" t="0" r="r" b="b"/>
              <a:pathLst>
                <a:path w="21593" h="21584">
                  <a:moveTo>
                    <a:pt x="6656" y="1"/>
                  </a:moveTo>
                  <a:lnTo>
                    <a:pt x="14911" y="1"/>
                  </a:lnTo>
                  <a:cubicBezTo>
                    <a:pt x="15332" y="-12"/>
                    <a:pt x="15749" y="99"/>
                    <a:pt x="16119" y="322"/>
                  </a:cubicBezTo>
                  <a:cubicBezTo>
                    <a:pt x="16485" y="543"/>
                    <a:pt x="16792" y="865"/>
                    <a:pt x="17011" y="1258"/>
                  </a:cubicBezTo>
                  <a:lnTo>
                    <a:pt x="21227" y="9321"/>
                  </a:lnTo>
                  <a:cubicBezTo>
                    <a:pt x="21466" y="9771"/>
                    <a:pt x="21593" y="10284"/>
                    <a:pt x="21593" y="10806"/>
                  </a:cubicBezTo>
                  <a:cubicBezTo>
                    <a:pt x="21594" y="11332"/>
                    <a:pt x="21468" y="11848"/>
                    <a:pt x="21227" y="12301"/>
                  </a:cubicBezTo>
                  <a:lnTo>
                    <a:pt x="17115" y="20182"/>
                  </a:lnTo>
                  <a:cubicBezTo>
                    <a:pt x="16872" y="20590"/>
                    <a:pt x="16545" y="20928"/>
                    <a:pt x="16163" y="21171"/>
                  </a:cubicBezTo>
                  <a:cubicBezTo>
                    <a:pt x="15730" y="21445"/>
                    <a:pt x="15238" y="21588"/>
                    <a:pt x="14739" y="21584"/>
                  </a:cubicBezTo>
                  <a:lnTo>
                    <a:pt x="6530" y="21584"/>
                  </a:lnTo>
                  <a:cubicBezTo>
                    <a:pt x="6109" y="21572"/>
                    <a:pt x="5698" y="21443"/>
                    <a:pt x="5333" y="21207"/>
                  </a:cubicBezTo>
                  <a:cubicBezTo>
                    <a:pt x="4953" y="20962"/>
                    <a:pt x="4637" y="20609"/>
                    <a:pt x="4418" y="20186"/>
                  </a:cubicBezTo>
                  <a:lnTo>
                    <a:pt x="259" y="12100"/>
                  </a:lnTo>
                  <a:cubicBezTo>
                    <a:pt x="82" y="11664"/>
                    <a:pt x="-6" y="11190"/>
                    <a:pt x="1" y="10712"/>
                  </a:cubicBezTo>
                  <a:cubicBezTo>
                    <a:pt x="7" y="10269"/>
                    <a:pt x="95" y="9832"/>
                    <a:pt x="259" y="9428"/>
                  </a:cubicBezTo>
                  <a:lnTo>
                    <a:pt x="4560" y="1235"/>
                  </a:lnTo>
                  <a:cubicBezTo>
                    <a:pt x="4794" y="841"/>
                    <a:pt x="5116" y="521"/>
                    <a:pt x="5494" y="305"/>
                  </a:cubicBezTo>
                  <a:cubicBezTo>
                    <a:pt x="5853" y="100"/>
                    <a:pt x="6252" y="-5"/>
                    <a:pt x="6656" y="1"/>
                  </a:cubicBezTo>
                  <a:close/>
                </a:path>
              </a:pathLst>
            </a:custGeom>
            <a:solidFill>
              <a:schemeClr val="bg1">
                <a:lumMod val="95000"/>
              </a:schemeClr>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600" i="1" u="sng"/>
                <a:t>T</a:t>
              </a:r>
              <a:r>
                <a:rPr lang="en-US" altLang="zh-CN" sz="100" i="1" u="sng"/>
                <a:t> </a:t>
              </a:r>
              <a:r>
                <a:rPr lang="en-US" altLang="zh-CN" sz="1600" i="1" u="sng"/>
                <a:t>ext</a:t>
              </a:r>
              <a:endParaRPr lang="id-ID" altLang="zh-CN" sz="1600" i="1" u="sng" dirty="0"/>
            </a:p>
          </p:txBody>
        </p:sp>
        <p:sp>
          <p:nvSpPr>
            <p:cNvPr id="60" name="íṣļïďe">
              <a:extLst>
                <a:ext uri="{FF2B5EF4-FFF2-40B4-BE49-F238E27FC236}">
                  <a16:creationId xmlns:a16="http://schemas.microsoft.com/office/drawing/2014/main" id="{3486A40D-1CA2-400A-B122-A618A78D8831}"/>
                </a:ext>
              </a:extLst>
            </p:cNvPr>
            <p:cNvSpPr/>
            <p:nvPr/>
          </p:nvSpPr>
          <p:spPr bwMode="auto">
            <a:xfrm>
              <a:off x="5880295" y="3424721"/>
              <a:ext cx="429970" cy="422292"/>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accent1"/>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id-ID" altLang="zh-CN" sz="1600" i="1" u="sng" dirty="0"/>
            </a:p>
          </p:txBody>
        </p:sp>
      </p:grpSp>
    </p:spTree>
    <p:custDataLst>
      <p:tags r:id="rId2"/>
    </p:custDataLst>
    <p:extLst>
      <p:ext uri="{BB962C8B-B14F-4D97-AF65-F5344CB8AC3E}">
        <p14:creationId xmlns:p14="http://schemas.microsoft.com/office/powerpoint/2010/main" val="24595199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î$ļïďé"/>
        <p:cNvGrpSpPr/>
        <p:nvPr/>
      </p:nvGrpSpPr>
      <p:grpSpPr>
        <a:xfrm>
          <a:off x="0" y="0"/>
          <a:ext cx="0" cy="0"/>
          <a:chOff x="0" y="0"/>
          <a:chExt cx="0" cy="0"/>
        </a:xfrm>
      </p:grpSpPr>
      <p:sp>
        <p:nvSpPr>
          <p:cNvPr id="2" name="ïṧ1idé">
            <a:extLst>
              <a:ext uri="{FF2B5EF4-FFF2-40B4-BE49-F238E27FC236}">
                <a16:creationId xmlns:a16="http://schemas.microsoft.com/office/drawing/2014/main" id="{94CD34A7-BB84-4D2F-8B86-9388D056CEE8}"/>
              </a:ext>
            </a:extLst>
          </p:cNvPr>
          <p:cNvSpPr>
            <a:spLocks noGrp="1"/>
          </p:cNvSpPr>
          <p:nvPr>
            <p:ph type="title"/>
          </p:nvPr>
        </p:nvSpPr>
        <p:spPr/>
        <p:txBody>
          <a:bodyPr/>
          <a:lstStyle/>
          <a:p>
            <a:r>
              <a:rPr lang="en-US" altLang="zh-CN" dirty="0"/>
              <a:t>Click to edit Master </a:t>
            </a:r>
            <a:r>
              <a:rPr lang="en-US" altLang="zh-CN"/>
              <a:t>title sty</a:t>
            </a:r>
            <a:r>
              <a:rPr lang="en-US" altLang="zh-CN" sz="100"/>
              <a:t> </a:t>
            </a:r>
            <a:r>
              <a:rPr lang="en-US" altLang="zh-CN"/>
              <a:t>le</a:t>
            </a:r>
            <a:endParaRPr lang="zh-CN" altLang="en-US" dirty="0"/>
          </a:p>
        </p:txBody>
      </p:sp>
      <p:sp>
        <p:nvSpPr>
          <p:cNvPr id="3" name="îṡļïďè">
            <a:extLst>
              <a:ext uri="{FF2B5EF4-FFF2-40B4-BE49-F238E27FC236}">
                <a16:creationId xmlns:a16="http://schemas.microsoft.com/office/drawing/2014/main" id="{ABC2BF69-BA51-4637-9BA8-8E9DC5A0A4E7}"/>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a:t>
            </a:r>
            <a:r>
              <a:rPr lang="zh-CN" altLang="en-US" sz="100"/>
              <a:t> </a:t>
            </a:r>
            <a:r>
              <a:rPr lang="zh-CN" altLang="en-US"/>
              <a:t>文本</a:t>
            </a:r>
            <a:endParaRPr lang="zh-CN" altLang="en-US" dirty="0"/>
          </a:p>
        </p:txBody>
      </p:sp>
      <p:sp>
        <p:nvSpPr>
          <p:cNvPr id="4" name="ïŝliḑe">
            <a:extLst>
              <a:ext uri="{FF2B5EF4-FFF2-40B4-BE49-F238E27FC236}">
                <a16:creationId xmlns:a16="http://schemas.microsoft.com/office/drawing/2014/main" id="{4D55BCB1-3C7D-4F99-BC09-0FFAB7EA8DDC}"/>
              </a:ext>
            </a:extLst>
          </p:cNvPr>
          <p:cNvSpPr>
            <a:spLocks noGrp="1"/>
          </p:cNvSpPr>
          <p:nvPr>
            <p:ph type="sldNum" sz="quarter" idx="12"/>
          </p:nvPr>
        </p:nvSpPr>
        <p:spPr/>
        <p:txBody>
          <a:bodyPr/>
          <a:lstStyle/>
          <a:p>
            <a:fld id="{5DD3DB80-B894-403A-B48E-6FDC1A72010E}" type="slidenum">
              <a:rPr lang="zh-CN" altLang="en-US" smtClean="0"/>
              <a:pPr/>
              <a:t>15</a:t>
            </a:fld>
            <a:r>
              <a:rPr lang="zh-CN" altLang="en-US" sz="100"/>
              <a:t> </a:t>
            </a:r>
          </a:p>
        </p:txBody>
      </p:sp>
      <p:grpSp>
        <p:nvGrpSpPr>
          <p:cNvPr id="5" name="iš1ïḑ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26FC37C-8C9B-451D-A78B-DFF8D67C7635}"/>
              </a:ext>
            </a:extLst>
          </p:cNvPr>
          <p:cNvGrpSpPr>
            <a:grpSpLocks noChangeAspect="1"/>
          </p:cNvGrpSpPr>
          <p:nvPr>
            <p:custDataLst>
              <p:tags r:id="rId3"/>
            </p:custDataLst>
          </p:nvPr>
        </p:nvGrpSpPr>
        <p:grpSpPr>
          <a:xfrm>
            <a:off x="911444" y="1245729"/>
            <a:ext cx="10369112" cy="4785642"/>
            <a:chOff x="911444" y="1245729"/>
            <a:chExt cx="10369112" cy="4785642"/>
          </a:xfrm>
        </p:grpSpPr>
        <p:grpSp>
          <p:nvGrpSpPr>
            <p:cNvPr id="6" name="íṡľíḍe">
              <a:extLst>
                <a:ext uri="{FF2B5EF4-FFF2-40B4-BE49-F238E27FC236}">
                  <a16:creationId xmlns:a16="http://schemas.microsoft.com/office/drawing/2014/main" id="{3F80F04F-5756-42AF-A86B-FEF3F536495C}"/>
                </a:ext>
              </a:extLst>
            </p:cNvPr>
            <p:cNvGrpSpPr/>
            <p:nvPr/>
          </p:nvGrpSpPr>
          <p:grpSpPr>
            <a:xfrm>
              <a:off x="3340736" y="2788372"/>
              <a:ext cx="346978" cy="319168"/>
              <a:chOff x="6897244" y="3129780"/>
              <a:chExt cx="346978" cy="319168"/>
            </a:xfrm>
            <a:solidFill>
              <a:schemeClr val="bg1">
                <a:lumMod val="85000"/>
              </a:schemeClr>
            </a:solidFill>
          </p:grpSpPr>
          <p:sp>
            <p:nvSpPr>
              <p:cNvPr id="37" name="ïṩľíḑê">
                <a:extLst>
                  <a:ext uri="{FF2B5EF4-FFF2-40B4-BE49-F238E27FC236}">
                    <a16:creationId xmlns:a16="http://schemas.microsoft.com/office/drawing/2014/main" id="{07D84E15-7111-4135-9D75-5B173450802D}"/>
                  </a:ext>
                </a:extLst>
              </p:cNvPr>
              <p:cNvSpPr/>
              <p:nvPr/>
            </p:nvSpPr>
            <p:spPr bwMode="auto">
              <a:xfrm>
                <a:off x="7043080" y="3129780"/>
                <a:ext cx="201142" cy="319168"/>
              </a:xfrm>
              <a:custGeom>
                <a:avLst/>
                <a:gdLst>
                  <a:gd name="T0" fmla="*/ 8 w 51"/>
                  <a:gd name="T1" fmla="*/ 81 h 81"/>
                  <a:gd name="T2" fmla="*/ 3 w 51"/>
                  <a:gd name="T3" fmla="*/ 78 h 81"/>
                  <a:gd name="T4" fmla="*/ 3 w 51"/>
                  <a:gd name="T5" fmla="*/ 68 h 81"/>
                  <a:gd name="T6" fmla="*/ 30 w 51"/>
                  <a:gd name="T7" fmla="*/ 41 h 81"/>
                  <a:gd name="T8" fmla="*/ 3 w 51"/>
                  <a:gd name="T9" fmla="*/ 14 h 81"/>
                  <a:gd name="T10" fmla="*/ 3 w 51"/>
                  <a:gd name="T11" fmla="*/ 3 h 81"/>
                  <a:gd name="T12" fmla="*/ 13 w 51"/>
                  <a:gd name="T13" fmla="*/ 3 h 81"/>
                  <a:gd name="T14" fmla="*/ 51 w 51"/>
                  <a:gd name="T15" fmla="*/ 41 h 81"/>
                  <a:gd name="T16" fmla="*/ 13 w 51"/>
                  <a:gd name="T17" fmla="*/ 78 h 81"/>
                  <a:gd name="T18" fmla="*/ 8 w 5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1">
                    <a:moveTo>
                      <a:pt x="8" y="81"/>
                    </a:moveTo>
                    <a:cubicBezTo>
                      <a:pt x="6" y="81"/>
                      <a:pt x="4" y="80"/>
                      <a:pt x="3" y="78"/>
                    </a:cubicBezTo>
                    <a:cubicBezTo>
                      <a:pt x="0" y="76"/>
                      <a:pt x="0" y="71"/>
                      <a:pt x="3" y="68"/>
                    </a:cubicBezTo>
                    <a:cubicBezTo>
                      <a:pt x="30" y="41"/>
                      <a:pt x="30" y="41"/>
                      <a:pt x="30" y="41"/>
                    </a:cubicBezTo>
                    <a:cubicBezTo>
                      <a:pt x="3" y="14"/>
                      <a:pt x="3" y="14"/>
                      <a:pt x="3" y="14"/>
                    </a:cubicBezTo>
                    <a:cubicBezTo>
                      <a:pt x="0" y="11"/>
                      <a:pt x="0" y="6"/>
                      <a:pt x="3" y="3"/>
                    </a:cubicBezTo>
                    <a:cubicBezTo>
                      <a:pt x="5" y="0"/>
                      <a:pt x="10" y="0"/>
                      <a:pt x="13" y="3"/>
                    </a:cubicBezTo>
                    <a:cubicBezTo>
                      <a:pt x="51" y="41"/>
                      <a:pt x="51" y="41"/>
                      <a:pt x="51" y="41"/>
                    </a:cubicBezTo>
                    <a:cubicBezTo>
                      <a:pt x="13" y="78"/>
                      <a:pt x="13" y="78"/>
                      <a:pt x="13" y="78"/>
                    </a:cubicBezTo>
                    <a:cubicBezTo>
                      <a:pt x="12" y="80"/>
                      <a:pt x="10" y="81"/>
                      <a:pt x="8" y="81"/>
                    </a:cubicBez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8" name="íšļïďe">
                <a:extLst>
                  <a:ext uri="{FF2B5EF4-FFF2-40B4-BE49-F238E27FC236}">
                    <a16:creationId xmlns:a16="http://schemas.microsoft.com/office/drawing/2014/main" id="{56DA5CD8-72C8-4E77-9F18-0A9194DF1882}"/>
                  </a:ext>
                </a:extLst>
              </p:cNvPr>
              <p:cNvSpPr/>
              <p:nvPr/>
            </p:nvSpPr>
            <p:spPr bwMode="auto">
              <a:xfrm>
                <a:off x="6897244" y="3129780"/>
                <a:ext cx="201142" cy="319168"/>
              </a:xfrm>
              <a:custGeom>
                <a:avLst/>
                <a:gdLst>
                  <a:gd name="T0" fmla="*/ 8 w 51"/>
                  <a:gd name="T1" fmla="*/ 81 h 81"/>
                  <a:gd name="T2" fmla="*/ 2 w 51"/>
                  <a:gd name="T3" fmla="*/ 78 h 81"/>
                  <a:gd name="T4" fmla="*/ 2 w 51"/>
                  <a:gd name="T5" fmla="*/ 68 h 81"/>
                  <a:gd name="T6" fmla="*/ 30 w 51"/>
                  <a:gd name="T7" fmla="*/ 41 h 81"/>
                  <a:gd name="T8" fmla="*/ 2 w 51"/>
                  <a:gd name="T9" fmla="*/ 14 h 81"/>
                  <a:gd name="T10" fmla="*/ 2 w 51"/>
                  <a:gd name="T11" fmla="*/ 3 h 81"/>
                  <a:gd name="T12" fmla="*/ 13 w 51"/>
                  <a:gd name="T13" fmla="*/ 3 h 81"/>
                  <a:gd name="T14" fmla="*/ 51 w 51"/>
                  <a:gd name="T15" fmla="*/ 41 h 81"/>
                  <a:gd name="T16" fmla="*/ 13 w 51"/>
                  <a:gd name="T17" fmla="*/ 78 h 81"/>
                  <a:gd name="T18" fmla="*/ 8 w 5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1">
                    <a:moveTo>
                      <a:pt x="8" y="81"/>
                    </a:moveTo>
                    <a:cubicBezTo>
                      <a:pt x="6" y="81"/>
                      <a:pt x="4" y="80"/>
                      <a:pt x="2" y="78"/>
                    </a:cubicBezTo>
                    <a:cubicBezTo>
                      <a:pt x="0" y="76"/>
                      <a:pt x="0" y="71"/>
                      <a:pt x="2" y="68"/>
                    </a:cubicBezTo>
                    <a:cubicBezTo>
                      <a:pt x="30" y="41"/>
                      <a:pt x="30" y="41"/>
                      <a:pt x="30" y="41"/>
                    </a:cubicBezTo>
                    <a:cubicBezTo>
                      <a:pt x="2" y="14"/>
                      <a:pt x="2" y="14"/>
                      <a:pt x="2" y="14"/>
                    </a:cubicBezTo>
                    <a:cubicBezTo>
                      <a:pt x="0" y="11"/>
                      <a:pt x="0" y="6"/>
                      <a:pt x="2" y="3"/>
                    </a:cubicBezTo>
                    <a:cubicBezTo>
                      <a:pt x="5" y="0"/>
                      <a:pt x="10" y="0"/>
                      <a:pt x="13" y="3"/>
                    </a:cubicBezTo>
                    <a:cubicBezTo>
                      <a:pt x="51" y="41"/>
                      <a:pt x="51" y="41"/>
                      <a:pt x="51" y="41"/>
                    </a:cubicBezTo>
                    <a:cubicBezTo>
                      <a:pt x="13" y="78"/>
                      <a:pt x="13" y="78"/>
                      <a:pt x="13" y="78"/>
                    </a:cubicBezTo>
                    <a:cubicBezTo>
                      <a:pt x="12" y="80"/>
                      <a:pt x="10" y="81"/>
                      <a:pt x="8" y="81"/>
                    </a:cubicBez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7" name="íṡḷidè">
              <a:extLst>
                <a:ext uri="{FF2B5EF4-FFF2-40B4-BE49-F238E27FC236}">
                  <a16:creationId xmlns:a16="http://schemas.microsoft.com/office/drawing/2014/main" id="{8956823D-1BA6-4AC1-A335-D07FFBF5E5C4}"/>
                </a:ext>
              </a:extLst>
            </p:cNvPr>
            <p:cNvSpPr/>
            <p:nvPr/>
          </p:nvSpPr>
          <p:spPr bwMode="auto">
            <a:xfrm>
              <a:off x="2057710" y="4188055"/>
              <a:ext cx="282596" cy="462128"/>
            </a:xfrm>
            <a:custGeom>
              <a:avLst/>
              <a:gdLst>
                <a:gd name="T0" fmla="*/ 52 w 72"/>
                <a:gd name="T1" fmla="*/ 0 h 117"/>
                <a:gd name="T2" fmla="*/ 52 w 72"/>
                <a:gd name="T3" fmla="*/ 71 h 117"/>
                <a:gd name="T4" fmla="*/ 69 w 72"/>
                <a:gd name="T5" fmla="*/ 71 h 117"/>
                <a:gd name="T6" fmla="*/ 72 w 72"/>
                <a:gd name="T7" fmla="*/ 73 h 117"/>
                <a:gd name="T8" fmla="*/ 71 w 72"/>
                <a:gd name="T9" fmla="*/ 77 h 117"/>
                <a:gd name="T10" fmla="*/ 36 w 72"/>
                <a:gd name="T11" fmla="*/ 117 h 117"/>
                <a:gd name="T12" fmla="*/ 1 w 72"/>
                <a:gd name="T13" fmla="*/ 77 h 117"/>
                <a:gd name="T14" fmla="*/ 0 w 72"/>
                <a:gd name="T15" fmla="*/ 73 h 117"/>
                <a:gd name="T16" fmla="*/ 3 w 72"/>
                <a:gd name="T17" fmla="*/ 71 h 117"/>
                <a:gd name="T18" fmla="*/ 20 w 72"/>
                <a:gd name="T19" fmla="*/ 71 h 117"/>
                <a:gd name="T20" fmla="*/ 20 w 72"/>
                <a:gd name="T21" fmla="*/ 0 h 117"/>
                <a:gd name="T22" fmla="*/ 52 w 72"/>
                <a:gd name="T2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17">
                  <a:moveTo>
                    <a:pt x="52" y="0"/>
                  </a:moveTo>
                  <a:cubicBezTo>
                    <a:pt x="52" y="71"/>
                    <a:pt x="52" y="71"/>
                    <a:pt x="52" y="71"/>
                  </a:cubicBezTo>
                  <a:cubicBezTo>
                    <a:pt x="69" y="71"/>
                    <a:pt x="69" y="71"/>
                    <a:pt x="69" y="71"/>
                  </a:cubicBezTo>
                  <a:cubicBezTo>
                    <a:pt x="70" y="71"/>
                    <a:pt x="71" y="72"/>
                    <a:pt x="72" y="73"/>
                  </a:cubicBezTo>
                  <a:cubicBezTo>
                    <a:pt x="72" y="75"/>
                    <a:pt x="72" y="76"/>
                    <a:pt x="71" y="77"/>
                  </a:cubicBezTo>
                  <a:cubicBezTo>
                    <a:pt x="36" y="117"/>
                    <a:pt x="36" y="117"/>
                    <a:pt x="36" y="117"/>
                  </a:cubicBezTo>
                  <a:cubicBezTo>
                    <a:pt x="1" y="77"/>
                    <a:pt x="1" y="77"/>
                    <a:pt x="1" y="77"/>
                  </a:cubicBezTo>
                  <a:cubicBezTo>
                    <a:pt x="0" y="76"/>
                    <a:pt x="0" y="75"/>
                    <a:pt x="0" y="73"/>
                  </a:cubicBezTo>
                  <a:cubicBezTo>
                    <a:pt x="1" y="72"/>
                    <a:pt x="2" y="71"/>
                    <a:pt x="3" y="71"/>
                  </a:cubicBezTo>
                  <a:cubicBezTo>
                    <a:pt x="20" y="71"/>
                    <a:pt x="20" y="71"/>
                    <a:pt x="20" y="71"/>
                  </a:cubicBezTo>
                  <a:cubicBezTo>
                    <a:pt x="20" y="0"/>
                    <a:pt x="20" y="0"/>
                    <a:pt x="20" y="0"/>
                  </a:cubicBezTo>
                  <a:cubicBezTo>
                    <a:pt x="52" y="0"/>
                    <a:pt x="52" y="0"/>
                    <a:pt x="52" y="0"/>
                  </a:cubicBezTo>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8" name="ïśļíḓe">
              <a:extLst>
                <a:ext uri="{FF2B5EF4-FFF2-40B4-BE49-F238E27FC236}">
                  <a16:creationId xmlns:a16="http://schemas.microsoft.com/office/drawing/2014/main" id="{852719DF-369A-4F29-BB38-9B1714830A43}"/>
                </a:ext>
              </a:extLst>
            </p:cNvPr>
            <p:cNvSpPr/>
            <p:nvPr/>
          </p:nvSpPr>
          <p:spPr bwMode="auto">
            <a:xfrm>
              <a:off x="2135840" y="4188055"/>
              <a:ext cx="126337" cy="99740"/>
            </a:xfrm>
            <a:custGeom>
              <a:avLst/>
              <a:gdLst>
                <a:gd name="T0" fmla="*/ 32 w 32"/>
                <a:gd name="T1" fmla="*/ 0 h 25"/>
                <a:gd name="T2" fmla="*/ 0 w 32"/>
                <a:gd name="T3" fmla="*/ 0 h 25"/>
                <a:gd name="T4" fmla="*/ 0 w 32"/>
                <a:gd name="T5" fmla="*/ 25 h 25"/>
                <a:gd name="T6" fmla="*/ 16 w 32"/>
                <a:gd name="T7" fmla="*/ 20 h 25"/>
                <a:gd name="T8" fmla="*/ 32 w 32"/>
                <a:gd name="T9" fmla="*/ 25 h 25"/>
                <a:gd name="T10" fmla="*/ 32 w 32"/>
                <a:gd name="T11" fmla="*/ 0 h 25"/>
              </a:gdLst>
              <a:ahLst/>
              <a:cxnLst>
                <a:cxn ang="0">
                  <a:pos x="T0" y="T1"/>
                </a:cxn>
                <a:cxn ang="0">
                  <a:pos x="T2" y="T3"/>
                </a:cxn>
                <a:cxn ang="0">
                  <a:pos x="T4" y="T5"/>
                </a:cxn>
                <a:cxn ang="0">
                  <a:pos x="T6" y="T7"/>
                </a:cxn>
                <a:cxn ang="0">
                  <a:pos x="T8" y="T9"/>
                </a:cxn>
                <a:cxn ang="0">
                  <a:pos x="T10" y="T11"/>
                </a:cxn>
              </a:cxnLst>
              <a:rect l="0" t="0" r="r" b="b"/>
              <a:pathLst>
                <a:path w="32" h="25">
                  <a:moveTo>
                    <a:pt x="32" y="0"/>
                  </a:moveTo>
                  <a:cubicBezTo>
                    <a:pt x="0" y="0"/>
                    <a:pt x="0" y="0"/>
                    <a:pt x="0" y="0"/>
                  </a:cubicBezTo>
                  <a:cubicBezTo>
                    <a:pt x="0" y="25"/>
                    <a:pt x="0" y="25"/>
                    <a:pt x="0" y="25"/>
                  </a:cubicBezTo>
                  <a:cubicBezTo>
                    <a:pt x="4" y="22"/>
                    <a:pt x="10" y="20"/>
                    <a:pt x="16" y="20"/>
                  </a:cubicBezTo>
                  <a:cubicBezTo>
                    <a:pt x="22" y="20"/>
                    <a:pt x="28" y="22"/>
                    <a:pt x="32" y="25"/>
                  </a:cubicBezTo>
                  <a:cubicBezTo>
                    <a:pt x="32" y="0"/>
                    <a:pt x="32" y="0"/>
                    <a:pt x="32"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9" name="îS1íďé">
              <a:extLst>
                <a:ext uri="{FF2B5EF4-FFF2-40B4-BE49-F238E27FC236}">
                  <a16:creationId xmlns:a16="http://schemas.microsoft.com/office/drawing/2014/main" id="{633B1962-69A2-43D9-801F-92582DD9E739}"/>
                </a:ext>
              </a:extLst>
            </p:cNvPr>
            <p:cNvSpPr/>
            <p:nvPr/>
          </p:nvSpPr>
          <p:spPr bwMode="auto">
            <a:xfrm>
              <a:off x="1318804" y="1245729"/>
              <a:ext cx="1760409" cy="3120195"/>
            </a:xfrm>
            <a:custGeom>
              <a:avLst/>
              <a:gdLst>
                <a:gd name="T0" fmla="*/ 448 w 448"/>
                <a:gd name="T1" fmla="*/ 224 h 792"/>
                <a:gd name="T2" fmla="*/ 448 w 448"/>
                <a:gd name="T3" fmla="*/ 570 h 792"/>
                <a:gd name="T4" fmla="*/ 252 w 448"/>
                <a:gd name="T5" fmla="*/ 792 h 792"/>
                <a:gd name="T6" fmla="*/ 252 w 448"/>
                <a:gd name="T7" fmla="*/ 777 h 792"/>
                <a:gd name="T8" fmla="*/ 224 w 448"/>
                <a:gd name="T9" fmla="*/ 749 h 792"/>
                <a:gd name="T10" fmla="*/ 196 w 448"/>
                <a:gd name="T11" fmla="*/ 777 h 792"/>
                <a:gd name="T12" fmla="*/ 196 w 448"/>
                <a:gd name="T13" fmla="*/ 792 h 792"/>
                <a:gd name="T14" fmla="*/ 0 w 448"/>
                <a:gd name="T15" fmla="*/ 570 h 792"/>
                <a:gd name="T16" fmla="*/ 0 w 448"/>
                <a:gd name="T17" fmla="*/ 224 h 792"/>
                <a:gd name="T18" fmla="*/ 224 w 448"/>
                <a:gd name="T19" fmla="*/ 0 h 792"/>
                <a:gd name="T20" fmla="*/ 448 w 448"/>
                <a:gd name="T21" fmla="*/ 224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8" h="792">
                  <a:moveTo>
                    <a:pt x="448" y="224"/>
                  </a:moveTo>
                  <a:cubicBezTo>
                    <a:pt x="448" y="570"/>
                    <a:pt x="448" y="570"/>
                    <a:pt x="448" y="570"/>
                  </a:cubicBezTo>
                  <a:cubicBezTo>
                    <a:pt x="448" y="684"/>
                    <a:pt x="362" y="778"/>
                    <a:pt x="252" y="792"/>
                  </a:cubicBezTo>
                  <a:cubicBezTo>
                    <a:pt x="252" y="777"/>
                    <a:pt x="252" y="777"/>
                    <a:pt x="252" y="777"/>
                  </a:cubicBezTo>
                  <a:cubicBezTo>
                    <a:pt x="252" y="761"/>
                    <a:pt x="239" y="749"/>
                    <a:pt x="224" y="749"/>
                  </a:cubicBezTo>
                  <a:cubicBezTo>
                    <a:pt x="209" y="749"/>
                    <a:pt x="196" y="761"/>
                    <a:pt x="196" y="777"/>
                  </a:cubicBezTo>
                  <a:cubicBezTo>
                    <a:pt x="196" y="792"/>
                    <a:pt x="196" y="792"/>
                    <a:pt x="196" y="792"/>
                  </a:cubicBezTo>
                  <a:cubicBezTo>
                    <a:pt x="86" y="778"/>
                    <a:pt x="0" y="684"/>
                    <a:pt x="0" y="570"/>
                  </a:cubicBezTo>
                  <a:cubicBezTo>
                    <a:pt x="0" y="224"/>
                    <a:pt x="0" y="224"/>
                    <a:pt x="0" y="224"/>
                  </a:cubicBezTo>
                  <a:cubicBezTo>
                    <a:pt x="0" y="100"/>
                    <a:pt x="100" y="0"/>
                    <a:pt x="224" y="0"/>
                  </a:cubicBezTo>
                  <a:cubicBezTo>
                    <a:pt x="348" y="0"/>
                    <a:pt x="448" y="100"/>
                    <a:pt x="448" y="224"/>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0" name="í$ḻídè">
              <a:extLst>
                <a:ext uri="{FF2B5EF4-FFF2-40B4-BE49-F238E27FC236}">
                  <a16:creationId xmlns:a16="http://schemas.microsoft.com/office/drawing/2014/main" id="{F8C2EDDD-840E-4D2C-A027-B04F2A00EA89}"/>
                </a:ext>
              </a:extLst>
            </p:cNvPr>
            <p:cNvSpPr/>
            <p:nvPr/>
          </p:nvSpPr>
          <p:spPr>
            <a:xfrm>
              <a:off x="1451790" y="1378715"/>
              <a:ext cx="1494436" cy="1497760"/>
            </a:xfrm>
            <a:prstGeom prst="ellipse">
              <a:avLst/>
            </a:pr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4400" b="1" i="1" dirty="0">
                  <a:solidFill>
                    <a:schemeClr val="tx1"/>
                  </a:solidFill>
                </a:rPr>
                <a:t>S</a:t>
              </a:r>
              <a:endParaRPr lang="zh-CN" altLang="en-US" sz="4400" b="1" i="1" dirty="0">
                <a:solidFill>
                  <a:schemeClr val="tx1"/>
                </a:solidFill>
              </a:endParaRPr>
            </a:p>
          </p:txBody>
        </p:sp>
        <p:sp>
          <p:nvSpPr>
            <p:cNvPr id="11" name="ïṥ1íḓê">
              <a:extLst>
                <a:ext uri="{FF2B5EF4-FFF2-40B4-BE49-F238E27FC236}">
                  <a16:creationId xmlns:a16="http://schemas.microsoft.com/office/drawing/2014/main" id="{6CF84D33-9B5E-4BE8-9A19-2F075E0A2811}"/>
                </a:ext>
              </a:extLst>
            </p:cNvPr>
            <p:cNvSpPr txBox="1"/>
            <p:nvPr/>
          </p:nvSpPr>
          <p:spPr bwMode="auto">
            <a:xfrm>
              <a:off x="911444" y="4722611"/>
              <a:ext cx="2575128" cy="441805"/>
            </a:xfrm>
            <a:prstGeom prst="rect">
              <a:avLst/>
            </a:prstGeom>
            <a:no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2000"/>
                <a:t>Text he</a:t>
              </a:r>
              <a:r>
                <a:rPr lang="en-US" altLang="zh-CN" sz="100"/>
                <a:t> </a:t>
              </a:r>
              <a:r>
                <a:rPr lang="en-US" altLang="zh-CN" sz="2000"/>
                <a:t>re</a:t>
              </a:r>
              <a:endParaRPr lang="en-US" altLang="zh-CN" sz="2000" dirty="0"/>
            </a:p>
          </p:txBody>
        </p:sp>
        <p:sp>
          <p:nvSpPr>
            <p:cNvPr id="12" name="î$ḻïḍe">
              <a:extLst>
                <a:ext uri="{FF2B5EF4-FFF2-40B4-BE49-F238E27FC236}">
                  <a16:creationId xmlns:a16="http://schemas.microsoft.com/office/drawing/2014/main" id="{FC178AFD-9D9E-4266-BD7D-7B8FA1E65DCA}"/>
                </a:ext>
              </a:extLst>
            </p:cNvPr>
            <p:cNvSpPr/>
            <p:nvPr/>
          </p:nvSpPr>
          <p:spPr bwMode="auto">
            <a:xfrm>
              <a:off x="911444" y="5164416"/>
              <a:ext cx="2575128" cy="866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dirty="0"/>
                <a:t>Copy paste fonts. Choose the only option to retain </a:t>
              </a:r>
              <a:r>
                <a:rPr lang="en-US" altLang="zh-CN" sz="1100"/>
                <a:t>text.</a:t>
              </a:r>
              <a:r>
                <a:rPr lang="en-US" altLang="zh-CN" sz="100"/>
                <a:t> </a:t>
              </a:r>
              <a:endParaRPr lang="en-US" altLang="zh-CN" sz="100" dirty="0"/>
            </a:p>
            <a:p>
              <a:pPr algn="ctr">
                <a:lnSpc>
                  <a:spcPct val="150000"/>
                </a:lnSpc>
              </a:pPr>
              <a:r>
                <a:rPr lang="en-US" altLang="zh-CN" sz="1100" dirty="0"/>
                <a:t>……</a:t>
              </a:r>
            </a:p>
          </p:txBody>
        </p:sp>
        <p:grpSp>
          <p:nvGrpSpPr>
            <p:cNvPr id="13" name="isliḍe">
              <a:extLst>
                <a:ext uri="{FF2B5EF4-FFF2-40B4-BE49-F238E27FC236}">
                  <a16:creationId xmlns:a16="http://schemas.microsoft.com/office/drawing/2014/main" id="{3E3BE4DC-E53F-4175-9F39-2D80FF0A5B38}"/>
                </a:ext>
              </a:extLst>
            </p:cNvPr>
            <p:cNvGrpSpPr/>
            <p:nvPr/>
          </p:nvGrpSpPr>
          <p:grpSpPr>
            <a:xfrm>
              <a:off x="5938731" y="2788372"/>
              <a:ext cx="346978" cy="319168"/>
              <a:chOff x="6897244" y="3129780"/>
              <a:chExt cx="346978" cy="319168"/>
            </a:xfrm>
            <a:solidFill>
              <a:schemeClr val="bg1">
                <a:lumMod val="85000"/>
              </a:schemeClr>
            </a:solidFill>
          </p:grpSpPr>
          <p:sp>
            <p:nvSpPr>
              <p:cNvPr id="35" name="îśļíḓé">
                <a:extLst>
                  <a:ext uri="{FF2B5EF4-FFF2-40B4-BE49-F238E27FC236}">
                    <a16:creationId xmlns:a16="http://schemas.microsoft.com/office/drawing/2014/main" id="{07A3B1D7-6809-4D05-BCD7-A2FE3F2FB286}"/>
                  </a:ext>
                </a:extLst>
              </p:cNvPr>
              <p:cNvSpPr/>
              <p:nvPr/>
            </p:nvSpPr>
            <p:spPr bwMode="auto">
              <a:xfrm>
                <a:off x="7043080" y="3129780"/>
                <a:ext cx="201142" cy="319168"/>
              </a:xfrm>
              <a:custGeom>
                <a:avLst/>
                <a:gdLst>
                  <a:gd name="T0" fmla="*/ 8 w 51"/>
                  <a:gd name="T1" fmla="*/ 81 h 81"/>
                  <a:gd name="T2" fmla="*/ 3 w 51"/>
                  <a:gd name="T3" fmla="*/ 78 h 81"/>
                  <a:gd name="T4" fmla="*/ 3 w 51"/>
                  <a:gd name="T5" fmla="*/ 68 h 81"/>
                  <a:gd name="T6" fmla="*/ 30 w 51"/>
                  <a:gd name="T7" fmla="*/ 41 h 81"/>
                  <a:gd name="T8" fmla="*/ 3 w 51"/>
                  <a:gd name="T9" fmla="*/ 14 h 81"/>
                  <a:gd name="T10" fmla="*/ 3 w 51"/>
                  <a:gd name="T11" fmla="*/ 3 h 81"/>
                  <a:gd name="T12" fmla="*/ 13 w 51"/>
                  <a:gd name="T13" fmla="*/ 3 h 81"/>
                  <a:gd name="T14" fmla="*/ 51 w 51"/>
                  <a:gd name="T15" fmla="*/ 41 h 81"/>
                  <a:gd name="T16" fmla="*/ 13 w 51"/>
                  <a:gd name="T17" fmla="*/ 78 h 81"/>
                  <a:gd name="T18" fmla="*/ 8 w 5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1">
                    <a:moveTo>
                      <a:pt x="8" y="81"/>
                    </a:moveTo>
                    <a:cubicBezTo>
                      <a:pt x="6" y="81"/>
                      <a:pt x="4" y="80"/>
                      <a:pt x="3" y="78"/>
                    </a:cubicBezTo>
                    <a:cubicBezTo>
                      <a:pt x="0" y="76"/>
                      <a:pt x="0" y="71"/>
                      <a:pt x="3" y="68"/>
                    </a:cubicBezTo>
                    <a:cubicBezTo>
                      <a:pt x="30" y="41"/>
                      <a:pt x="30" y="41"/>
                      <a:pt x="30" y="41"/>
                    </a:cubicBezTo>
                    <a:cubicBezTo>
                      <a:pt x="3" y="14"/>
                      <a:pt x="3" y="14"/>
                      <a:pt x="3" y="14"/>
                    </a:cubicBezTo>
                    <a:cubicBezTo>
                      <a:pt x="0" y="11"/>
                      <a:pt x="0" y="6"/>
                      <a:pt x="3" y="3"/>
                    </a:cubicBezTo>
                    <a:cubicBezTo>
                      <a:pt x="5" y="0"/>
                      <a:pt x="10" y="0"/>
                      <a:pt x="13" y="3"/>
                    </a:cubicBezTo>
                    <a:cubicBezTo>
                      <a:pt x="51" y="41"/>
                      <a:pt x="51" y="41"/>
                      <a:pt x="51" y="41"/>
                    </a:cubicBezTo>
                    <a:cubicBezTo>
                      <a:pt x="13" y="78"/>
                      <a:pt x="13" y="78"/>
                      <a:pt x="13" y="78"/>
                    </a:cubicBezTo>
                    <a:cubicBezTo>
                      <a:pt x="12" y="80"/>
                      <a:pt x="10" y="81"/>
                      <a:pt x="8" y="81"/>
                    </a:cubicBez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6" name="î$1ïḍé">
                <a:extLst>
                  <a:ext uri="{FF2B5EF4-FFF2-40B4-BE49-F238E27FC236}">
                    <a16:creationId xmlns:a16="http://schemas.microsoft.com/office/drawing/2014/main" id="{A774C2E3-9D25-47F7-9B27-CAD17FD9ED8D}"/>
                  </a:ext>
                </a:extLst>
              </p:cNvPr>
              <p:cNvSpPr/>
              <p:nvPr/>
            </p:nvSpPr>
            <p:spPr bwMode="auto">
              <a:xfrm>
                <a:off x="6897244" y="3129780"/>
                <a:ext cx="201142" cy="319168"/>
              </a:xfrm>
              <a:custGeom>
                <a:avLst/>
                <a:gdLst>
                  <a:gd name="T0" fmla="*/ 8 w 51"/>
                  <a:gd name="T1" fmla="*/ 81 h 81"/>
                  <a:gd name="T2" fmla="*/ 2 w 51"/>
                  <a:gd name="T3" fmla="*/ 78 h 81"/>
                  <a:gd name="T4" fmla="*/ 2 w 51"/>
                  <a:gd name="T5" fmla="*/ 68 h 81"/>
                  <a:gd name="T6" fmla="*/ 30 w 51"/>
                  <a:gd name="T7" fmla="*/ 41 h 81"/>
                  <a:gd name="T8" fmla="*/ 2 w 51"/>
                  <a:gd name="T9" fmla="*/ 14 h 81"/>
                  <a:gd name="T10" fmla="*/ 2 w 51"/>
                  <a:gd name="T11" fmla="*/ 3 h 81"/>
                  <a:gd name="T12" fmla="*/ 13 w 51"/>
                  <a:gd name="T13" fmla="*/ 3 h 81"/>
                  <a:gd name="T14" fmla="*/ 51 w 51"/>
                  <a:gd name="T15" fmla="*/ 41 h 81"/>
                  <a:gd name="T16" fmla="*/ 13 w 51"/>
                  <a:gd name="T17" fmla="*/ 78 h 81"/>
                  <a:gd name="T18" fmla="*/ 8 w 5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1">
                    <a:moveTo>
                      <a:pt x="8" y="81"/>
                    </a:moveTo>
                    <a:cubicBezTo>
                      <a:pt x="6" y="81"/>
                      <a:pt x="4" y="80"/>
                      <a:pt x="2" y="78"/>
                    </a:cubicBezTo>
                    <a:cubicBezTo>
                      <a:pt x="0" y="76"/>
                      <a:pt x="0" y="71"/>
                      <a:pt x="2" y="68"/>
                    </a:cubicBezTo>
                    <a:cubicBezTo>
                      <a:pt x="30" y="41"/>
                      <a:pt x="30" y="41"/>
                      <a:pt x="30" y="41"/>
                    </a:cubicBezTo>
                    <a:cubicBezTo>
                      <a:pt x="2" y="14"/>
                      <a:pt x="2" y="14"/>
                      <a:pt x="2" y="14"/>
                    </a:cubicBezTo>
                    <a:cubicBezTo>
                      <a:pt x="0" y="11"/>
                      <a:pt x="0" y="6"/>
                      <a:pt x="2" y="3"/>
                    </a:cubicBezTo>
                    <a:cubicBezTo>
                      <a:pt x="5" y="0"/>
                      <a:pt x="10" y="0"/>
                      <a:pt x="13" y="3"/>
                    </a:cubicBezTo>
                    <a:cubicBezTo>
                      <a:pt x="51" y="41"/>
                      <a:pt x="51" y="41"/>
                      <a:pt x="51" y="41"/>
                    </a:cubicBezTo>
                    <a:cubicBezTo>
                      <a:pt x="13" y="78"/>
                      <a:pt x="13" y="78"/>
                      <a:pt x="13" y="78"/>
                    </a:cubicBezTo>
                    <a:cubicBezTo>
                      <a:pt x="12" y="80"/>
                      <a:pt x="10" y="81"/>
                      <a:pt x="8" y="81"/>
                    </a:cubicBez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14" name="işlíḋé">
              <a:extLst>
                <a:ext uri="{FF2B5EF4-FFF2-40B4-BE49-F238E27FC236}">
                  <a16:creationId xmlns:a16="http://schemas.microsoft.com/office/drawing/2014/main" id="{B7A68FD8-86C4-47E8-8012-0896091FB9B7}"/>
                </a:ext>
              </a:extLst>
            </p:cNvPr>
            <p:cNvSpPr/>
            <p:nvPr/>
          </p:nvSpPr>
          <p:spPr bwMode="auto">
            <a:xfrm>
              <a:off x="4655705" y="4188055"/>
              <a:ext cx="282596" cy="462128"/>
            </a:xfrm>
            <a:custGeom>
              <a:avLst/>
              <a:gdLst>
                <a:gd name="T0" fmla="*/ 52 w 72"/>
                <a:gd name="T1" fmla="*/ 0 h 117"/>
                <a:gd name="T2" fmla="*/ 52 w 72"/>
                <a:gd name="T3" fmla="*/ 71 h 117"/>
                <a:gd name="T4" fmla="*/ 69 w 72"/>
                <a:gd name="T5" fmla="*/ 71 h 117"/>
                <a:gd name="T6" fmla="*/ 72 w 72"/>
                <a:gd name="T7" fmla="*/ 73 h 117"/>
                <a:gd name="T8" fmla="*/ 71 w 72"/>
                <a:gd name="T9" fmla="*/ 77 h 117"/>
                <a:gd name="T10" fmla="*/ 36 w 72"/>
                <a:gd name="T11" fmla="*/ 117 h 117"/>
                <a:gd name="T12" fmla="*/ 1 w 72"/>
                <a:gd name="T13" fmla="*/ 77 h 117"/>
                <a:gd name="T14" fmla="*/ 0 w 72"/>
                <a:gd name="T15" fmla="*/ 73 h 117"/>
                <a:gd name="T16" fmla="*/ 3 w 72"/>
                <a:gd name="T17" fmla="*/ 71 h 117"/>
                <a:gd name="T18" fmla="*/ 20 w 72"/>
                <a:gd name="T19" fmla="*/ 71 h 117"/>
                <a:gd name="T20" fmla="*/ 20 w 72"/>
                <a:gd name="T21" fmla="*/ 0 h 117"/>
                <a:gd name="T22" fmla="*/ 52 w 72"/>
                <a:gd name="T2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17">
                  <a:moveTo>
                    <a:pt x="52" y="0"/>
                  </a:moveTo>
                  <a:cubicBezTo>
                    <a:pt x="52" y="71"/>
                    <a:pt x="52" y="71"/>
                    <a:pt x="52" y="71"/>
                  </a:cubicBezTo>
                  <a:cubicBezTo>
                    <a:pt x="69" y="71"/>
                    <a:pt x="69" y="71"/>
                    <a:pt x="69" y="71"/>
                  </a:cubicBezTo>
                  <a:cubicBezTo>
                    <a:pt x="70" y="71"/>
                    <a:pt x="71" y="72"/>
                    <a:pt x="72" y="73"/>
                  </a:cubicBezTo>
                  <a:cubicBezTo>
                    <a:pt x="72" y="75"/>
                    <a:pt x="72" y="76"/>
                    <a:pt x="71" y="77"/>
                  </a:cubicBezTo>
                  <a:cubicBezTo>
                    <a:pt x="36" y="117"/>
                    <a:pt x="36" y="117"/>
                    <a:pt x="36" y="117"/>
                  </a:cubicBezTo>
                  <a:cubicBezTo>
                    <a:pt x="1" y="77"/>
                    <a:pt x="1" y="77"/>
                    <a:pt x="1" y="77"/>
                  </a:cubicBezTo>
                  <a:cubicBezTo>
                    <a:pt x="0" y="76"/>
                    <a:pt x="0" y="75"/>
                    <a:pt x="0" y="73"/>
                  </a:cubicBezTo>
                  <a:cubicBezTo>
                    <a:pt x="1" y="72"/>
                    <a:pt x="2" y="71"/>
                    <a:pt x="3" y="71"/>
                  </a:cubicBezTo>
                  <a:cubicBezTo>
                    <a:pt x="20" y="71"/>
                    <a:pt x="20" y="71"/>
                    <a:pt x="20" y="71"/>
                  </a:cubicBezTo>
                  <a:cubicBezTo>
                    <a:pt x="20" y="0"/>
                    <a:pt x="20" y="0"/>
                    <a:pt x="20" y="0"/>
                  </a:cubicBezTo>
                  <a:cubicBezTo>
                    <a:pt x="52" y="0"/>
                    <a:pt x="52" y="0"/>
                    <a:pt x="52" y="0"/>
                  </a:cubicBezTo>
                </a:path>
              </a:pathLst>
            </a:custGeom>
            <a:solidFill>
              <a:schemeClr val="accent2"/>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5" name="iṩļîďé">
              <a:extLst>
                <a:ext uri="{FF2B5EF4-FFF2-40B4-BE49-F238E27FC236}">
                  <a16:creationId xmlns:a16="http://schemas.microsoft.com/office/drawing/2014/main" id="{6C5B39FA-38E8-460E-8503-2EAEFBC613C9}"/>
                </a:ext>
              </a:extLst>
            </p:cNvPr>
            <p:cNvSpPr/>
            <p:nvPr/>
          </p:nvSpPr>
          <p:spPr bwMode="auto">
            <a:xfrm>
              <a:off x="4733835" y="4188055"/>
              <a:ext cx="126337" cy="99740"/>
            </a:xfrm>
            <a:custGeom>
              <a:avLst/>
              <a:gdLst>
                <a:gd name="T0" fmla="*/ 32 w 32"/>
                <a:gd name="T1" fmla="*/ 0 h 25"/>
                <a:gd name="T2" fmla="*/ 0 w 32"/>
                <a:gd name="T3" fmla="*/ 0 h 25"/>
                <a:gd name="T4" fmla="*/ 0 w 32"/>
                <a:gd name="T5" fmla="*/ 25 h 25"/>
                <a:gd name="T6" fmla="*/ 16 w 32"/>
                <a:gd name="T7" fmla="*/ 20 h 25"/>
                <a:gd name="T8" fmla="*/ 32 w 32"/>
                <a:gd name="T9" fmla="*/ 25 h 25"/>
                <a:gd name="T10" fmla="*/ 32 w 32"/>
                <a:gd name="T11" fmla="*/ 0 h 25"/>
              </a:gdLst>
              <a:ahLst/>
              <a:cxnLst>
                <a:cxn ang="0">
                  <a:pos x="T0" y="T1"/>
                </a:cxn>
                <a:cxn ang="0">
                  <a:pos x="T2" y="T3"/>
                </a:cxn>
                <a:cxn ang="0">
                  <a:pos x="T4" y="T5"/>
                </a:cxn>
                <a:cxn ang="0">
                  <a:pos x="T6" y="T7"/>
                </a:cxn>
                <a:cxn ang="0">
                  <a:pos x="T8" y="T9"/>
                </a:cxn>
                <a:cxn ang="0">
                  <a:pos x="T10" y="T11"/>
                </a:cxn>
              </a:cxnLst>
              <a:rect l="0" t="0" r="r" b="b"/>
              <a:pathLst>
                <a:path w="32" h="25">
                  <a:moveTo>
                    <a:pt x="32" y="0"/>
                  </a:moveTo>
                  <a:cubicBezTo>
                    <a:pt x="0" y="0"/>
                    <a:pt x="0" y="0"/>
                    <a:pt x="0" y="0"/>
                  </a:cubicBezTo>
                  <a:cubicBezTo>
                    <a:pt x="0" y="25"/>
                    <a:pt x="0" y="25"/>
                    <a:pt x="0" y="25"/>
                  </a:cubicBezTo>
                  <a:cubicBezTo>
                    <a:pt x="4" y="22"/>
                    <a:pt x="10" y="20"/>
                    <a:pt x="16" y="20"/>
                  </a:cubicBezTo>
                  <a:cubicBezTo>
                    <a:pt x="22" y="20"/>
                    <a:pt x="28" y="22"/>
                    <a:pt x="32" y="25"/>
                  </a:cubicBezTo>
                  <a:cubicBezTo>
                    <a:pt x="32" y="0"/>
                    <a:pt x="32" y="0"/>
                    <a:pt x="32"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6" name="iṥļïḋé">
              <a:extLst>
                <a:ext uri="{FF2B5EF4-FFF2-40B4-BE49-F238E27FC236}">
                  <a16:creationId xmlns:a16="http://schemas.microsoft.com/office/drawing/2014/main" id="{DFD1B483-4C24-4488-94D9-982CAC6B2119}"/>
                </a:ext>
              </a:extLst>
            </p:cNvPr>
            <p:cNvSpPr/>
            <p:nvPr/>
          </p:nvSpPr>
          <p:spPr bwMode="auto">
            <a:xfrm>
              <a:off x="3916799" y="1245729"/>
              <a:ext cx="1760409" cy="3120195"/>
            </a:xfrm>
            <a:custGeom>
              <a:avLst/>
              <a:gdLst>
                <a:gd name="T0" fmla="*/ 448 w 448"/>
                <a:gd name="T1" fmla="*/ 224 h 792"/>
                <a:gd name="T2" fmla="*/ 448 w 448"/>
                <a:gd name="T3" fmla="*/ 570 h 792"/>
                <a:gd name="T4" fmla="*/ 252 w 448"/>
                <a:gd name="T5" fmla="*/ 792 h 792"/>
                <a:gd name="T6" fmla="*/ 252 w 448"/>
                <a:gd name="T7" fmla="*/ 777 h 792"/>
                <a:gd name="T8" fmla="*/ 224 w 448"/>
                <a:gd name="T9" fmla="*/ 749 h 792"/>
                <a:gd name="T10" fmla="*/ 196 w 448"/>
                <a:gd name="T11" fmla="*/ 777 h 792"/>
                <a:gd name="T12" fmla="*/ 196 w 448"/>
                <a:gd name="T13" fmla="*/ 792 h 792"/>
                <a:gd name="T14" fmla="*/ 0 w 448"/>
                <a:gd name="T15" fmla="*/ 570 h 792"/>
                <a:gd name="T16" fmla="*/ 0 w 448"/>
                <a:gd name="T17" fmla="*/ 224 h 792"/>
                <a:gd name="T18" fmla="*/ 224 w 448"/>
                <a:gd name="T19" fmla="*/ 0 h 792"/>
                <a:gd name="T20" fmla="*/ 448 w 448"/>
                <a:gd name="T21" fmla="*/ 224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8" h="792">
                  <a:moveTo>
                    <a:pt x="448" y="224"/>
                  </a:moveTo>
                  <a:cubicBezTo>
                    <a:pt x="448" y="570"/>
                    <a:pt x="448" y="570"/>
                    <a:pt x="448" y="570"/>
                  </a:cubicBezTo>
                  <a:cubicBezTo>
                    <a:pt x="448" y="684"/>
                    <a:pt x="362" y="778"/>
                    <a:pt x="252" y="792"/>
                  </a:cubicBezTo>
                  <a:cubicBezTo>
                    <a:pt x="252" y="777"/>
                    <a:pt x="252" y="777"/>
                    <a:pt x="252" y="777"/>
                  </a:cubicBezTo>
                  <a:cubicBezTo>
                    <a:pt x="252" y="761"/>
                    <a:pt x="239" y="749"/>
                    <a:pt x="224" y="749"/>
                  </a:cubicBezTo>
                  <a:cubicBezTo>
                    <a:pt x="209" y="749"/>
                    <a:pt x="196" y="761"/>
                    <a:pt x="196" y="777"/>
                  </a:cubicBezTo>
                  <a:cubicBezTo>
                    <a:pt x="196" y="792"/>
                    <a:pt x="196" y="792"/>
                    <a:pt x="196" y="792"/>
                  </a:cubicBezTo>
                  <a:cubicBezTo>
                    <a:pt x="86" y="778"/>
                    <a:pt x="0" y="684"/>
                    <a:pt x="0" y="570"/>
                  </a:cubicBezTo>
                  <a:cubicBezTo>
                    <a:pt x="0" y="224"/>
                    <a:pt x="0" y="224"/>
                    <a:pt x="0" y="224"/>
                  </a:cubicBezTo>
                  <a:cubicBezTo>
                    <a:pt x="0" y="100"/>
                    <a:pt x="100" y="0"/>
                    <a:pt x="224" y="0"/>
                  </a:cubicBezTo>
                  <a:cubicBezTo>
                    <a:pt x="348" y="0"/>
                    <a:pt x="448" y="100"/>
                    <a:pt x="448" y="224"/>
                  </a:cubicBezTo>
                  <a:close/>
                </a:path>
              </a:pathLst>
            </a:custGeom>
            <a:solidFill>
              <a:schemeClr val="accent2"/>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7" name="íśḷîďê">
              <a:extLst>
                <a:ext uri="{FF2B5EF4-FFF2-40B4-BE49-F238E27FC236}">
                  <a16:creationId xmlns:a16="http://schemas.microsoft.com/office/drawing/2014/main" id="{A97DF128-7643-4266-B277-0213ED9E49E2}"/>
                </a:ext>
              </a:extLst>
            </p:cNvPr>
            <p:cNvSpPr/>
            <p:nvPr/>
          </p:nvSpPr>
          <p:spPr>
            <a:xfrm>
              <a:off x="4049785" y="1378715"/>
              <a:ext cx="1494436" cy="1497760"/>
            </a:xfrm>
            <a:prstGeom prst="ellipse">
              <a:avLst/>
            </a:pr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4400" b="1" i="1" dirty="0">
                  <a:solidFill>
                    <a:schemeClr val="tx1"/>
                  </a:solidFill>
                </a:rPr>
                <a:t>W</a:t>
              </a:r>
              <a:endParaRPr lang="zh-CN" altLang="en-US" sz="4400" b="1" i="1" dirty="0">
                <a:solidFill>
                  <a:schemeClr val="tx1"/>
                </a:solidFill>
              </a:endParaRPr>
            </a:p>
          </p:txBody>
        </p:sp>
        <p:sp>
          <p:nvSpPr>
            <p:cNvPr id="18" name="îṣḷíḓé">
              <a:extLst>
                <a:ext uri="{FF2B5EF4-FFF2-40B4-BE49-F238E27FC236}">
                  <a16:creationId xmlns:a16="http://schemas.microsoft.com/office/drawing/2014/main" id="{6CF84D33-9B5E-4BE8-9A19-2F075E0A2811}"/>
                </a:ext>
              </a:extLst>
            </p:cNvPr>
            <p:cNvSpPr txBox="1"/>
            <p:nvPr/>
          </p:nvSpPr>
          <p:spPr bwMode="auto">
            <a:xfrm>
              <a:off x="3509439" y="4722611"/>
              <a:ext cx="2575128" cy="441805"/>
            </a:xfrm>
            <a:prstGeom prst="rect">
              <a:avLst/>
            </a:prstGeom>
            <a:no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2000"/>
                <a:t>Text he</a:t>
              </a:r>
              <a:r>
                <a:rPr lang="en-US" altLang="zh-CN" sz="100"/>
                <a:t> </a:t>
              </a:r>
              <a:r>
                <a:rPr lang="en-US" altLang="zh-CN" sz="2000"/>
                <a:t>re</a:t>
              </a:r>
              <a:endParaRPr lang="en-US" altLang="zh-CN" sz="2000" dirty="0"/>
            </a:p>
          </p:txBody>
        </p:sp>
        <p:sp>
          <p:nvSpPr>
            <p:cNvPr id="19" name="ïṣḷíḓè">
              <a:extLst>
                <a:ext uri="{FF2B5EF4-FFF2-40B4-BE49-F238E27FC236}">
                  <a16:creationId xmlns:a16="http://schemas.microsoft.com/office/drawing/2014/main" id="{FC178AFD-9D9E-4266-BD7D-7B8FA1E65DCA}"/>
                </a:ext>
              </a:extLst>
            </p:cNvPr>
            <p:cNvSpPr/>
            <p:nvPr/>
          </p:nvSpPr>
          <p:spPr bwMode="auto">
            <a:xfrm>
              <a:off x="3509439" y="5164416"/>
              <a:ext cx="2575128" cy="866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dirty="0"/>
                <a:t>Copy paste fonts. Choose the only option to retain </a:t>
              </a:r>
              <a:r>
                <a:rPr lang="en-US" altLang="zh-CN" sz="1100"/>
                <a:t>text.</a:t>
              </a:r>
              <a:r>
                <a:rPr lang="en-US" altLang="zh-CN" sz="100"/>
                <a:t> </a:t>
              </a:r>
              <a:endParaRPr lang="en-US" altLang="zh-CN" sz="100" dirty="0"/>
            </a:p>
            <a:p>
              <a:pPr algn="ctr">
                <a:lnSpc>
                  <a:spcPct val="150000"/>
                </a:lnSpc>
              </a:pPr>
              <a:r>
                <a:rPr lang="en-US" altLang="zh-CN" sz="1100" dirty="0"/>
                <a:t>……</a:t>
              </a:r>
            </a:p>
          </p:txBody>
        </p:sp>
        <p:grpSp>
          <p:nvGrpSpPr>
            <p:cNvPr id="20" name="ïṥḻïḓe">
              <a:extLst>
                <a:ext uri="{FF2B5EF4-FFF2-40B4-BE49-F238E27FC236}">
                  <a16:creationId xmlns:a16="http://schemas.microsoft.com/office/drawing/2014/main" id="{7486CD3F-4254-425D-9070-45604E7EE125}"/>
                </a:ext>
              </a:extLst>
            </p:cNvPr>
            <p:cNvGrpSpPr/>
            <p:nvPr/>
          </p:nvGrpSpPr>
          <p:grpSpPr>
            <a:xfrm>
              <a:off x="8536726" y="2788372"/>
              <a:ext cx="346978" cy="319168"/>
              <a:chOff x="6897244" y="3129780"/>
              <a:chExt cx="346978" cy="319168"/>
            </a:xfrm>
            <a:solidFill>
              <a:schemeClr val="bg1">
                <a:lumMod val="85000"/>
              </a:schemeClr>
            </a:solidFill>
          </p:grpSpPr>
          <p:sp>
            <p:nvSpPr>
              <p:cNvPr id="33" name="îšliḋe">
                <a:extLst>
                  <a:ext uri="{FF2B5EF4-FFF2-40B4-BE49-F238E27FC236}">
                    <a16:creationId xmlns:a16="http://schemas.microsoft.com/office/drawing/2014/main" id="{E38441CC-C3DE-4409-B4FC-6E5F651E1442}"/>
                  </a:ext>
                </a:extLst>
              </p:cNvPr>
              <p:cNvSpPr/>
              <p:nvPr/>
            </p:nvSpPr>
            <p:spPr bwMode="auto">
              <a:xfrm>
                <a:off x="7043080" y="3129780"/>
                <a:ext cx="201142" cy="319168"/>
              </a:xfrm>
              <a:custGeom>
                <a:avLst/>
                <a:gdLst>
                  <a:gd name="T0" fmla="*/ 8 w 51"/>
                  <a:gd name="T1" fmla="*/ 81 h 81"/>
                  <a:gd name="T2" fmla="*/ 3 w 51"/>
                  <a:gd name="T3" fmla="*/ 78 h 81"/>
                  <a:gd name="T4" fmla="*/ 3 w 51"/>
                  <a:gd name="T5" fmla="*/ 68 h 81"/>
                  <a:gd name="T6" fmla="*/ 30 w 51"/>
                  <a:gd name="T7" fmla="*/ 41 h 81"/>
                  <a:gd name="T8" fmla="*/ 3 w 51"/>
                  <a:gd name="T9" fmla="*/ 14 h 81"/>
                  <a:gd name="T10" fmla="*/ 3 w 51"/>
                  <a:gd name="T11" fmla="*/ 3 h 81"/>
                  <a:gd name="T12" fmla="*/ 13 w 51"/>
                  <a:gd name="T13" fmla="*/ 3 h 81"/>
                  <a:gd name="T14" fmla="*/ 51 w 51"/>
                  <a:gd name="T15" fmla="*/ 41 h 81"/>
                  <a:gd name="T16" fmla="*/ 13 w 51"/>
                  <a:gd name="T17" fmla="*/ 78 h 81"/>
                  <a:gd name="T18" fmla="*/ 8 w 5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1">
                    <a:moveTo>
                      <a:pt x="8" y="81"/>
                    </a:moveTo>
                    <a:cubicBezTo>
                      <a:pt x="6" y="81"/>
                      <a:pt x="4" y="80"/>
                      <a:pt x="3" y="78"/>
                    </a:cubicBezTo>
                    <a:cubicBezTo>
                      <a:pt x="0" y="76"/>
                      <a:pt x="0" y="71"/>
                      <a:pt x="3" y="68"/>
                    </a:cubicBezTo>
                    <a:cubicBezTo>
                      <a:pt x="30" y="41"/>
                      <a:pt x="30" y="41"/>
                      <a:pt x="30" y="41"/>
                    </a:cubicBezTo>
                    <a:cubicBezTo>
                      <a:pt x="3" y="14"/>
                      <a:pt x="3" y="14"/>
                      <a:pt x="3" y="14"/>
                    </a:cubicBezTo>
                    <a:cubicBezTo>
                      <a:pt x="0" y="11"/>
                      <a:pt x="0" y="6"/>
                      <a:pt x="3" y="3"/>
                    </a:cubicBezTo>
                    <a:cubicBezTo>
                      <a:pt x="5" y="0"/>
                      <a:pt x="10" y="0"/>
                      <a:pt x="13" y="3"/>
                    </a:cubicBezTo>
                    <a:cubicBezTo>
                      <a:pt x="51" y="41"/>
                      <a:pt x="51" y="41"/>
                      <a:pt x="51" y="41"/>
                    </a:cubicBezTo>
                    <a:cubicBezTo>
                      <a:pt x="13" y="78"/>
                      <a:pt x="13" y="78"/>
                      <a:pt x="13" y="78"/>
                    </a:cubicBezTo>
                    <a:cubicBezTo>
                      <a:pt x="12" y="80"/>
                      <a:pt x="10" y="81"/>
                      <a:pt x="8" y="81"/>
                    </a:cubicBez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4" name="iŝḻíḑe">
                <a:extLst>
                  <a:ext uri="{FF2B5EF4-FFF2-40B4-BE49-F238E27FC236}">
                    <a16:creationId xmlns:a16="http://schemas.microsoft.com/office/drawing/2014/main" id="{B0BBC402-3D66-44F7-959B-B484DEF26497}"/>
                  </a:ext>
                </a:extLst>
              </p:cNvPr>
              <p:cNvSpPr/>
              <p:nvPr/>
            </p:nvSpPr>
            <p:spPr bwMode="auto">
              <a:xfrm>
                <a:off x="6897244" y="3129780"/>
                <a:ext cx="201142" cy="319168"/>
              </a:xfrm>
              <a:custGeom>
                <a:avLst/>
                <a:gdLst>
                  <a:gd name="T0" fmla="*/ 8 w 51"/>
                  <a:gd name="T1" fmla="*/ 81 h 81"/>
                  <a:gd name="T2" fmla="*/ 2 w 51"/>
                  <a:gd name="T3" fmla="*/ 78 h 81"/>
                  <a:gd name="T4" fmla="*/ 2 w 51"/>
                  <a:gd name="T5" fmla="*/ 68 h 81"/>
                  <a:gd name="T6" fmla="*/ 30 w 51"/>
                  <a:gd name="T7" fmla="*/ 41 h 81"/>
                  <a:gd name="T8" fmla="*/ 2 w 51"/>
                  <a:gd name="T9" fmla="*/ 14 h 81"/>
                  <a:gd name="T10" fmla="*/ 2 w 51"/>
                  <a:gd name="T11" fmla="*/ 3 h 81"/>
                  <a:gd name="T12" fmla="*/ 13 w 51"/>
                  <a:gd name="T13" fmla="*/ 3 h 81"/>
                  <a:gd name="T14" fmla="*/ 51 w 51"/>
                  <a:gd name="T15" fmla="*/ 41 h 81"/>
                  <a:gd name="T16" fmla="*/ 13 w 51"/>
                  <a:gd name="T17" fmla="*/ 78 h 81"/>
                  <a:gd name="T18" fmla="*/ 8 w 5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1">
                    <a:moveTo>
                      <a:pt x="8" y="81"/>
                    </a:moveTo>
                    <a:cubicBezTo>
                      <a:pt x="6" y="81"/>
                      <a:pt x="4" y="80"/>
                      <a:pt x="2" y="78"/>
                    </a:cubicBezTo>
                    <a:cubicBezTo>
                      <a:pt x="0" y="76"/>
                      <a:pt x="0" y="71"/>
                      <a:pt x="2" y="68"/>
                    </a:cubicBezTo>
                    <a:cubicBezTo>
                      <a:pt x="30" y="41"/>
                      <a:pt x="30" y="41"/>
                      <a:pt x="30" y="41"/>
                    </a:cubicBezTo>
                    <a:cubicBezTo>
                      <a:pt x="2" y="14"/>
                      <a:pt x="2" y="14"/>
                      <a:pt x="2" y="14"/>
                    </a:cubicBezTo>
                    <a:cubicBezTo>
                      <a:pt x="0" y="11"/>
                      <a:pt x="0" y="6"/>
                      <a:pt x="2" y="3"/>
                    </a:cubicBezTo>
                    <a:cubicBezTo>
                      <a:pt x="5" y="0"/>
                      <a:pt x="10" y="0"/>
                      <a:pt x="13" y="3"/>
                    </a:cubicBezTo>
                    <a:cubicBezTo>
                      <a:pt x="51" y="41"/>
                      <a:pt x="51" y="41"/>
                      <a:pt x="51" y="41"/>
                    </a:cubicBezTo>
                    <a:cubicBezTo>
                      <a:pt x="13" y="78"/>
                      <a:pt x="13" y="78"/>
                      <a:pt x="13" y="78"/>
                    </a:cubicBezTo>
                    <a:cubicBezTo>
                      <a:pt x="12" y="80"/>
                      <a:pt x="10" y="81"/>
                      <a:pt x="8" y="81"/>
                    </a:cubicBez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21" name="ïṩ1íḓé">
              <a:extLst>
                <a:ext uri="{FF2B5EF4-FFF2-40B4-BE49-F238E27FC236}">
                  <a16:creationId xmlns:a16="http://schemas.microsoft.com/office/drawing/2014/main" id="{4F2D90FC-9A18-42F2-B838-7F5D8F10E0E4}"/>
                </a:ext>
              </a:extLst>
            </p:cNvPr>
            <p:cNvSpPr/>
            <p:nvPr/>
          </p:nvSpPr>
          <p:spPr bwMode="auto">
            <a:xfrm>
              <a:off x="7253700" y="4188055"/>
              <a:ext cx="282596" cy="462128"/>
            </a:xfrm>
            <a:custGeom>
              <a:avLst/>
              <a:gdLst>
                <a:gd name="T0" fmla="*/ 52 w 72"/>
                <a:gd name="T1" fmla="*/ 0 h 117"/>
                <a:gd name="T2" fmla="*/ 52 w 72"/>
                <a:gd name="T3" fmla="*/ 71 h 117"/>
                <a:gd name="T4" fmla="*/ 69 w 72"/>
                <a:gd name="T5" fmla="*/ 71 h 117"/>
                <a:gd name="T6" fmla="*/ 72 w 72"/>
                <a:gd name="T7" fmla="*/ 73 h 117"/>
                <a:gd name="T8" fmla="*/ 71 w 72"/>
                <a:gd name="T9" fmla="*/ 77 h 117"/>
                <a:gd name="T10" fmla="*/ 36 w 72"/>
                <a:gd name="T11" fmla="*/ 117 h 117"/>
                <a:gd name="T12" fmla="*/ 1 w 72"/>
                <a:gd name="T13" fmla="*/ 77 h 117"/>
                <a:gd name="T14" fmla="*/ 0 w 72"/>
                <a:gd name="T15" fmla="*/ 73 h 117"/>
                <a:gd name="T16" fmla="*/ 3 w 72"/>
                <a:gd name="T17" fmla="*/ 71 h 117"/>
                <a:gd name="T18" fmla="*/ 20 w 72"/>
                <a:gd name="T19" fmla="*/ 71 h 117"/>
                <a:gd name="T20" fmla="*/ 20 w 72"/>
                <a:gd name="T21" fmla="*/ 0 h 117"/>
                <a:gd name="T22" fmla="*/ 52 w 72"/>
                <a:gd name="T2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17">
                  <a:moveTo>
                    <a:pt x="52" y="0"/>
                  </a:moveTo>
                  <a:cubicBezTo>
                    <a:pt x="52" y="71"/>
                    <a:pt x="52" y="71"/>
                    <a:pt x="52" y="71"/>
                  </a:cubicBezTo>
                  <a:cubicBezTo>
                    <a:pt x="69" y="71"/>
                    <a:pt x="69" y="71"/>
                    <a:pt x="69" y="71"/>
                  </a:cubicBezTo>
                  <a:cubicBezTo>
                    <a:pt x="70" y="71"/>
                    <a:pt x="71" y="72"/>
                    <a:pt x="72" y="73"/>
                  </a:cubicBezTo>
                  <a:cubicBezTo>
                    <a:pt x="72" y="75"/>
                    <a:pt x="72" y="76"/>
                    <a:pt x="71" y="77"/>
                  </a:cubicBezTo>
                  <a:cubicBezTo>
                    <a:pt x="36" y="117"/>
                    <a:pt x="36" y="117"/>
                    <a:pt x="36" y="117"/>
                  </a:cubicBezTo>
                  <a:cubicBezTo>
                    <a:pt x="1" y="77"/>
                    <a:pt x="1" y="77"/>
                    <a:pt x="1" y="77"/>
                  </a:cubicBezTo>
                  <a:cubicBezTo>
                    <a:pt x="0" y="76"/>
                    <a:pt x="0" y="75"/>
                    <a:pt x="0" y="73"/>
                  </a:cubicBezTo>
                  <a:cubicBezTo>
                    <a:pt x="1" y="72"/>
                    <a:pt x="2" y="71"/>
                    <a:pt x="3" y="71"/>
                  </a:cubicBezTo>
                  <a:cubicBezTo>
                    <a:pt x="20" y="71"/>
                    <a:pt x="20" y="71"/>
                    <a:pt x="20" y="71"/>
                  </a:cubicBezTo>
                  <a:cubicBezTo>
                    <a:pt x="20" y="0"/>
                    <a:pt x="20" y="0"/>
                    <a:pt x="20" y="0"/>
                  </a:cubicBezTo>
                  <a:cubicBezTo>
                    <a:pt x="52" y="0"/>
                    <a:pt x="52" y="0"/>
                    <a:pt x="52" y="0"/>
                  </a:cubicBezTo>
                </a:path>
              </a:pathLst>
            </a:custGeom>
            <a:solidFill>
              <a:schemeClr val="accent3"/>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2" name="îŝḷiďè">
              <a:extLst>
                <a:ext uri="{FF2B5EF4-FFF2-40B4-BE49-F238E27FC236}">
                  <a16:creationId xmlns:a16="http://schemas.microsoft.com/office/drawing/2014/main" id="{E7D62371-276B-484E-B275-512DA9469608}"/>
                </a:ext>
              </a:extLst>
            </p:cNvPr>
            <p:cNvSpPr/>
            <p:nvPr/>
          </p:nvSpPr>
          <p:spPr bwMode="auto">
            <a:xfrm>
              <a:off x="7331830" y="4188055"/>
              <a:ext cx="126337" cy="99740"/>
            </a:xfrm>
            <a:custGeom>
              <a:avLst/>
              <a:gdLst>
                <a:gd name="T0" fmla="*/ 32 w 32"/>
                <a:gd name="T1" fmla="*/ 0 h 25"/>
                <a:gd name="T2" fmla="*/ 0 w 32"/>
                <a:gd name="T3" fmla="*/ 0 h 25"/>
                <a:gd name="T4" fmla="*/ 0 w 32"/>
                <a:gd name="T5" fmla="*/ 25 h 25"/>
                <a:gd name="T6" fmla="*/ 16 w 32"/>
                <a:gd name="T7" fmla="*/ 20 h 25"/>
                <a:gd name="T8" fmla="*/ 32 w 32"/>
                <a:gd name="T9" fmla="*/ 25 h 25"/>
                <a:gd name="T10" fmla="*/ 32 w 32"/>
                <a:gd name="T11" fmla="*/ 0 h 25"/>
              </a:gdLst>
              <a:ahLst/>
              <a:cxnLst>
                <a:cxn ang="0">
                  <a:pos x="T0" y="T1"/>
                </a:cxn>
                <a:cxn ang="0">
                  <a:pos x="T2" y="T3"/>
                </a:cxn>
                <a:cxn ang="0">
                  <a:pos x="T4" y="T5"/>
                </a:cxn>
                <a:cxn ang="0">
                  <a:pos x="T6" y="T7"/>
                </a:cxn>
                <a:cxn ang="0">
                  <a:pos x="T8" y="T9"/>
                </a:cxn>
                <a:cxn ang="0">
                  <a:pos x="T10" y="T11"/>
                </a:cxn>
              </a:cxnLst>
              <a:rect l="0" t="0" r="r" b="b"/>
              <a:pathLst>
                <a:path w="32" h="25">
                  <a:moveTo>
                    <a:pt x="32" y="0"/>
                  </a:moveTo>
                  <a:cubicBezTo>
                    <a:pt x="0" y="0"/>
                    <a:pt x="0" y="0"/>
                    <a:pt x="0" y="0"/>
                  </a:cubicBezTo>
                  <a:cubicBezTo>
                    <a:pt x="0" y="25"/>
                    <a:pt x="0" y="25"/>
                    <a:pt x="0" y="25"/>
                  </a:cubicBezTo>
                  <a:cubicBezTo>
                    <a:pt x="4" y="22"/>
                    <a:pt x="10" y="20"/>
                    <a:pt x="16" y="20"/>
                  </a:cubicBezTo>
                  <a:cubicBezTo>
                    <a:pt x="22" y="20"/>
                    <a:pt x="28" y="22"/>
                    <a:pt x="32" y="25"/>
                  </a:cubicBezTo>
                  <a:cubicBezTo>
                    <a:pt x="32" y="0"/>
                    <a:pt x="32" y="0"/>
                    <a:pt x="32" y="0"/>
                  </a:cubicBezTo>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3" name="ïṧḷiďé">
              <a:extLst>
                <a:ext uri="{FF2B5EF4-FFF2-40B4-BE49-F238E27FC236}">
                  <a16:creationId xmlns:a16="http://schemas.microsoft.com/office/drawing/2014/main" id="{421014C0-D419-4560-B3DF-16074BF4ED52}"/>
                </a:ext>
              </a:extLst>
            </p:cNvPr>
            <p:cNvSpPr/>
            <p:nvPr/>
          </p:nvSpPr>
          <p:spPr bwMode="auto">
            <a:xfrm>
              <a:off x="6514794" y="1245729"/>
              <a:ext cx="1760409" cy="3120195"/>
            </a:xfrm>
            <a:custGeom>
              <a:avLst/>
              <a:gdLst>
                <a:gd name="T0" fmla="*/ 448 w 448"/>
                <a:gd name="T1" fmla="*/ 224 h 792"/>
                <a:gd name="T2" fmla="*/ 448 w 448"/>
                <a:gd name="T3" fmla="*/ 570 h 792"/>
                <a:gd name="T4" fmla="*/ 252 w 448"/>
                <a:gd name="T5" fmla="*/ 792 h 792"/>
                <a:gd name="T6" fmla="*/ 252 w 448"/>
                <a:gd name="T7" fmla="*/ 777 h 792"/>
                <a:gd name="T8" fmla="*/ 224 w 448"/>
                <a:gd name="T9" fmla="*/ 749 h 792"/>
                <a:gd name="T10" fmla="*/ 196 w 448"/>
                <a:gd name="T11" fmla="*/ 777 h 792"/>
                <a:gd name="T12" fmla="*/ 196 w 448"/>
                <a:gd name="T13" fmla="*/ 792 h 792"/>
                <a:gd name="T14" fmla="*/ 0 w 448"/>
                <a:gd name="T15" fmla="*/ 570 h 792"/>
                <a:gd name="T16" fmla="*/ 0 w 448"/>
                <a:gd name="T17" fmla="*/ 224 h 792"/>
                <a:gd name="T18" fmla="*/ 224 w 448"/>
                <a:gd name="T19" fmla="*/ 0 h 792"/>
                <a:gd name="T20" fmla="*/ 448 w 448"/>
                <a:gd name="T21" fmla="*/ 224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8" h="792">
                  <a:moveTo>
                    <a:pt x="448" y="224"/>
                  </a:moveTo>
                  <a:cubicBezTo>
                    <a:pt x="448" y="570"/>
                    <a:pt x="448" y="570"/>
                    <a:pt x="448" y="570"/>
                  </a:cubicBezTo>
                  <a:cubicBezTo>
                    <a:pt x="448" y="684"/>
                    <a:pt x="362" y="778"/>
                    <a:pt x="252" y="792"/>
                  </a:cubicBezTo>
                  <a:cubicBezTo>
                    <a:pt x="252" y="777"/>
                    <a:pt x="252" y="777"/>
                    <a:pt x="252" y="777"/>
                  </a:cubicBezTo>
                  <a:cubicBezTo>
                    <a:pt x="252" y="761"/>
                    <a:pt x="239" y="749"/>
                    <a:pt x="224" y="749"/>
                  </a:cubicBezTo>
                  <a:cubicBezTo>
                    <a:pt x="209" y="749"/>
                    <a:pt x="196" y="761"/>
                    <a:pt x="196" y="777"/>
                  </a:cubicBezTo>
                  <a:cubicBezTo>
                    <a:pt x="196" y="792"/>
                    <a:pt x="196" y="792"/>
                    <a:pt x="196" y="792"/>
                  </a:cubicBezTo>
                  <a:cubicBezTo>
                    <a:pt x="86" y="778"/>
                    <a:pt x="0" y="684"/>
                    <a:pt x="0" y="570"/>
                  </a:cubicBezTo>
                  <a:cubicBezTo>
                    <a:pt x="0" y="224"/>
                    <a:pt x="0" y="224"/>
                    <a:pt x="0" y="224"/>
                  </a:cubicBezTo>
                  <a:cubicBezTo>
                    <a:pt x="0" y="100"/>
                    <a:pt x="100" y="0"/>
                    <a:pt x="224" y="0"/>
                  </a:cubicBezTo>
                  <a:cubicBezTo>
                    <a:pt x="348" y="0"/>
                    <a:pt x="448" y="100"/>
                    <a:pt x="448" y="224"/>
                  </a:cubicBezTo>
                  <a:close/>
                </a:path>
              </a:pathLst>
            </a:custGeom>
            <a:solidFill>
              <a:schemeClr val="accent3"/>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4" name="ïṥľîde">
              <a:extLst>
                <a:ext uri="{FF2B5EF4-FFF2-40B4-BE49-F238E27FC236}">
                  <a16:creationId xmlns:a16="http://schemas.microsoft.com/office/drawing/2014/main" id="{B92FB288-DFEC-4732-A0E2-A104C62A2C69}"/>
                </a:ext>
              </a:extLst>
            </p:cNvPr>
            <p:cNvSpPr/>
            <p:nvPr/>
          </p:nvSpPr>
          <p:spPr>
            <a:xfrm>
              <a:off x="6647780" y="1378715"/>
              <a:ext cx="1494436" cy="1497760"/>
            </a:xfrm>
            <a:prstGeom prst="ellipse">
              <a:avLst/>
            </a:pr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4400" b="1" i="1" dirty="0">
                  <a:solidFill>
                    <a:schemeClr val="tx1"/>
                  </a:solidFill>
                </a:rPr>
                <a:t>O</a:t>
              </a:r>
              <a:endParaRPr lang="zh-CN" altLang="en-US" sz="4400" b="1" i="1" dirty="0">
                <a:solidFill>
                  <a:schemeClr val="tx1"/>
                </a:solidFill>
              </a:endParaRPr>
            </a:p>
          </p:txBody>
        </p:sp>
        <p:sp>
          <p:nvSpPr>
            <p:cNvPr id="25" name="îṣľîḍê">
              <a:extLst>
                <a:ext uri="{FF2B5EF4-FFF2-40B4-BE49-F238E27FC236}">
                  <a16:creationId xmlns:a16="http://schemas.microsoft.com/office/drawing/2014/main" id="{6CF84D33-9B5E-4BE8-9A19-2F075E0A2811}"/>
                </a:ext>
              </a:extLst>
            </p:cNvPr>
            <p:cNvSpPr txBox="1"/>
            <p:nvPr/>
          </p:nvSpPr>
          <p:spPr bwMode="auto">
            <a:xfrm>
              <a:off x="6107434" y="4722611"/>
              <a:ext cx="2575128" cy="441805"/>
            </a:xfrm>
            <a:prstGeom prst="rect">
              <a:avLst/>
            </a:prstGeom>
            <a:no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2000"/>
                <a:t>Text he</a:t>
              </a:r>
              <a:r>
                <a:rPr lang="en-US" altLang="zh-CN" sz="100"/>
                <a:t> </a:t>
              </a:r>
              <a:r>
                <a:rPr lang="en-US" altLang="zh-CN" sz="2000"/>
                <a:t>re</a:t>
              </a:r>
              <a:endParaRPr lang="en-US" altLang="zh-CN" sz="2000" dirty="0"/>
            </a:p>
          </p:txBody>
        </p:sp>
        <p:sp>
          <p:nvSpPr>
            <p:cNvPr id="26" name="îṥ1îḍè">
              <a:extLst>
                <a:ext uri="{FF2B5EF4-FFF2-40B4-BE49-F238E27FC236}">
                  <a16:creationId xmlns:a16="http://schemas.microsoft.com/office/drawing/2014/main" id="{FC178AFD-9D9E-4266-BD7D-7B8FA1E65DCA}"/>
                </a:ext>
              </a:extLst>
            </p:cNvPr>
            <p:cNvSpPr/>
            <p:nvPr/>
          </p:nvSpPr>
          <p:spPr bwMode="auto">
            <a:xfrm>
              <a:off x="6107434" y="5164416"/>
              <a:ext cx="2575128" cy="866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dirty="0"/>
                <a:t>Copy paste fonts. Choose the only option to retain </a:t>
              </a:r>
              <a:r>
                <a:rPr lang="en-US" altLang="zh-CN" sz="1100"/>
                <a:t>text.</a:t>
              </a:r>
              <a:r>
                <a:rPr lang="en-US" altLang="zh-CN" sz="100"/>
                <a:t> </a:t>
              </a:r>
              <a:endParaRPr lang="en-US" altLang="zh-CN" sz="100" dirty="0"/>
            </a:p>
            <a:p>
              <a:pPr algn="ctr">
                <a:lnSpc>
                  <a:spcPct val="150000"/>
                </a:lnSpc>
              </a:pPr>
              <a:r>
                <a:rPr lang="en-US" altLang="zh-CN" sz="1100" dirty="0"/>
                <a:t>……</a:t>
              </a:r>
            </a:p>
          </p:txBody>
        </p:sp>
        <p:sp>
          <p:nvSpPr>
            <p:cNvPr id="27" name="íṥḻíde">
              <a:extLst>
                <a:ext uri="{FF2B5EF4-FFF2-40B4-BE49-F238E27FC236}">
                  <a16:creationId xmlns:a16="http://schemas.microsoft.com/office/drawing/2014/main" id="{655E95FC-4336-499A-A1F5-CE7B54E3C6C0}"/>
                </a:ext>
              </a:extLst>
            </p:cNvPr>
            <p:cNvSpPr/>
            <p:nvPr/>
          </p:nvSpPr>
          <p:spPr bwMode="auto">
            <a:xfrm>
              <a:off x="9851694" y="4188055"/>
              <a:ext cx="282596" cy="462128"/>
            </a:xfrm>
            <a:custGeom>
              <a:avLst/>
              <a:gdLst>
                <a:gd name="T0" fmla="*/ 52 w 72"/>
                <a:gd name="T1" fmla="*/ 0 h 117"/>
                <a:gd name="T2" fmla="*/ 52 w 72"/>
                <a:gd name="T3" fmla="*/ 71 h 117"/>
                <a:gd name="T4" fmla="*/ 69 w 72"/>
                <a:gd name="T5" fmla="*/ 71 h 117"/>
                <a:gd name="T6" fmla="*/ 72 w 72"/>
                <a:gd name="T7" fmla="*/ 73 h 117"/>
                <a:gd name="T8" fmla="*/ 71 w 72"/>
                <a:gd name="T9" fmla="*/ 77 h 117"/>
                <a:gd name="T10" fmla="*/ 36 w 72"/>
                <a:gd name="T11" fmla="*/ 117 h 117"/>
                <a:gd name="T12" fmla="*/ 1 w 72"/>
                <a:gd name="T13" fmla="*/ 77 h 117"/>
                <a:gd name="T14" fmla="*/ 0 w 72"/>
                <a:gd name="T15" fmla="*/ 73 h 117"/>
                <a:gd name="T16" fmla="*/ 3 w 72"/>
                <a:gd name="T17" fmla="*/ 71 h 117"/>
                <a:gd name="T18" fmla="*/ 20 w 72"/>
                <a:gd name="T19" fmla="*/ 71 h 117"/>
                <a:gd name="T20" fmla="*/ 20 w 72"/>
                <a:gd name="T21" fmla="*/ 0 h 117"/>
                <a:gd name="T22" fmla="*/ 52 w 72"/>
                <a:gd name="T2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17">
                  <a:moveTo>
                    <a:pt x="52" y="0"/>
                  </a:moveTo>
                  <a:cubicBezTo>
                    <a:pt x="52" y="71"/>
                    <a:pt x="52" y="71"/>
                    <a:pt x="52" y="71"/>
                  </a:cubicBezTo>
                  <a:cubicBezTo>
                    <a:pt x="69" y="71"/>
                    <a:pt x="69" y="71"/>
                    <a:pt x="69" y="71"/>
                  </a:cubicBezTo>
                  <a:cubicBezTo>
                    <a:pt x="70" y="71"/>
                    <a:pt x="71" y="72"/>
                    <a:pt x="72" y="73"/>
                  </a:cubicBezTo>
                  <a:cubicBezTo>
                    <a:pt x="72" y="75"/>
                    <a:pt x="72" y="76"/>
                    <a:pt x="71" y="77"/>
                  </a:cubicBezTo>
                  <a:cubicBezTo>
                    <a:pt x="36" y="117"/>
                    <a:pt x="36" y="117"/>
                    <a:pt x="36" y="117"/>
                  </a:cubicBezTo>
                  <a:cubicBezTo>
                    <a:pt x="1" y="77"/>
                    <a:pt x="1" y="77"/>
                    <a:pt x="1" y="77"/>
                  </a:cubicBezTo>
                  <a:cubicBezTo>
                    <a:pt x="0" y="76"/>
                    <a:pt x="0" y="75"/>
                    <a:pt x="0" y="73"/>
                  </a:cubicBezTo>
                  <a:cubicBezTo>
                    <a:pt x="1" y="72"/>
                    <a:pt x="2" y="71"/>
                    <a:pt x="3" y="71"/>
                  </a:cubicBezTo>
                  <a:cubicBezTo>
                    <a:pt x="20" y="71"/>
                    <a:pt x="20" y="71"/>
                    <a:pt x="20" y="71"/>
                  </a:cubicBezTo>
                  <a:cubicBezTo>
                    <a:pt x="20" y="0"/>
                    <a:pt x="20" y="0"/>
                    <a:pt x="20" y="0"/>
                  </a:cubicBezTo>
                  <a:cubicBezTo>
                    <a:pt x="52" y="0"/>
                    <a:pt x="52" y="0"/>
                    <a:pt x="52" y="0"/>
                  </a:cubicBezTo>
                </a:path>
              </a:pathLst>
            </a:custGeom>
            <a:solidFill>
              <a:schemeClr val="accent4"/>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8" name="íṥḻïḋè">
              <a:extLst>
                <a:ext uri="{FF2B5EF4-FFF2-40B4-BE49-F238E27FC236}">
                  <a16:creationId xmlns:a16="http://schemas.microsoft.com/office/drawing/2014/main" id="{76D1B1AE-8B43-42AB-A33D-FE68DAE73E3E}"/>
                </a:ext>
              </a:extLst>
            </p:cNvPr>
            <p:cNvSpPr/>
            <p:nvPr/>
          </p:nvSpPr>
          <p:spPr bwMode="auto">
            <a:xfrm>
              <a:off x="9929824" y="4188055"/>
              <a:ext cx="126337" cy="99740"/>
            </a:xfrm>
            <a:custGeom>
              <a:avLst/>
              <a:gdLst>
                <a:gd name="T0" fmla="*/ 32 w 32"/>
                <a:gd name="T1" fmla="*/ 0 h 25"/>
                <a:gd name="T2" fmla="*/ 0 w 32"/>
                <a:gd name="T3" fmla="*/ 0 h 25"/>
                <a:gd name="T4" fmla="*/ 0 w 32"/>
                <a:gd name="T5" fmla="*/ 25 h 25"/>
                <a:gd name="T6" fmla="*/ 16 w 32"/>
                <a:gd name="T7" fmla="*/ 20 h 25"/>
                <a:gd name="T8" fmla="*/ 32 w 32"/>
                <a:gd name="T9" fmla="*/ 25 h 25"/>
                <a:gd name="T10" fmla="*/ 32 w 32"/>
                <a:gd name="T11" fmla="*/ 0 h 25"/>
              </a:gdLst>
              <a:ahLst/>
              <a:cxnLst>
                <a:cxn ang="0">
                  <a:pos x="T0" y="T1"/>
                </a:cxn>
                <a:cxn ang="0">
                  <a:pos x="T2" y="T3"/>
                </a:cxn>
                <a:cxn ang="0">
                  <a:pos x="T4" y="T5"/>
                </a:cxn>
                <a:cxn ang="0">
                  <a:pos x="T6" y="T7"/>
                </a:cxn>
                <a:cxn ang="0">
                  <a:pos x="T8" y="T9"/>
                </a:cxn>
                <a:cxn ang="0">
                  <a:pos x="T10" y="T11"/>
                </a:cxn>
              </a:cxnLst>
              <a:rect l="0" t="0" r="r" b="b"/>
              <a:pathLst>
                <a:path w="32" h="25">
                  <a:moveTo>
                    <a:pt x="32" y="0"/>
                  </a:moveTo>
                  <a:cubicBezTo>
                    <a:pt x="0" y="0"/>
                    <a:pt x="0" y="0"/>
                    <a:pt x="0" y="0"/>
                  </a:cubicBezTo>
                  <a:cubicBezTo>
                    <a:pt x="0" y="25"/>
                    <a:pt x="0" y="25"/>
                    <a:pt x="0" y="25"/>
                  </a:cubicBezTo>
                  <a:cubicBezTo>
                    <a:pt x="4" y="22"/>
                    <a:pt x="10" y="20"/>
                    <a:pt x="16" y="20"/>
                  </a:cubicBezTo>
                  <a:cubicBezTo>
                    <a:pt x="22" y="20"/>
                    <a:pt x="28" y="22"/>
                    <a:pt x="32" y="25"/>
                  </a:cubicBezTo>
                  <a:cubicBezTo>
                    <a:pt x="32" y="0"/>
                    <a:pt x="32" y="0"/>
                    <a:pt x="32" y="0"/>
                  </a:cubicBezTo>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a:p>
          </p:txBody>
        </p:sp>
        <p:sp>
          <p:nvSpPr>
            <p:cNvPr id="29" name="íşḷiḍe">
              <a:extLst>
                <a:ext uri="{FF2B5EF4-FFF2-40B4-BE49-F238E27FC236}">
                  <a16:creationId xmlns:a16="http://schemas.microsoft.com/office/drawing/2014/main" id="{5E3FE893-4049-4419-BBEE-248989F623B0}"/>
                </a:ext>
              </a:extLst>
            </p:cNvPr>
            <p:cNvSpPr/>
            <p:nvPr/>
          </p:nvSpPr>
          <p:spPr bwMode="auto">
            <a:xfrm>
              <a:off x="9112788" y="1245729"/>
              <a:ext cx="1760409" cy="3120195"/>
            </a:xfrm>
            <a:custGeom>
              <a:avLst/>
              <a:gdLst>
                <a:gd name="T0" fmla="*/ 448 w 448"/>
                <a:gd name="T1" fmla="*/ 224 h 792"/>
                <a:gd name="T2" fmla="*/ 448 w 448"/>
                <a:gd name="T3" fmla="*/ 570 h 792"/>
                <a:gd name="T4" fmla="*/ 252 w 448"/>
                <a:gd name="T5" fmla="*/ 792 h 792"/>
                <a:gd name="T6" fmla="*/ 252 w 448"/>
                <a:gd name="T7" fmla="*/ 777 h 792"/>
                <a:gd name="T8" fmla="*/ 224 w 448"/>
                <a:gd name="T9" fmla="*/ 749 h 792"/>
                <a:gd name="T10" fmla="*/ 196 w 448"/>
                <a:gd name="T11" fmla="*/ 777 h 792"/>
                <a:gd name="T12" fmla="*/ 196 w 448"/>
                <a:gd name="T13" fmla="*/ 792 h 792"/>
                <a:gd name="T14" fmla="*/ 0 w 448"/>
                <a:gd name="T15" fmla="*/ 570 h 792"/>
                <a:gd name="T16" fmla="*/ 0 w 448"/>
                <a:gd name="T17" fmla="*/ 224 h 792"/>
                <a:gd name="T18" fmla="*/ 224 w 448"/>
                <a:gd name="T19" fmla="*/ 0 h 792"/>
                <a:gd name="T20" fmla="*/ 448 w 448"/>
                <a:gd name="T21" fmla="*/ 224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8" h="792">
                  <a:moveTo>
                    <a:pt x="448" y="224"/>
                  </a:moveTo>
                  <a:cubicBezTo>
                    <a:pt x="448" y="570"/>
                    <a:pt x="448" y="570"/>
                    <a:pt x="448" y="570"/>
                  </a:cubicBezTo>
                  <a:cubicBezTo>
                    <a:pt x="448" y="684"/>
                    <a:pt x="362" y="778"/>
                    <a:pt x="252" y="792"/>
                  </a:cubicBezTo>
                  <a:cubicBezTo>
                    <a:pt x="252" y="777"/>
                    <a:pt x="252" y="777"/>
                    <a:pt x="252" y="777"/>
                  </a:cubicBezTo>
                  <a:cubicBezTo>
                    <a:pt x="252" y="761"/>
                    <a:pt x="239" y="749"/>
                    <a:pt x="224" y="749"/>
                  </a:cubicBezTo>
                  <a:cubicBezTo>
                    <a:pt x="209" y="749"/>
                    <a:pt x="196" y="761"/>
                    <a:pt x="196" y="777"/>
                  </a:cubicBezTo>
                  <a:cubicBezTo>
                    <a:pt x="196" y="792"/>
                    <a:pt x="196" y="792"/>
                    <a:pt x="196" y="792"/>
                  </a:cubicBezTo>
                  <a:cubicBezTo>
                    <a:pt x="86" y="778"/>
                    <a:pt x="0" y="684"/>
                    <a:pt x="0" y="570"/>
                  </a:cubicBezTo>
                  <a:cubicBezTo>
                    <a:pt x="0" y="224"/>
                    <a:pt x="0" y="224"/>
                    <a:pt x="0" y="224"/>
                  </a:cubicBezTo>
                  <a:cubicBezTo>
                    <a:pt x="0" y="100"/>
                    <a:pt x="100" y="0"/>
                    <a:pt x="224" y="0"/>
                  </a:cubicBezTo>
                  <a:cubicBezTo>
                    <a:pt x="348" y="0"/>
                    <a:pt x="448" y="100"/>
                    <a:pt x="448" y="224"/>
                  </a:cubicBezTo>
                  <a:close/>
                </a:path>
              </a:pathLst>
            </a:custGeom>
            <a:solidFill>
              <a:schemeClr val="accent4"/>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0" name="ïsľiḓe">
              <a:extLst>
                <a:ext uri="{FF2B5EF4-FFF2-40B4-BE49-F238E27FC236}">
                  <a16:creationId xmlns:a16="http://schemas.microsoft.com/office/drawing/2014/main" id="{05F86123-9713-4FCB-B331-A3BA1B3E1C6C}"/>
                </a:ext>
              </a:extLst>
            </p:cNvPr>
            <p:cNvSpPr/>
            <p:nvPr/>
          </p:nvSpPr>
          <p:spPr>
            <a:xfrm>
              <a:off x="9245774" y="1378715"/>
              <a:ext cx="1494436" cy="1497760"/>
            </a:xfrm>
            <a:prstGeom prst="ellipse">
              <a:avLst/>
            </a:pr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4400" b="1" i="1" dirty="0">
                  <a:solidFill>
                    <a:schemeClr val="tx1"/>
                  </a:solidFill>
                </a:rPr>
                <a:t>T</a:t>
              </a:r>
              <a:endParaRPr lang="zh-CN" altLang="en-US" sz="4400" b="1" i="1" dirty="0">
                <a:solidFill>
                  <a:schemeClr val="tx1"/>
                </a:solidFill>
              </a:endParaRPr>
            </a:p>
          </p:txBody>
        </p:sp>
        <p:sp>
          <p:nvSpPr>
            <p:cNvPr id="31" name="i$lîḍè">
              <a:extLst>
                <a:ext uri="{FF2B5EF4-FFF2-40B4-BE49-F238E27FC236}">
                  <a16:creationId xmlns:a16="http://schemas.microsoft.com/office/drawing/2014/main" id="{6CF84D33-9B5E-4BE8-9A19-2F075E0A2811}"/>
                </a:ext>
              </a:extLst>
            </p:cNvPr>
            <p:cNvSpPr txBox="1"/>
            <p:nvPr/>
          </p:nvSpPr>
          <p:spPr bwMode="auto">
            <a:xfrm>
              <a:off x="8705428" y="4722611"/>
              <a:ext cx="2575128" cy="441805"/>
            </a:xfrm>
            <a:prstGeom prst="rect">
              <a:avLst/>
            </a:prstGeom>
            <a:no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2000"/>
                <a:t>Text he</a:t>
              </a:r>
              <a:r>
                <a:rPr lang="en-US" altLang="zh-CN" sz="100"/>
                <a:t> </a:t>
              </a:r>
              <a:r>
                <a:rPr lang="en-US" altLang="zh-CN" sz="2000"/>
                <a:t>re</a:t>
              </a:r>
              <a:endParaRPr lang="en-US" altLang="zh-CN" sz="2000" dirty="0"/>
            </a:p>
          </p:txBody>
        </p:sp>
        <p:sp>
          <p:nvSpPr>
            <p:cNvPr id="32" name="í$ľíḑè">
              <a:extLst>
                <a:ext uri="{FF2B5EF4-FFF2-40B4-BE49-F238E27FC236}">
                  <a16:creationId xmlns:a16="http://schemas.microsoft.com/office/drawing/2014/main" id="{FC178AFD-9D9E-4266-BD7D-7B8FA1E65DCA}"/>
                </a:ext>
              </a:extLst>
            </p:cNvPr>
            <p:cNvSpPr/>
            <p:nvPr/>
          </p:nvSpPr>
          <p:spPr bwMode="auto">
            <a:xfrm>
              <a:off x="8705428" y="5164416"/>
              <a:ext cx="2575128" cy="866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dirty="0"/>
                <a:t>Copy paste fonts. Choose the only option to retain </a:t>
              </a:r>
              <a:r>
                <a:rPr lang="en-US" altLang="zh-CN" sz="1100"/>
                <a:t>text.</a:t>
              </a:r>
              <a:r>
                <a:rPr lang="en-US" altLang="zh-CN" sz="100"/>
                <a:t> </a:t>
              </a:r>
              <a:endParaRPr lang="en-US" altLang="zh-CN" sz="100" dirty="0"/>
            </a:p>
            <a:p>
              <a:pPr algn="ctr">
                <a:lnSpc>
                  <a:spcPct val="150000"/>
                </a:lnSpc>
              </a:pPr>
              <a:r>
                <a:rPr lang="en-US" altLang="zh-CN" sz="1100" dirty="0"/>
                <a:t>……</a:t>
              </a:r>
            </a:p>
          </p:txBody>
        </p:sp>
      </p:grpSp>
    </p:spTree>
    <p:custDataLst>
      <p:tags r:id="rId2"/>
    </p:custDataLst>
    <p:extLst>
      <p:ext uri="{BB962C8B-B14F-4D97-AF65-F5344CB8AC3E}">
        <p14:creationId xmlns:p14="http://schemas.microsoft.com/office/powerpoint/2010/main" val="12139100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ïṩľíḍé"/>
        <p:cNvGrpSpPr/>
        <p:nvPr/>
      </p:nvGrpSpPr>
      <p:grpSpPr>
        <a:xfrm>
          <a:off x="0" y="0"/>
          <a:ext cx="0" cy="0"/>
          <a:chOff x="0" y="0"/>
          <a:chExt cx="0" cy="0"/>
        </a:xfrm>
      </p:grpSpPr>
      <p:sp>
        <p:nvSpPr>
          <p:cNvPr id="2" name="iṣlidé">
            <a:extLst>
              <a:ext uri="{FF2B5EF4-FFF2-40B4-BE49-F238E27FC236}">
                <a16:creationId xmlns:a16="http://schemas.microsoft.com/office/drawing/2014/main" id="{E999100D-19C6-47B0-9745-263B20CAC84F}"/>
              </a:ext>
            </a:extLst>
          </p:cNvPr>
          <p:cNvSpPr>
            <a:spLocks noGrp="1"/>
          </p:cNvSpPr>
          <p:nvPr>
            <p:ph type="title"/>
          </p:nvPr>
        </p:nvSpPr>
        <p:spPr/>
        <p:txBody>
          <a:bodyPr/>
          <a:lstStyle/>
          <a:p>
            <a:r>
              <a:rPr lang="en-US" altLang="zh-CN" dirty="0"/>
              <a:t>Click to edit Master </a:t>
            </a:r>
            <a:r>
              <a:rPr lang="en-US" altLang="zh-CN"/>
              <a:t>title sty</a:t>
            </a:r>
            <a:r>
              <a:rPr lang="en-US" altLang="zh-CN" sz="100"/>
              <a:t> </a:t>
            </a:r>
            <a:r>
              <a:rPr lang="en-US" altLang="zh-CN"/>
              <a:t>le</a:t>
            </a:r>
            <a:endParaRPr lang="zh-CN" altLang="en-US" dirty="0"/>
          </a:p>
        </p:txBody>
      </p:sp>
      <p:sp>
        <p:nvSpPr>
          <p:cNvPr id="3" name="iś1iḓè">
            <a:extLst>
              <a:ext uri="{FF2B5EF4-FFF2-40B4-BE49-F238E27FC236}">
                <a16:creationId xmlns:a16="http://schemas.microsoft.com/office/drawing/2014/main" id="{A22BC39B-77B3-490E-87E9-EA149415A3CE}"/>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a:t>
            </a:r>
            <a:r>
              <a:rPr lang="zh-CN" altLang="en-US" sz="100"/>
              <a:t> </a:t>
            </a:r>
            <a:r>
              <a:rPr lang="zh-CN" altLang="en-US"/>
              <a:t>文本</a:t>
            </a:r>
            <a:endParaRPr lang="zh-CN" altLang="en-US" dirty="0"/>
          </a:p>
        </p:txBody>
      </p:sp>
      <p:sp>
        <p:nvSpPr>
          <p:cNvPr id="4" name="ïṡḷîḋê">
            <a:extLst>
              <a:ext uri="{FF2B5EF4-FFF2-40B4-BE49-F238E27FC236}">
                <a16:creationId xmlns:a16="http://schemas.microsoft.com/office/drawing/2014/main" id="{B7A80274-C620-4B4D-A71C-E4A46E6B0AF5}"/>
              </a:ext>
            </a:extLst>
          </p:cNvPr>
          <p:cNvSpPr>
            <a:spLocks noGrp="1"/>
          </p:cNvSpPr>
          <p:nvPr>
            <p:ph type="sldNum" sz="quarter" idx="12"/>
          </p:nvPr>
        </p:nvSpPr>
        <p:spPr/>
        <p:txBody>
          <a:bodyPr/>
          <a:lstStyle/>
          <a:p>
            <a:fld id="{5DD3DB80-B894-403A-B48E-6FDC1A72010E}" type="slidenum">
              <a:rPr lang="zh-CN" altLang="en-US" smtClean="0"/>
              <a:pPr/>
              <a:t>16</a:t>
            </a:fld>
            <a:r>
              <a:rPr lang="zh-CN" altLang="en-US" sz="100"/>
              <a:t> </a:t>
            </a:r>
          </a:p>
        </p:txBody>
      </p:sp>
      <p:cxnSp>
        <p:nvCxnSpPr>
          <p:cNvPr id="6" name="ïṥ1îḓe">
            <a:extLst>
              <a:ext uri="{FF2B5EF4-FFF2-40B4-BE49-F238E27FC236}">
                <a16:creationId xmlns:a16="http://schemas.microsoft.com/office/drawing/2014/main" id="{DEECBF68-9872-4F1F-83DF-39B87B72494C}"/>
              </a:ext>
            </a:extLst>
          </p:cNvPr>
          <p:cNvCxnSpPr/>
          <p:nvPr/>
        </p:nvCxnSpPr>
        <p:spPr>
          <a:xfrm>
            <a:off x="4092997" y="3140364"/>
            <a:ext cx="0" cy="300643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7" name="ïşlíḍe">
            <a:extLst>
              <a:ext uri="{FF2B5EF4-FFF2-40B4-BE49-F238E27FC236}">
                <a16:creationId xmlns:a16="http://schemas.microsoft.com/office/drawing/2014/main" id="{53C2E368-E993-48ED-9AB7-445FE5AA90AB}"/>
              </a:ext>
            </a:extLst>
          </p:cNvPr>
          <p:cNvCxnSpPr/>
          <p:nvPr/>
        </p:nvCxnSpPr>
        <p:spPr>
          <a:xfrm>
            <a:off x="8099002" y="3140364"/>
            <a:ext cx="0" cy="300643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9" name="îṡḷïďe">
            <a:extLst>
              <a:ext uri="{FF2B5EF4-FFF2-40B4-BE49-F238E27FC236}">
                <a16:creationId xmlns:a16="http://schemas.microsoft.com/office/drawing/2014/main" id="{15281A4A-15D4-4471-AE25-4E58E201A08A}"/>
              </a:ext>
            </a:extLst>
          </p:cNvPr>
          <p:cNvSpPr/>
          <p:nvPr/>
        </p:nvSpPr>
        <p:spPr>
          <a:xfrm>
            <a:off x="3516498" y="1214198"/>
            <a:ext cx="2089052" cy="2089052"/>
          </a:xfrm>
          <a:prstGeom prst="ellipse">
            <a:avLst/>
          </a:prstGeom>
          <a:solidFill>
            <a:schemeClr val="bg1">
              <a:lumMod val="65000"/>
            </a:schemeClr>
          </a:solidFill>
          <a:ln w="19050">
            <a:solidFill>
              <a:schemeClr val="bg1">
                <a:lumMod val="95000"/>
              </a:schemeClr>
            </a:solidFill>
            <a:prstDash val="solid"/>
            <a:miter lim="400000"/>
          </a:ln>
        </p:spPr>
        <p:txBody>
          <a:bodyPr wrap="square" lIns="91440" tIns="45720" rIns="91440" bIns="45720"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3200">
                <a:solidFill>
                  <a:srgbClr val="FFFFFF"/>
                </a:solidFill>
              </a:defRPr>
            </a:pPr>
            <a:endParaRPr sz="1600"/>
          </a:p>
        </p:txBody>
      </p:sp>
      <p:sp>
        <p:nvSpPr>
          <p:cNvPr id="30" name="ïş1îḑe">
            <a:extLst>
              <a:ext uri="{FF2B5EF4-FFF2-40B4-BE49-F238E27FC236}">
                <a16:creationId xmlns:a16="http://schemas.microsoft.com/office/drawing/2014/main" id="{E82AABF6-2F14-40F4-BDD4-4835D7E4F197}"/>
              </a:ext>
            </a:extLst>
          </p:cNvPr>
          <p:cNvSpPr/>
          <p:nvPr/>
        </p:nvSpPr>
        <p:spPr>
          <a:xfrm>
            <a:off x="6583115" y="1214198"/>
            <a:ext cx="2089052" cy="2089052"/>
          </a:xfrm>
          <a:prstGeom prst="ellipse">
            <a:avLst/>
          </a:prstGeom>
          <a:solidFill>
            <a:schemeClr val="bg1">
              <a:lumMod val="65000"/>
            </a:schemeClr>
          </a:solidFill>
          <a:ln w="19050">
            <a:solidFill>
              <a:schemeClr val="bg1">
                <a:lumMod val="95000"/>
              </a:schemeClr>
            </a:solidFill>
            <a:prstDash val="solid"/>
            <a:miter lim="400000"/>
          </a:ln>
        </p:spPr>
        <p:txBody>
          <a:bodyPr wrap="square" lIns="91440" tIns="45720" rIns="91440" bIns="45720"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3200">
                <a:solidFill>
                  <a:srgbClr val="FFFFFF"/>
                </a:solidFill>
              </a:defRPr>
            </a:pPr>
            <a:endParaRPr sz="1600"/>
          </a:p>
        </p:txBody>
      </p:sp>
      <p:sp>
        <p:nvSpPr>
          <p:cNvPr id="31" name="í$ľiḑè">
            <a:extLst>
              <a:ext uri="{FF2B5EF4-FFF2-40B4-BE49-F238E27FC236}">
                <a16:creationId xmlns:a16="http://schemas.microsoft.com/office/drawing/2014/main" id="{A17072FC-8986-4DF0-940B-641688866A99}"/>
              </a:ext>
            </a:extLst>
          </p:cNvPr>
          <p:cNvSpPr/>
          <p:nvPr/>
        </p:nvSpPr>
        <p:spPr>
          <a:xfrm>
            <a:off x="5049807" y="1214198"/>
            <a:ext cx="2089052" cy="2089052"/>
          </a:xfrm>
          <a:prstGeom prst="ellipse">
            <a:avLst/>
          </a:prstGeom>
          <a:solidFill>
            <a:schemeClr val="accent1"/>
          </a:solidFill>
          <a:ln w="19050">
            <a:solidFill>
              <a:schemeClr val="bg1"/>
            </a:solidFill>
            <a:prstDash val="solid"/>
            <a:miter lim="400000"/>
          </a:ln>
        </p:spPr>
        <p:txBody>
          <a:bodyPr wrap="square" lIns="91440" tIns="45720" rIns="91440" bIns="45720"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3200">
                <a:solidFill>
                  <a:srgbClr val="FFFFFF"/>
                </a:solidFill>
              </a:defRPr>
            </a:pPr>
            <a:endParaRPr sz="1600"/>
          </a:p>
        </p:txBody>
      </p:sp>
      <p:sp>
        <p:nvSpPr>
          <p:cNvPr id="35" name="îs1îḑê">
            <a:extLst>
              <a:ext uri="{FF2B5EF4-FFF2-40B4-BE49-F238E27FC236}">
                <a16:creationId xmlns:a16="http://schemas.microsoft.com/office/drawing/2014/main" id="{E0EFA9D4-C4DF-4AAD-8606-F8AB46D99918}"/>
              </a:ext>
            </a:extLst>
          </p:cNvPr>
          <p:cNvSpPr/>
          <p:nvPr/>
        </p:nvSpPr>
        <p:spPr>
          <a:xfrm>
            <a:off x="4220794" y="1924570"/>
            <a:ext cx="680460" cy="668308"/>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bg1"/>
          </a:solidFill>
          <a:ln w="3175">
            <a:noFill/>
            <a:miter lim="400000"/>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sz="1600"/>
          </a:p>
        </p:txBody>
      </p:sp>
      <p:sp>
        <p:nvSpPr>
          <p:cNvPr id="36" name="íṣḻiḋe">
            <a:extLst>
              <a:ext uri="{FF2B5EF4-FFF2-40B4-BE49-F238E27FC236}">
                <a16:creationId xmlns:a16="http://schemas.microsoft.com/office/drawing/2014/main" id="{FC688BB1-0A48-4A62-AE66-73171C780C02}"/>
              </a:ext>
            </a:extLst>
          </p:cNvPr>
          <p:cNvSpPr/>
          <p:nvPr/>
        </p:nvSpPr>
        <p:spPr>
          <a:xfrm>
            <a:off x="5663414" y="1786372"/>
            <a:ext cx="861835" cy="944704"/>
          </a:xfrm>
          <a:custGeom>
            <a:avLst/>
            <a:gdLst>
              <a:gd name="connsiteX0" fmla="*/ 247650 w 495300"/>
              <a:gd name="connsiteY0" fmla="*/ 0 h 542925"/>
              <a:gd name="connsiteX1" fmla="*/ 495300 w 495300"/>
              <a:gd name="connsiteY1" fmla="*/ 247650 h 542925"/>
              <a:gd name="connsiteX2" fmla="*/ 322707 w 495300"/>
              <a:gd name="connsiteY2" fmla="*/ 483775 h 542925"/>
              <a:gd name="connsiteX3" fmla="*/ 345853 w 495300"/>
              <a:gd name="connsiteY3" fmla="*/ 523875 h 542925"/>
              <a:gd name="connsiteX4" fmla="*/ 419100 w 495300"/>
              <a:gd name="connsiteY4" fmla="*/ 523875 h 542925"/>
              <a:gd name="connsiteX5" fmla="*/ 419100 w 495300"/>
              <a:gd name="connsiteY5" fmla="*/ 542925 h 542925"/>
              <a:gd name="connsiteX6" fmla="*/ 76200 w 495300"/>
              <a:gd name="connsiteY6" fmla="*/ 542925 h 542925"/>
              <a:gd name="connsiteX7" fmla="*/ 76200 w 495300"/>
              <a:gd name="connsiteY7" fmla="*/ 523875 h 542925"/>
              <a:gd name="connsiteX8" fmla="*/ 149447 w 495300"/>
              <a:gd name="connsiteY8" fmla="*/ 523875 h 542925"/>
              <a:gd name="connsiteX9" fmla="*/ 172593 w 495300"/>
              <a:gd name="connsiteY9" fmla="*/ 483775 h 542925"/>
              <a:gd name="connsiteX10" fmla="*/ 0 w 495300"/>
              <a:gd name="connsiteY10" fmla="*/ 247650 h 542925"/>
              <a:gd name="connsiteX11" fmla="*/ 247650 w 495300"/>
              <a:gd name="connsiteY11" fmla="*/ 0 h 542925"/>
              <a:gd name="connsiteX12" fmla="*/ 191643 w 495300"/>
              <a:gd name="connsiteY12" fmla="*/ 488918 h 542925"/>
              <a:gd name="connsiteX13" fmla="*/ 171450 w 495300"/>
              <a:gd name="connsiteY13" fmla="*/ 523875 h 542925"/>
              <a:gd name="connsiteX14" fmla="*/ 323850 w 495300"/>
              <a:gd name="connsiteY14" fmla="*/ 523875 h 542925"/>
              <a:gd name="connsiteX15" fmla="*/ 303657 w 495300"/>
              <a:gd name="connsiteY15" fmla="*/ 488918 h 542925"/>
              <a:gd name="connsiteX16" fmla="*/ 247650 w 495300"/>
              <a:gd name="connsiteY16" fmla="*/ 495300 h 542925"/>
              <a:gd name="connsiteX17" fmla="*/ 191643 w 495300"/>
              <a:gd name="connsiteY17" fmla="*/ 488918 h 542925"/>
              <a:gd name="connsiteX18" fmla="*/ 247650 w 495300"/>
              <a:gd name="connsiteY18" fmla="*/ 142875 h 542925"/>
              <a:gd name="connsiteX19" fmla="*/ 142875 w 495300"/>
              <a:gd name="connsiteY19" fmla="*/ 247650 h 542925"/>
              <a:gd name="connsiteX20" fmla="*/ 247650 w 495300"/>
              <a:gd name="connsiteY20" fmla="*/ 352425 h 542925"/>
              <a:gd name="connsiteX21" fmla="*/ 352425 w 495300"/>
              <a:gd name="connsiteY21" fmla="*/ 247650 h 542925"/>
              <a:gd name="connsiteX22" fmla="*/ 247650 w 495300"/>
              <a:gd name="connsiteY22" fmla="*/ 142875 h 542925"/>
              <a:gd name="connsiteX23" fmla="*/ 366713 w 495300"/>
              <a:gd name="connsiteY23" fmla="*/ 114300 h 542925"/>
              <a:gd name="connsiteX24" fmla="*/ 352425 w 495300"/>
              <a:gd name="connsiteY24" fmla="*/ 128588 h 542925"/>
              <a:gd name="connsiteX25" fmla="*/ 366713 w 495300"/>
              <a:gd name="connsiteY25" fmla="*/ 142875 h 542925"/>
              <a:gd name="connsiteX26" fmla="*/ 381000 w 495300"/>
              <a:gd name="connsiteY26" fmla="*/ 128588 h 542925"/>
              <a:gd name="connsiteX27" fmla="*/ 366713 w 495300"/>
              <a:gd name="connsiteY27" fmla="*/ 11430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7650" y="0"/>
                </a:moveTo>
                <a:cubicBezTo>
                  <a:pt x="384429" y="0"/>
                  <a:pt x="495300" y="110871"/>
                  <a:pt x="495300" y="247650"/>
                </a:cubicBezTo>
                <a:cubicBezTo>
                  <a:pt x="495300" y="358235"/>
                  <a:pt x="422815" y="451961"/>
                  <a:pt x="322707" y="483775"/>
                </a:cubicBezTo>
                <a:lnTo>
                  <a:pt x="345853" y="523875"/>
                </a:lnTo>
                <a:lnTo>
                  <a:pt x="419100" y="523875"/>
                </a:lnTo>
                <a:lnTo>
                  <a:pt x="419100" y="542925"/>
                </a:lnTo>
                <a:lnTo>
                  <a:pt x="76200" y="542925"/>
                </a:lnTo>
                <a:lnTo>
                  <a:pt x="76200" y="523875"/>
                </a:lnTo>
                <a:lnTo>
                  <a:pt x="149447" y="523875"/>
                </a:lnTo>
                <a:lnTo>
                  <a:pt x="172593" y="483775"/>
                </a:lnTo>
                <a:cubicBezTo>
                  <a:pt x="72485" y="451961"/>
                  <a:pt x="0" y="358235"/>
                  <a:pt x="0" y="247650"/>
                </a:cubicBezTo>
                <a:cubicBezTo>
                  <a:pt x="0" y="110871"/>
                  <a:pt x="110871" y="0"/>
                  <a:pt x="247650" y="0"/>
                </a:cubicBezTo>
                <a:close/>
                <a:moveTo>
                  <a:pt x="191643" y="488918"/>
                </a:moveTo>
                <a:lnTo>
                  <a:pt x="171450" y="523875"/>
                </a:lnTo>
                <a:lnTo>
                  <a:pt x="323850" y="523875"/>
                </a:lnTo>
                <a:lnTo>
                  <a:pt x="303657" y="488918"/>
                </a:lnTo>
                <a:cubicBezTo>
                  <a:pt x="285655" y="493109"/>
                  <a:pt x="266891" y="495300"/>
                  <a:pt x="247650" y="495300"/>
                </a:cubicBezTo>
                <a:cubicBezTo>
                  <a:pt x="228409" y="495300"/>
                  <a:pt x="209645" y="493109"/>
                  <a:pt x="191643" y="488918"/>
                </a:cubicBezTo>
                <a:close/>
                <a:moveTo>
                  <a:pt x="247650" y="142875"/>
                </a:moveTo>
                <a:cubicBezTo>
                  <a:pt x="189738" y="142875"/>
                  <a:pt x="142875" y="189738"/>
                  <a:pt x="142875" y="247650"/>
                </a:cubicBezTo>
                <a:cubicBezTo>
                  <a:pt x="142875" y="305562"/>
                  <a:pt x="189738" y="352425"/>
                  <a:pt x="247650" y="352425"/>
                </a:cubicBezTo>
                <a:cubicBezTo>
                  <a:pt x="305562" y="352425"/>
                  <a:pt x="352425" y="305562"/>
                  <a:pt x="352425" y="247650"/>
                </a:cubicBezTo>
                <a:cubicBezTo>
                  <a:pt x="352425" y="189738"/>
                  <a:pt x="305562" y="142875"/>
                  <a:pt x="247650" y="142875"/>
                </a:cubicBezTo>
                <a:close/>
                <a:moveTo>
                  <a:pt x="366713" y="114300"/>
                </a:moveTo>
                <a:cubicBezTo>
                  <a:pt x="358807" y="114300"/>
                  <a:pt x="352425" y="120682"/>
                  <a:pt x="352425" y="128588"/>
                </a:cubicBezTo>
                <a:cubicBezTo>
                  <a:pt x="352425" y="136493"/>
                  <a:pt x="358807" y="142875"/>
                  <a:pt x="366713" y="142875"/>
                </a:cubicBezTo>
                <a:cubicBezTo>
                  <a:pt x="374618" y="142875"/>
                  <a:pt x="381000" y="136493"/>
                  <a:pt x="381000" y="128588"/>
                </a:cubicBezTo>
                <a:cubicBezTo>
                  <a:pt x="381000" y="120682"/>
                  <a:pt x="374618" y="114300"/>
                  <a:pt x="366713" y="114300"/>
                </a:cubicBezTo>
                <a:close/>
              </a:path>
            </a:pathLst>
          </a:custGeom>
          <a:solidFill>
            <a:schemeClr val="bg1"/>
          </a:solidFill>
          <a:ln w="3175">
            <a:noFill/>
            <a:miter lim="400000"/>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sz="1600"/>
          </a:p>
        </p:txBody>
      </p:sp>
      <p:sp>
        <p:nvSpPr>
          <p:cNvPr id="37" name="işḻïḑè">
            <a:extLst>
              <a:ext uri="{FF2B5EF4-FFF2-40B4-BE49-F238E27FC236}">
                <a16:creationId xmlns:a16="http://schemas.microsoft.com/office/drawing/2014/main" id="{D398B611-CA07-49E9-86C7-6E92FBCECBAD}"/>
              </a:ext>
            </a:extLst>
          </p:cNvPr>
          <p:cNvSpPr/>
          <p:nvPr/>
        </p:nvSpPr>
        <p:spPr>
          <a:xfrm>
            <a:off x="7287412" y="1948874"/>
            <a:ext cx="680458" cy="619702"/>
          </a:xfrm>
          <a:custGeom>
            <a:avLst/>
            <a:gdLst>
              <a:gd name="connsiteX0" fmla="*/ 123825 w 533400"/>
              <a:gd name="connsiteY0" fmla="*/ 228600 h 485775"/>
              <a:gd name="connsiteX1" fmla="*/ 123825 w 533400"/>
              <a:gd name="connsiteY1" fmla="*/ 276225 h 485775"/>
              <a:gd name="connsiteX2" fmla="*/ 142875 w 533400"/>
              <a:gd name="connsiteY2" fmla="*/ 276225 h 485775"/>
              <a:gd name="connsiteX3" fmla="*/ 142875 w 533400"/>
              <a:gd name="connsiteY3" fmla="*/ 228600 h 485775"/>
              <a:gd name="connsiteX4" fmla="*/ 390525 w 533400"/>
              <a:gd name="connsiteY4" fmla="*/ 228600 h 485775"/>
              <a:gd name="connsiteX5" fmla="*/ 390525 w 533400"/>
              <a:gd name="connsiteY5" fmla="*/ 276225 h 485775"/>
              <a:gd name="connsiteX6" fmla="*/ 409575 w 533400"/>
              <a:gd name="connsiteY6" fmla="*/ 276225 h 485775"/>
              <a:gd name="connsiteX7" fmla="*/ 409575 w 533400"/>
              <a:gd name="connsiteY7" fmla="*/ 228600 h 485775"/>
              <a:gd name="connsiteX8" fmla="*/ 533400 w 533400"/>
              <a:gd name="connsiteY8" fmla="*/ 228600 h 485775"/>
              <a:gd name="connsiteX9" fmla="*/ 533400 w 533400"/>
              <a:gd name="connsiteY9" fmla="*/ 457200 h 485775"/>
              <a:gd name="connsiteX10" fmla="*/ 504825 w 533400"/>
              <a:gd name="connsiteY10" fmla="*/ 485775 h 485775"/>
              <a:gd name="connsiteX11" fmla="*/ 28575 w 533400"/>
              <a:gd name="connsiteY11" fmla="*/ 485775 h 485775"/>
              <a:gd name="connsiteX12" fmla="*/ 0 w 533400"/>
              <a:gd name="connsiteY12" fmla="*/ 457200 h 485775"/>
              <a:gd name="connsiteX13" fmla="*/ 0 w 533400"/>
              <a:gd name="connsiteY13" fmla="*/ 228600 h 485775"/>
              <a:gd name="connsiteX14" fmla="*/ 123825 w 533400"/>
              <a:gd name="connsiteY14" fmla="*/ 228600 h 485775"/>
              <a:gd name="connsiteX15" fmla="*/ 371475 w 533400"/>
              <a:gd name="connsiteY15" fmla="*/ 0 h 485775"/>
              <a:gd name="connsiteX16" fmla="*/ 409575 w 533400"/>
              <a:gd name="connsiteY16" fmla="*/ 36195 h 485775"/>
              <a:gd name="connsiteX17" fmla="*/ 409575 w 533400"/>
              <a:gd name="connsiteY17" fmla="*/ 38100 h 485775"/>
              <a:gd name="connsiteX18" fmla="*/ 409575 w 533400"/>
              <a:gd name="connsiteY18" fmla="*/ 114300 h 485775"/>
              <a:gd name="connsiteX19" fmla="*/ 504825 w 533400"/>
              <a:gd name="connsiteY19" fmla="*/ 114300 h 485775"/>
              <a:gd name="connsiteX20" fmla="*/ 533400 w 533400"/>
              <a:gd name="connsiteY20" fmla="*/ 142875 h 485775"/>
              <a:gd name="connsiteX21" fmla="*/ 533400 w 533400"/>
              <a:gd name="connsiteY21" fmla="*/ 209550 h 485775"/>
              <a:gd name="connsiteX22" fmla="*/ 0 w 533400"/>
              <a:gd name="connsiteY22" fmla="*/ 209550 h 485775"/>
              <a:gd name="connsiteX23" fmla="*/ 0 w 533400"/>
              <a:gd name="connsiteY23" fmla="*/ 142875 h 485775"/>
              <a:gd name="connsiteX24" fmla="*/ 28575 w 533400"/>
              <a:gd name="connsiteY24" fmla="*/ 114300 h 485775"/>
              <a:gd name="connsiteX25" fmla="*/ 123825 w 533400"/>
              <a:gd name="connsiteY25" fmla="*/ 114300 h 485775"/>
              <a:gd name="connsiteX26" fmla="*/ 123825 w 533400"/>
              <a:gd name="connsiteY26" fmla="*/ 38100 h 485775"/>
              <a:gd name="connsiteX27" fmla="*/ 160020 w 533400"/>
              <a:gd name="connsiteY27" fmla="*/ 0 h 485775"/>
              <a:gd name="connsiteX28" fmla="*/ 161925 w 533400"/>
              <a:gd name="connsiteY28" fmla="*/ 0 h 485775"/>
              <a:gd name="connsiteX29" fmla="*/ 371475 w 533400"/>
              <a:gd name="connsiteY29" fmla="*/ 0 h 485775"/>
              <a:gd name="connsiteX30" fmla="*/ 371475 w 533400"/>
              <a:gd name="connsiteY30" fmla="*/ 19050 h 485775"/>
              <a:gd name="connsiteX31" fmla="*/ 161925 w 533400"/>
              <a:gd name="connsiteY31" fmla="*/ 19050 h 485775"/>
              <a:gd name="connsiteX32" fmla="*/ 142970 w 533400"/>
              <a:gd name="connsiteY32" fmla="*/ 36671 h 485775"/>
              <a:gd name="connsiteX33" fmla="*/ 142875 w 533400"/>
              <a:gd name="connsiteY33" fmla="*/ 38100 h 485775"/>
              <a:gd name="connsiteX34" fmla="*/ 142875 w 533400"/>
              <a:gd name="connsiteY34" fmla="*/ 114300 h 485775"/>
              <a:gd name="connsiteX35" fmla="*/ 390525 w 533400"/>
              <a:gd name="connsiteY35" fmla="*/ 114300 h 485775"/>
              <a:gd name="connsiteX36" fmla="*/ 390525 w 533400"/>
              <a:gd name="connsiteY36" fmla="*/ 38100 h 485775"/>
              <a:gd name="connsiteX37" fmla="*/ 374333 w 533400"/>
              <a:gd name="connsiteY37" fmla="*/ 19241 h 485775"/>
              <a:gd name="connsiteX38" fmla="*/ 372904 w 533400"/>
              <a:gd name="connsiteY38" fmla="*/ 19050 h 485775"/>
              <a:gd name="connsiteX39" fmla="*/ 371475 w 533400"/>
              <a:gd name="connsiteY39" fmla="*/ 1905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3825" y="228600"/>
                </a:moveTo>
                <a:lnTo>
                  <a:pt x="123825" y="276225"/>
                </a:lnTo>
                <a:lnTo>
                  <a:pt x="142875" y="276225"/>
                </a:lnTo>
                <a:lnTo>
                  <a:pt x="142875" y="228600"/>
                </a:lnTo>
                <a:lnTo>
                  <a:pt x="390525" y="228600"/>
                </a:lnTo>
                <a:lnTo>
                  <a:pt x="390525" y="276225"/>
                </a:lnTo>
                <a:lnTo>
                  <a:pt x="409575" y="276225"/>
                </a:lnTo>
                <a:lnTo>
                  <a:pt x="409575" y="228600"/>
                </a:lnTo>
                <a:lnTo>
                  <a:pt x="533400" y="228600"/>
                </a:lnTo>
                <a:lnTo>
                  <a:pt x="533400" y="457200"/>
                </a:lnTo>
                <a:cubicBezTo>
                  <a:pt x="533400" y="473012"/>
                  <a:pt x="520637" y="485775"/>
                  <a:pt x="504825" y="485775"/>
                </a:cubicBezTo>
                <a:lnTo>
                  <a:pt x="28575" y="485775"/>
                </a:lnTo>
                <a:cubicBezTo>
                  <a:pt x="12763" y="485775"/>
                  <a:pt x="0" y="473012"/>
                  <a:pt x="0" y="457200"/>
                </a:cubicBezTo>
                <a:lnTo>
                  <a:pt x="0" y="228600"/>
                </a:lnTo>
                <a:lnTo>
                  <a:pt x="123825" y="228600"/>
                </a:lnTo>
                <a:close/>
                <a:moveTo>
                  <a:pt x="371475" y="0"/>
                </a:moveTo>
                <a:cubicBezTo>
                  <a:pt x="391859" y="0"/>
                  <a:pt x="408527" y="16002"/>
                  <a:pt x="409575" y="36195"/>
                </a:cubicBezTo>
                <a:lnTo>
                  <a:pt x="409575" y="38100"/>
                </a:lnTo>
                <a:lnTo>
                  <a:pt x="409575" y="114300"/>
                </a:lnTo>
                <a:lnTo>
                  <a:pt x="504825" y="114300"/>
                </a:lnTo>
                <a:cubicBezTo>
                  <a:pt x="520637" y="114300"/>
                  <a:pt x="533400" y="127064"/>
                  <a:pt x="533400" y="142875"/>
                </a:cubicBezTo>
                <a:lnTo>
                  <a:pt x="533400" y="209550"/>
                </a:lnTo>
                <a:lnTo>
                  <a:pt x="0" y="209550"/>
                </a:lnTo>
                <a:lnTo>
                  <a:pt x="0" y="142875"/>
                </a:lnTo>
                <a:cubicBezTo>
                  <a:pt x="0" y="127064"/>
                  <a:pt x="12763" y="114300"/>
                  <a:pt x="28575" y="114300"/>
                </a:cubicBezTo>
                <a:lnTo>
                  <a:pt x="123825" y="114300"/>
                </a:lnTo>
                <a:lnTo>
                  <a:pt x="123825" y="38100"/>
                </a:lnTo>
                <a:cubicBezTo>
                  <a:pt x="123825" y="17716"/>
                  <a:pt x="139828" y="1048"/>
                  <a:pt x="160020" y="0"/>
                </a:cubicBezTo>
                <a:lnTo>
                  <a:pt x="161925" y="0"/>
                </a:lnTo>
                <a:lnTo>
                  <a:pt x="371475" y="0"/>
                </a:lnTo>
                <a:close/>
                <a:moveTo>
                  <a:pt x="371475" y="19050"/>
                </a:moveTo>
                <a:lnTo>
                  <a:pt x="161925" y="19050"/>
                </a:lnTo>
                <a:cubicBezTo>
                  <a:pt x="151923" y="19050"/>
                  <a:pt x="143637" y="26861"/>
                  <a:pt x="142970" y="36671"/>
                </a:cubicBezTo>
                <a:lnTo>
                  <a:pt x="142875" y="38100"/>
                </a:lnTo>
                <a:lnTo>
                  <a:pt x="142875" y="114300"/>
                </a:lnTo>
                <a:lnTo>
                  <a:pt x="390525" y="114300"/>
                </a:lnTo>
                <a:lnTo>
                  <a:pt x="390525" y="38100"/>
                </a:lnTo>
                <a:cubicBezTo>
                  <a:pt x="390525" y="28575"/>
                  <a:pt x="383477" y="20669"/>
                  <a:pt x="374333" y="19241"/>
                </a:cubicBezTo>
                <a:lnTo>
                  <a:pt x="372904" y="19050"/>
                </a:lnTo>
                <a:lnTo>
                  <a:pt x="371475" y="19050"/>
                </a:lnTo>
                <a:close/>
              </a:path>
            </a:pathLst>
          </a:custGeom>
          <a:solidFill>
            <a:schemeClr val="bg1"/>
          </a:solidFill>
          <a:ln w="3175">
            <a:noFill/>
            <a:miter lim="400000"/>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sz="1600"/>
          </a:p>
        </p:txBody>
      </p:sp>
      <p:sp>
        <p:nvSpPr>
          <p:cNvPr id="23" name="î$ľîďè">
            <a:extLst>
              <a:ext uri="{FF2B5EF4-FFF2-40B4-BE49-F238E27FC236}">
                <a16:creationId xmlns:a16="http://schemas.microsoft.com/office/drawing/2014/main" id="{2754643C-9268-4604-8B99-94A73B46803B}"/>
              </a:ext>
            </a:extLst>
          </p:cNvPr>
          <p:cNvSpPr/>
          <p:nvPr/>
        </p:nvSpPr>
        <p:spPr>
          <a:xfrm>
            <a:off x="4679105" y="3818440"/>
            <a:ext cx="2833789" cy="438516"/>
          </a:xfrm>
          <a:prstGeom prst="rect">
            <a:avLst/>
          </a:prstGeom>
          <a:noFill/>
          <a:ln w="12700">
            <a:miter lim="400000"/>
          </a:ln>
        </p:spPr>
        <p:txBody>
          <a:bodyPr wrap="square" lIns="91440" tIns="45720" rIns="91440" bIns="45720" anchor="ctr">
            <a:normAutofit/>
          </a:bodyPr>
          <a:lstStyle/>
          <a:p>
            <a:pPr algn="ctr">
              <a:spcBef>
                <a:spcPct val="0"/>
              </a:spcBef>
            </a:pPr>
            <a:r>
              <a:rPr lang="en-US" altLang="zh-CN" b="1"/>
              <a:t>Text he</a:t>
            </a:r>
            <a:r>
              <a:rPr lang="en-US" altLang="zh-CN" sz="100" b="1"/>
              <a:t> </a:t>
            </a:r>
            <a:r>
              <a:rPr lang="en-US" altLang="zh-CN" b="1"/>
              <a:t>re</a:t>
            </a:r>
            <a:endParaRPr lang="en-US" altLang="zh-CN" b="1" dirty="0"/>
          </a:p>
        </p:txBody>
      </p:sp>
      <p:sp>
        <p:nvSpPr>
          <p:cNvPr id="24" name="îs1ïdè">
            <a:extLst>
              <a:ext uri="{FF2B5EF4-FFF2-40B4-BE49-F238E27FC236}">
                <a16:creationId xmlns:a16="http://schemas.microsoft.com/office/drawing/2014/main" id="{26C426E9-E197-4588-A590-FA0FB4191C0B}"/>
              </a:ext>
            </a:extLst>
          </p:cNvPr>
          <p:cNvSpPr txBox="1"/>
          <p:nvPr/>
        </p:nvSpPr>
        <p:spPr bwMode="auto">
          <a:xfrm>
            <a:off x="5769478" y="3416149"/>
            <a:ext cx="653042" cy="40229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en-US" altLang="zh-CN" sz="2000" b="1">
                <a:solidFill>
                  <a:schemeClr val="accent1"/>
                </a:solidFill>
              </a:rPr>
              <a:t>5</a:t>
            </a:r>
            <a:r>
              <a:rPr lang="en-US" altLang="zh-CN" sz="100" b="1">
                <a:solidFill>
                  <a:schemeClr val="accent1"/>
                </a:solidFill>
              </a:rPr>
              <a:t> </a:t>
            </a:r>
            <a:r>
              <a:rPr lang="en-US" altLang="zh-CN" sz="2000" b="1">
                <a:solidFill>
                  <a:schemeClr val="accent1"/>
                </a:solidFill>
              </a:rPr>
              <a:t>5K</a:t>
            </a:r>
            <a:endParaRPr lang="en-US" altLang="zh-CN" sz="2000" b="1" dirty="0">
              <a:solidFill>
                <a:schemeClr val="accent1"/>
              </a:solidFill>
            </a:endParaRPr>
          </a:p>
        </p:txBody>
      </p:sp>
      <p:grpSp>
        <p:nvGrpSpPr>
          <p:cNvPr id="25" name="îṧľiḑe">
            <a:extLst>
              <a:ext uri="{FF2B5EF4-FFF2-40B4-BE49-F238E27FC236}">
                <a16:creationId xmlns:a16="http://schemas.microsoft.com/office/drawing/2014/main" id="{F45B828D-6554-42ED-A5F1-AD99AA1F4DA2}"/>
              </a:ext>
            </a:extLst>
          </p:cNvPr>
          <p:cNvGrpSpPr/>
          <p:nvPr/>
        </p:nvGrpSpPr>
        <p:grpSpPr>
          <a:xfrm>
            <a:off x="4679105" y="4356717"/>
            <a:ext cx="2833789" cy="1790083"/>
            <a:chOff x="4679105" y="4445617"/>
            <a:chExt cx="2833789" cy="1790083"/>
          </a:xfrm>
        </p:grpSpPr>
        <p:sp>
          <p:nvSpPr>
            <p:cNvPr id="26" name="ïšḻïḋè">
              <a:extLst>
                <a:ext uri="{FF2B5EF4-FFF2-40B4-BE49-F238E27FC236}">
                  <a16:creationId xmlns:a16="http://schemas.microsoft.com/office/drawing/2014/main" id="{BC05E014-05D8-4DB2-A874-6864FA052430}"/>
                </a:ext>
              </a:extLst>
            </p:cNvPr>
            <p:cNvSpPr/>
            <p:nvPr/>
          </p:nvSpPr>
          <p:spPr bwMode="auto">
            <a:xfrm>
              <a:off x="4679105" y="4445617"/>
              <a:ext cx="2833789" cy="877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dirty="0"/>
                <a:t>Copy paste fonts. Choose the only option to retain </a:t>
              </a:r>
              <a:r>
                <a:rPr lang="en-US" altLang="zh-CN" sz="1100"/>
                <a:t>text.</a:t>
              </a:r>
              <a:r>
                <a:rPr lang="en-US" altLang="zh-CN" sz="100"/>
                <a:t> </a:t>
              </a:r>
              <a:endParaRPr lang="en-US" altLang="zh-CN" sz="100" dirty="0"/>
            </a:p>
            <a:p>
              <a:pPr algn="ctr">
                <a:lnSpc>
                  <a:spcPct val="150000"/>
                </a:lnSpc>
              </a:pPr>
              <a:r>
                <a:rPr lang="en-US" altLang="zh-CN" sz="1100" dirty="0"/>
                <a:t>……</a:t>
              </a:r>
            </a:p>
          </p:txBody>
        </p:sp>
        <p:sp>
          <p:nvSpPr>
            <p:cNvPr id="27" name="íṣḷiḑé">
              <a:extLst>
                <a:ext uri="{FF2B5EF4-FFF2-40B4-BE49-F238E27FC236}">
                  <a16:creationId xmlns:a16="http://schemas.microsoft.com/office/drawing/2014/main" id="{BC05E014-05D8-4DB2-A874-6864FA052430}"/>
                </a:ext>
              </a:extLst>
            </p:cNvPr>
            <p:cNvSpPr/>
            <p:nvPr/>
          </p:nvSpPr>
          <p:spPr bwMode="auto">
            <a:xfrm>
              <a:off x="4679105" y="5358541"/>
              <a:ext cx="2833789" cy="877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dirty="0"/>
                <a:t>Copy paste fonts. Choose the only option to retain </a:t>
              </a:r>
              <a:r>
                <a:rPr lang="en-US" altLang="zh-CN" sz="1100"/>
                <a:t>text.</a:t>
              </a:r>
              <a:r>
                <a:rPr lang="en-US" altLang="zh-CN" sz="100"/>
                <a:t> </a:t>
              </a:r>
              <a:endParaRPr lang="en-US" altLang="zh-CN" sz="100" dirty="0"/>
            </a:p>
            <a:p>
              <a:pPr algn="ctr">
                <a:lnSpc>
                  <a:spcPct val="150000"/>
                </a:lnSpc>
              </a:pPr>
              <a:r>
                <a:rPr lang="en-US" altLang="zh-CN" sz="1100" dirty="0"/>
                <a:t>……</a:t>
              </a:r>
            </a:p>
          </p:txBody>
        </p:sp>
        <p:cxnSp>
          <p:nvCxnSpPr>
            <p:cNvPr id="28" name="iṩḷïḑè">
              <a:extLst>
                <a:ext uri="{FF2B5EF4-FFF2-40B4-BE49-F238E27FC236}">
                  <a16:creationId xmlns:a16="http://schemas.microsoft.com/office/drawing/2014/main" id="{4C12ECF7-3BFF-4A4E-B21F-D72797CBB3C7}"/>
                </a:ext>
              </a:extLst>
            </p:cNvPr>
            <p:cNvCxnSpPr/>
            <p:nvPr/>
          </p:nvCxnSpPr>
          <p:spPr>
            <a:xfrm>
              <a:off x="4679105" y="5340659"/>
              <a:ext cx="2833789" cy="0"/>
            </a:xfrm>
            <a:prstGeom prst="line">
              <a:avLst/>
            </a:prstGeom>
            <a:ln w="3175"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grpSp>
      <p:sp>
        <p:nvSpPr>
          <p:cNvPr id="17" name="ïslïďè">
            <a:extLst>
              <a:ext uri="{FF2B5EF4-FFF2-40B4-BE49-F238E27FC236}">
                <a16:creationId xmlns:a16="http://schemas.microsoft.com/office/drawing/2014/main" id="{3A2465B6-F5A0-4A73-9BD9-454106FCCFBB}"/>
              </a:ext>
            </a:extLst>
          </p:cNvPr>
          <p:cNvSpPr/>
          <p:nvPr/>
        </p:nvSpPr>
        <p:spPr>
          <a:xfrm>
            <a:off x="8685111" y="2788339"/>
            <a:ext cx="2833789" cy="438516"/>
          </a:xfrm>
          <a:prstGeom prst="rect">
            <a:avLst/>
          </a:prstGeom>
          <a:noFill/>
          <a:ln w="12700">
            <a:miter lim="400000"/>
          </a:ln>
        </p:spPr>
        <p:txBody>
          <a:bodyPr wrap="square" lIns="91440" tIns="45720" rIns="91440" bIns="45720" anchor="ctr">
            <a:normAutofit/>
          </a:bodyPr>
          <a:lstStyle/>
          <a:p>
            <a:pPr>
              <a:spcBef>
                <a:spcPct val="0"/>
              </a:spcBef>
            </a:pPr>
            <a:r>
              <a:rPr lang="en-US" altLang="zh-CN" b="1"/>
              <a:t>Text he</a:t>
            </a:r>
            <a:r>
              <a:rPr lang="en-US" altLang="zh-CN" sz="100" b="1"/>
              <a:t> </a:t>
            </a:r>
            <a:r>
              <a:rPr lang="en-US" altLang="zh-CN" b="1"/>
              <a:t>re</a:t>
            </a:r>
            <a:endParaRPr lang="en-US" altLang="zh-CN" b="1" dirty="0"/>
          </a:p>
        </p:txBody>
      </p:sp>
      <p:sp>
        <p:nvSpPr>
          <p:cNvPr id="18" name="ïṩľíḍè">
            <a:extLst>
              <a:ext uri="{FF2B5EF4-FFF2-40B4-BE49-F238E27FC236}">
                <a16:creationId xmlns:a16="http://schemas.microsoft.com/office/drawing/2014/main" id="{26C426E9-E197-4588-A590-FA0FB4191C0B}"/>
              </a:ext>
            </a:extLst>
          </p:cNvPr>
          <p:cNvSpPr txBox="1"/>
          <p:nvPr/>
        </p:nvSpPr>
        <p:spPr bwMode="auto">
          <a:xfrm>
            <a:off x="8685111" y="2386048"/>
            <a:ext cx="653041" cy="40229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en-US" altLang="zh-CN" sz="2000" b="1">
                <a:solidFill>
                  <a:schemeClr val="bg1">
                    <a:lumMod val="50000"/>
                  </a:schemeClr>
                </a:solidFill>
              </a:rPr>
              <a:t>2</a:t>
            </a:r>
            <a:r>
              <a:rPr lang="en-US" altLang="zh-CN" sz="100" b="1">
                <a:solidFill>
                  <a:schemeClr val="bg1">
                    <a:lumMod val="50000"/>
                  </a:schemeClr>
                </a:solidFill>
              </a:rPr>
              <a:t> </a:t>
            </a:r>
            <a:r>
              <a:rPr lang="en-US" altLang="zh-CN" sz="2000" b="1">
                <a:solidFill>
                  <a:schemeClr val="bg1">
                    <a:lumMod val="50000"/>
                  </a:schemeClr>
                </a:solidFill>
              </a:rPr>
              <a:t>8K</a:t>
            </a:r>
            <a:endParaRPr lang="en-US" altLang="zh-CN" sz="2000" b="1" dirty="0">
              <a:solidFill>
                <a:schemeClr val="bg1">
                  <a:lumMod val="50000"/>
                </a:schemeClr>
              </a:solidFill>
            </a:endParaRPr>
          </a:p>
        </p:txBody>
      </p:sp>
      <p:grpSp>
        <p:nvGrpSpPr>
          <p:cNvPr id="19" name="îslîdé">
            <a:extLst>
              <a:ext uri="{FF2B5EF4-FFF2-40B4-BE49-F238E27FC236}">
                <a16:creationId xmlns:a16="http://schemas.microsoft.com/office/drawing/2014/main" id="{6E7EFB1A-CCE6-4543-A778-28062BD0A989}"/>
              </a:ext>
            </a:extLst>
          </p:cNvPr>
          <p:cNvGrpSpPr/>
          <p:nvPr/>
        </p:nvGrpSpPr>
        <p:grpSpPr>
          <a:xfrm>
            <a:off x="8685111" y="3326616"/>
            <a:ext cx="2833789" cy="1790083"/>
            <a:chOff x="4679105" y="4445617"/>
            <a:chExt cx="2833789" cy="1790083"/>
          </a:xfrm>
        </p:grpSpPr>
        <p:sp>
          <p:nvSpPr>
            <p:cNvPr id="20" name="îŝḻiḋe">
              <a:extLst>
                <a:ext uri="{FF2B5EF4-FFF2-40B4-BE49-F238E27FC236}">
                  <a16:creationId xmlns:a16="http://schemas.microsoft.com/office/drawing/2014/main" id="{BC05E014-05D8-4DB2-A874-6864FA052430}"/>
                </a:ext>
              </a:extLst>
            </p:cNvPr>
            <p:cNvSpPr/>
            <p:nvPr/>
          </p:nvSpPr>
          <p:spPr bwMode="auto">
            <a:xfrm>
              <a:off x="4679105" y="4445617"/>
              <a:ext cx="2833789" cy="877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dirty="0"/>
                <a:t>Copy paste fonts. Choose the only option to retain </a:t>
              </a:r>
              <a:r>
                <a:rPr lang="en-US" altLang="zh-CN" sz="1100"/>
                <a:t>text.</a:t>
              </a:r>
              <a:r>
                <a:rPr lang="en-US" altLang="zh-CN" sz="100"/>
                <a:t> </a:t>
              </a:r>
              <a:endParaRPr lang="en-US" altLang="zh-CN" sz="100" dirty="0"/>
            </a:p>
            <a:p>
              <a:pPr>
                <a:lnSpc>
                  <a:spcPct val="150000"/>
                </a:lnSpc>
              </a:pPr>
              <a:r>
                <a:rPr lang="en-US" altLang="zh-CN" sz="1100" dirty="0"/>
                <a:t>……</a:t>
              </a:r>
            </a:p>
          </p:txBody>
        </p:sp>
        <p:sp>
          <p:nvSpPr>
            <p:cNvPr id="21" name="îŝļíḓé">
              <a:extLst>
                <a:ext uri="{FF2B5EF4-FFF2-40B4-BE49-F238E27FC236}">
                  <a16:creationId xmlns:a16="http://schemas.microsoft.com/office/drawing/2014/main" id="{BC05E014-05D8-4DB2-A874-6864FA052430}"/>
                </a:ext>
              </a:extLst>
            </p:cNvPr>
            <p:cNvSpPr/>
            <p:nvPr/>
          </p:nvSpPr>
          <p:spPr bwMode="auto">
            <a:xfrm>
              <a:off x="4679105" y="5358541"/>
              <a:ext cx="2833789" cy="877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dirty="0"/>
                <a:t>Copy paste fonts. Choose the only option to retain </a:t>
              </a:r>
              <a:r>
                <a:rPr lang="en-US" altLang="zh-CN" sz="1100"/>
                <a:t>text.</a:t>
              </a:r>
              <a:r>
                <a:rPr lang="en-US" altLang="zh-CN" sz="100"/>
                <a:t> </a:t>
              </a:r>
              <a:endParaRPr lang="en-US" altLang="zh-CN" sz="100" dirty="0"/>
            </a:p>
            <a:p>
              <a:pPr>
                <a:lnSpc>
                  <a:spcPct val="150000"/>
                </a:lnSpc>
              </a:pPr>
              <a:r>
                <a:rPr lang="en-US" altLang="zh-CN" sz="1100" dirty="0"/>
                <a:t>……</a:t>
              </a:r>
            </a:p>
          </p:txBody>
        </p:sp>
        <p:cxnSp>
          <p:nvCxnSpPr>
            <p:cNvPr id="22" name="ïŝ1iḋè">
              <a:extLst>
                <a:ext uri="{FF2B5EF4-FFF2-40B4-BE49-F238E27FC236}">
                  <a16:creationId xmlns:a16="http://schemas.microsoft.com/office/drawing/2014/main" id="{45F9692E-0F7C-4455-AB5D-8DB5CDCB7948}"/>
                </a:ext>
              </a:extLst>
            </p:cNvPr>
            <p:cNvCxnSpPr/>
            <p:nvPr/>
          </p:nvCxnSpPr>
          <p:spPr>
            <a:xfrm>
              <a:off x="4679105" y="5340659"/>
              <a:ext cx="2833789" cy="0"/>
            </a:xfrm>
            <a:prstGeom prst="line">
              <a:avLst/>
            </a:prstGeom>
            <a:ln w="3175"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grpSp>
      <p:sp>
        <p:nvSpPr>
          <p:cNvPr id="12" name="ïsḻíďê">
            <a:extLst>
              <a:ext uri="{FF2B5EF4-FFF2-40B4-BE49-F238E27FC236}">
                <a16:creationId xmlns:a16="http://schemas.microsoft.com/office/drawing/2014/main" id="{9CA295BF-2DA1-47D9-BC0F-AF3B1DD46D11}"/>
              </a:ext>
            </a:extLst>
          </p:cNvPr>
          <p:cNvSpPr/>
          <p:nvPr/>
        </p:nvSpPr>
        <p:spPr>
          <a:xfrm>
            <a:off x="673100" y="2788339"/>
            <a:ext cx="2833789" cy="438516"/>
          </a:xfrm>
          <a:prstGeom prst="rect">
            <a:avLst/>
          </a:prstGeom>
          <a:noFill/>
          <a:ln w="12700">
            <a:miter lim="400000"/>
          </a:ln>
        </p:spPr>
        <p:txBody>
          <a:bodyPr wrap="square" lIns="91440" tIns="45720" rIns="91440" bIns="45720" anchor="ctr">
            <a:normAutofit/>
          </a:bodyPr>
          <a:lstStyle/>
          <a:p>
            <a:pPr algn="r">
              <a:spcBef>
                <a:spcPct val="0"/>
              </a:spcBef>
            </a:pPr>
            <a:r>
              <a:rPr lang="en-US" altLang="zh-CN" b="1"/>
              <a:t>Text he</a:t>
            </a:r>
            <a:r>
              <a:rPr lang="en-US" altLang="zh-CN" sz="100" b="1"/>
              <a:t> </a:t>
            </a:r>
            <a:r>
              <a:rPr lang="en-US" altLang="zh-CN" b="1"/>
              <a:t>re</a:t>
            </a:r>
            <a:endParaRPr lang="en-US" altLang="zh-CN" b="1" dirty="0"/>
          </a:p>
        </p:txBody>
      </p:sp>
      <p:sp>
        <p:nvSpPr>
          <p:cNvPr id="13" name="ïṧlíḋè">
            <a:extLst>
              <a:ext uri="{FF2B5EF4-FFF2-40B4-BE49-F238E27FC236}">
                <a16:creationId xmlns:a16="http://schemas.microsoft.com/office/drawing/2014/main" id="{26C426E9-E197-4588-A590-FA0FB4191C0B}"/>
              </a:ext>
            </a:extLst>
          </p:cNvPr>
          <p:cNvSpPr txBox="1"/>
          <p:nvPr/>
        </p:nvSpPr>
        <p:spPr bwMode="auto">
          <a:xfrm>
            <a:off x="2853848" y="2386048"/>
            <a:ext cx="653041" cy="40229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pPr>
            <a:r>
              <a:rPr lang="en-US" altLang="zh-CN" sz="2000" b="1">
                <a:solidFill>
                  <a:schemeClr val="bg1">
                    <a:lumMod val="50000"/>
                  </a:schemeClr>
                </a:solidFill>
              </a:rPr>
              <a:t>3</a:t>
            </a:r>
            <a:r>
              <a:rPr lang="en-US" altLang="zh-CN" sz="100" b="1">
                <a:solidFill>
                  <a:schemeClr val="bg1">
                    <a:lumMod val="50000"/>
                  </a:schemeClr>
                </a:solidFill>
              </a:rPr>
              <a:t> </a:t>
            </a:r>
            <a:r>
              <a:rPr lang="en-US" altLang="zh-CN" sz="2000" b="1">
                <a:solidFill>
                  <a:schemeClr val="bg1">
                    <a:lumMod val="50000"/>
                  </a:schemeClr>
                </a:solidFill>
              </a:rPr>
              <a:t>6K</a:t>
            </a:r>
            <a:endParaRPr lang="en-US" altLang="zh-CN" sz="2000" b="1" dirty="0">
              <a:solidFill>
                <a:schemeClr val="bg1">
                  <a:lumMod val="50000"/>
                </a:schemeClr>
              </a:solidFill>
            </a:endParaRPr>
          </a:p>
        </p:txBody>
      </p:sp>
      <p:sp>
        <p:nvSpPr>
          <p:cNvPr id="14" name="iṩľiḍê">
            <a:extLst>
              <a:ext uri="{FF2B5EF4-FFF2-40B4-BE49-F238E27FC236}">
                <a16:creationId xmlns:a16="http://schemas.microsoft.com/office/drawing/2014/main" id="{BC05E014-05D8-4DB2-A874-6864FA052430}"/>
              </a:ext>
            </a:extLst>
          </p:cNvPr>
          <p:cNvSpPr/>
          <p:nvPr/>
        </p:nvSpPr>
        <p:spPr bwMode="auto">
          <a:xfrm>
            <a:off x="673100" y="3326616"/>
            <a:ext cx="2833789" cy="877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50000"/>
              </a:lnSpc>
            </a:pPr>
            <a:r>
              <a:rPr lang="en-US" altLang="zh-CN" sz="1100" dirty="0"/>
              <a:t>Copy paste fonts. Choose the only option to retain </a:t>
            </a:r>
            <a:r>
              <a:rPr lang="en-US" altLang="zh-CN" sz="1100"/>
              <a:t>text.</a:t>
            </a:r>
            <a:r>
              <a:rPr lang="en-US" altLang="zh-CN" sz="100"/>
              <a:t> </a:t>
            </a:r>
            <a:endParaRPr lang="en-US" altLang="zh-CN" sz="100" dirty="0"/>
          </a:p>
          <a:p>
            <a:pPr algn="r">
              <a:lnSpc>
                <a:spcPct val="150000"/>
              </a:lnSpc>
            </a:pPr>
            <a:r>
              <a:rPr lang="en-US" altLang="zh-CN" sz="1100" dirty="0"/>
              <a:t>……</a:t>
            </a:r>
          </a:p>
        </p:txBody>
      </p:sp>
      <p:sp>
        <p:nvSpPr>
          <p:cNvPr id="15" name="îŝḻiḋe">
            <a:extLst>
              <a:ext uri="{FF2B5EF4-FFF2-40B4-BE49-F238E27FC236}">
                <a16:creationId xmlns:a16="http://schemas.microsoft.com/office/drawing/2014/main" id="{BC05E014-05D8-4DB2-A874-6864FA052430}"/>
              </a:ext>
            </a:extLst>
          </p:cNvPr>
          <p:cNvSpPr/>
          <p:nvPr/>
        </p:nvSpPr>
        <p:spPr bwMode="auto">
          <a:xfrm>
            <a:off x="673100" y="4239540"/>
            <a:ext cx="2833789" cy="877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50000"/>
              </a:lnSpc>
            </a:pPr>
            <a:r>
              <a:rPr lang="en-US" altLang="zh-CN" sz="1100" dirty="0"/>
              <a:t>Copy paste fonts. Choose the only option to retain </a:t>
            </a:r>
            <a:r>
              <a:rPr lang="en-US" altLang="zh-CN" sz="1100"/>
              <a:t>text.</a:t>
            </a:r>
            <a:r>
              <a:rPr lang="en-US" altLang="zh-CN" sz="100"/>
              <a:t> </a:t>
            </a:r>
            <a:endParaRPr lang="en-US" altLang="zh-CN" sz="100" dirty="0"/>
          </a:p>
          <a:p>
            <a:pPr algn="r">
              <a:lnSpc>
                <a:spcPct val="150000"/>
              </a:lnSpc>
            </a:pPr>
            <a:r>
              <a:rPr lang="en-US" altLang="zh-CN" sz="1100" dirty="0"/>
              <a:t>……</a:t>
            </a:r>
          </a:p>
        </p:txBody>
      </p:sp>
      <p:cxnSp>
        <p:nvCxnSpPr>
          <p:cNvPr id="16" name="ïṡḷïḓé">
            <a:extLst>
              <a:ext uri="{FF2B5EF4-FFF2-40B4-BE49-F238E27FC236}">
                <a16:creationId xmlns:a16="http://schemas.microsoft.com/office/drawing/2014/main" id="{DC0E1C32-2108-4592-B3B8-FAF6C4274813}"/>
              </a:ext>
            </a:extLst>
          </p:cNvPr>
          <p:cNvCxnSpPr/>
          <p:nvPr/>
        </p:nvCxnSpPr>
        <p:spPr>
          <a:xfrm>
            <a:off x="673100" y="4221658"/>
            <a:ext cx="2833789" cy="0"/>
          </a:xfrm>
          <a:prstGeom prst="line">
            <a:avLst/>
          </a:prstGeom>
          <a:ln w="3175"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7589175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íṣḻïḓê"/>
        <p:cNvGrpSpPr/>
        <p:nvPr/>
      </p:nvGrpSpPr>
      <p:grpSpPr>
        <a:xfrm>
          <a:off x="0" y="0"/>
          <a:ext cx="0" cy="0"/>
          <a:chOff x="0" y="0"/>
          <a:chExt cx="0" cy="0"/>
        </a:xfrm>
      </p:grpSpPr>
      <p:sp>
        <p:nvSpPr>
          <p:cNvPr id="2" name="îSḷiḋè">
            <a:extLst>
              <a:ext uri="{FF2B5EF4-FFF2-40B4-BE49-F238E27FC236}">
                <a16:creationId xmlns:a16="http://schemas.microsoft.com/office/drawing/2014/main" id="{225BA973-C26C-4A9E-A413-51B19020967E}"/>
              </a:ext>
            </a:extLst>
          </p:cNvPr>
          <p:cNvSpPr>
            <a:spLocks noGrp="1"/>
          </p:cNvSpPr>
          <p:nvPr>
            <p:ph type="title"/>
          </p:nvPr>
        </p:nvSpPr>
        <p:spPr/>
        <p:txBody>
          <a:bodyPr/>
          <a:lstStyle/>
          <a:p>
            <a:r>
              <a:rPr lang="en-US" altLang="zh-CN" dirty="0"/>
              <a:t>Click to edit Master </a:t>
            </a:r>
            <a:r>
              <a:rPr lang="en-US" altLang="zh-CN"/>
              <a:t>title sty</a:t>
            </a:r>
            <a:r>
              <a:rPr lang="en-US" altLang="zh-CN" sz="100"/>
              <a:t> </a:t>
            </a:r>
            <a:r>
              <a:rPr lang="en-US" altLang="zh-CN"/>
              <a:t>le</a:t>
            </a:r>
            <a:endParaRPr lang="zh-CN" altLang="en-US" dirty="0"/>
          </a:p>
        </p:txBody>
      </p:sp>
      <p:sp>
        <p:nvSpPr>
          <p:cNvPr id="3" name="iṡľiḋè">
            <a:extLst>
              <a:ext uri="{FF2B5EF4-FFF2-40B4-BE49-F238E27FC236}">
                <a16:creationId xmlns:a16="http://schemas.microsoft.com/office/drawing/2014/main" id="{9D71C100-03DD-47A4-9221-A099DF292E7A}"/>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a:t>
            </a:r>
            <a:r>
              <a:rPr lang="zh-CN" altLang="en-US" sz="100"/>
              <a:t> </a:t>
            </a:r>
            <a:r>
              <a:rPr lang="zh-CN" altLang="en-US"/>
              <a:t>文本</a:t>
            </a:r>
            <a:endParaRPr lang="zh-CN" altLang="en-US" dirty="0"/>
          </a:p>
        </p:txBody>
      </p:sp>
      <p:sp>
        <p:nvSpPr>
          <p:cNvPr id="4" name="íŝliḑé">
            <a:extLst>
              <a:ext uri="{FF2B5EF4-FFF2-40B4-BE49-F238E27FC236}">
                <a16:creationId xmlns:a16="http://schemas.microsoft.com/office/drawing/2014/main" id="{288B2014-A022-4015-98BA-1D3618748E02}"/>
              </a:ext>
            </a:extLst>
          </p:cNvPr>
          <p:cNvSpPr>
            <a:spLocks noGrp="1"/>
          </p:cNvSpPr>
          <p:nvPr>
            <p:ph type="sldNum" sz="quarter" idx="12"/>
          </p:nvPr>
        </p:nvSpPr>
        <p:spPr/>
        <p:txBody>
          <a:bodyPr/>
          <a:lstStyle/>
          <a:p>
            <a:fld id="{5DD3DB80-B894-403A-B48E-6FDC1A72010E}" type="slidenum">
              <a:rPr lang="zh-CN" altLang="en-US" smtClean="0"/>
              <a:pPr/>
              <a:t>17</a:t>
            </a:fld>
            <a:r>
              <a:rPr lang="zh-CN" altLang="en-US" sz="100"/>
              <a:t> </a:t>
            </a:r>
          </a:p>
        </p:txBody>
      </p:sp>
      <p:cxnSp>
        <p:nvCxnSpPr>
          <p:cNvPr id="39" name="îšḻïḑé">
            <a:extLst>
              <a:ext uri="{FF2B5EF4-FFF2-40B4-BE49-F238E27FC236}">
                <a16:creationId xmlns:a16="http://schemas.microsoft.com/office/drawing/2014/main" id="{0721C8DC-55EB-41C6-ABBE-33C61A98B332}"/>
              </a:ext>
            </a:extLst>
          </p:cNvPr>
          <p:cNvCxnSpPr/>
          <p:nvPr/>
        </p:nvCxnSpPr>
        <p:spPr>
          <a:xfrm flipH="1">
            <a:off x="673100" y="3596558"/>
            <a:ext cx="10845800" cy="0"/>
          </a:xfrm>
          <a:prstGeom prst="line">
            <a:avLst/>
          </a:prstGeom>
          <a:ln w="3175">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62" name="is1íďé">
            <a:extLst>
              <a:ext uri="{FF2B5EF4-FFF2-40B4-BE49-F238E27FC236}">
                <a16:creationId xmlns:a16="http://schemas.microsoft.com/office/drawing/2014/main" id="{CCAEA3F6-7F21-47FD-BD33-D347AFF42F6E}"/>
              </a:ext>
            </a:extLst>
          </p:cNvPr>
          <p:cNvCxnSpPr/>
          <p:nvPr/>
        </p:nvCxnSpPr>
        <p:spPr>
          <a:xfrm>
            <a:off x="10456125" y="4441243"/>
            <a:ext cx="0" cy="458638"/>
          </a:xfrm>
          <a:prstGeom prst="line">
            <a:avLst/>
          </a:prstGeom>
          <a:ln w="3175">
            <a:solidFill>
              <a:schemeClr val="bg1">
                <a:lumMod val="75000"/>
              </a:schemeClr>
            </a:solidFill>
            <a:prstDash val="solid"/>
            <a:headEnd type="oval" w="sm" len="sm"/>
            <a:tailEnd type="oval" w="sm" len="sm"/>
          </a:ln>
          <a:effectLst/>
        </p:spPr>
        <p:style>
          <a:lnRef idx="1">
            <a:schemeClr val="accent1"/>
          </a:lnRef>
          <a:fillRef idx="0">
            <a:schemeClr val="accent1"/>
          </a:fillRef>
          <a:effectRef idx="0">
            <a:schemeClr val="accent1"/>
          </a:effectRef>
          <a:fontRef idx="minor">
            <a:schemeClr val="tx1"/>
          </a:fontRef>
        </p:style>
      </p:cxnSp>
      <p:sp>
        <p:nvSpPr>
          <p:cNvPr id="67" name="îṡļíḍè">
            <a:extLst>
              <a:ext uri="{FF2B5EF4-FFF2-40B4-BE49-F238E27FC236}">
                <a16:creationId xmlns:a16="http://schemas.microsoft.com/office/drawing/2014/main" id="{445B6FE8-45E4-422A-9F46-5B707A103B4D}"/>
              </a:ext>
            </a:extLst>
          </p:cNvPr>
          <p:cNvSpPr/>
          <p:nvPr/>
        </p:nvSpPr>
        <p:spPr>
          <a:xfrm>
            <a:off x="9946717" y="3094182"/>
            <a:ext cx="1018814" cy="1018814"/>
          </a:xfrm>
          <a:prstGeom prst="ellipse">
            <a:avLst/>
          </a:prstGeom>
          <a:solidFill>
            <a:schemeClr val="bg1">
              <a:lumMod val="95000"/>
            </a:schemeClr>
          </a:solidFill>
          <a:ln>
            <a:noFill/>
          </a:ln>
          <a:effectLst/>
        </p:spPr>
        <p:txBody>
          <a:bodyPr lIns="91426" tIns="45700" rIns="91426" bIns="45700" anchor="ctr" anchorCtr="0">
            <a:no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pPr algn="ctr"/>
            <a:endParaRPr sz="3600">
              <a:solidFill>
                <a:schemeClr val="bg2">
                  <a:lumMod val="50000"/>
                </a:schemeClr>
              </a:solidFill>
            </a:endParaRPr>
          </a:p>
        </p:txBody>
      </p:sp>
      <p:sp>
        <p:nvSpPr>
          <p:cNvPr id="68" name="iṩľíďê">
            <a:extLst>
              <a:ext uri="{FF2B5EF4-FFF2-40B4-BE49-F238E27FC236}">
                <a16:creationId xmlns:a16="http://schemas.microsoft.com/office/drawing/2014/main" id="{80360C25-73F4-4B04-91F3-95BBADD26A68}"/>
              </a:ext>
            </a:extLst>
          </p:cNvPr>
          <p:cNvSpPr/>
          <p:nvPr/>
        </p:nvSpPr>
        <p:spPr>
          <a:xfrm>
            <a:off x="9829447" y="2976912"/>
            <a:ext cx="1253355" cy="1253354"/>
          </a:xfrm>
          <a:prstGeom prst="ellipse">
            <a:avLst/>
          </a:prstGeom>
          <a:noFill/>
          <a:ln w="22225">
            <a:solidFill>
              <a:schemeClr val="bg1">
                <a:lumMod val="75000"/>
                <a:alpha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7196">
              <a:solidFill>
                <a:schemeClr val="bg2">
                  <a:lumMod val="50000"/>
                </a:schemeClr>
              </a:solidFill>
            </a:endParaRPr>
          </a:p>
        </p:txBody>
      </p:sp>
      <p:sp>
        <p:nvSpPr>
          <p:cNvPr id="53" name="ïṧ1íḍê">
            <a:extLst>
              <a:ext uri="{FF2B5EF4-FFF2-40B4-BE49-F238E27FC236}">
                <a16:creationId xmlns:a16="http://schemas.microsoft.com/office/drawing/2014/main" id="{652B2EF5-4AA1-478E-B2E4-00DAC4DC94F1}"/>
              </a:ext>
            </a:extLst>
          </p:cNvPr>
          <p:cNvSpPr/>
          <p:nvPr/>
        </p:nvSpPr>
        <p:spPr bwMode="auto">
          <a:xfrm>
            <a:off x="10265639" y="3398750"/>
            <a:ext cx="380968" cy="409678"/>
          </a:xfrm>
          <a:custGeom>
            <a:avLst/>
            <a:gdLst>
              <a:gd name="connsiteX0" fmla="*/ 8038 w 487162"/>
              <a:gd name="connsiteY0" fmla="*/ 513398 h 523875"/>
              <a:gd name="connsiteX1" fmla="*/ 7467 w 487162"/>
              <a:gd name="connsiteY1" fmla="*/ 512731 h 523875"/>
              <a:gd name="connsiteX2" fmla="*/ 7467 w 487162"/>
              <a:gd name="connsiteY2" fmla="*/ 512731 h 523875"/>
              <a:gd name="connsiteX3" fmla="*/ 6991 w 487162"/>
              <a:gd name="connsiteY3" fmla="*/ 512064 h 523875"/>
              <a:gd name="connsiteX4" fmla="*/ 4990 w 487162"/>
              <a:gd name="connsiteY4" fmla="*/ 509016 h 523875"/>
              <a:gd name="connsiteX5" fmla="*/ 4990 w 487162"/>
              <a:gd name="connsiteY5" fmla="*/ 509016 h 523875"/>
              <a:gd name="connsiteX6" fmla="*/ 4514 w 487162"/>
              <a:gd name="connsiteY6" fmla="*/ 508254 h 523875"/>
              <a:gd name="connsiteX7" fmla="*/ 3752 w 487162"/>
              <a:gd name="connsiteY7" fmla="*/ 506730 h 523875"/>
              <a:gd name="connsiteX8" fmla="*/ 3085 w 487162"/>
              <a:gd name="connsiteY8" fmla="*/ 505111 h 523875"/>
              <a:gd name="connsiteX9" fmla="*/ 2990 w 487162"/>
              <a:gd name="connsiteY9" fmla="*/ 504920 h 523875"/>
              <a:gd name="connsiteX10" fmla="*/ 2895 w 487162"/>
              <a:gd name="connsiteY10" fmla="*/ 504635 h 523875"/>
              <a:gd name="connsiteX11" fmla="*/ 2895 w 487162"/>
              <a:gd name="connsiteY11" fmla="*/ 504444 h 523875"/>
              <a:gd name="connsiteX12" fmla="*/ 2228 w 487162"/>
              <a:gd name="connsiteY12" fmla="*/ 502444 h 523875"/>
              <a:gd name="connsiteX13" fmla="*/ 1847 w 487162"/>
              <a:gd name="connsiteY13" fmla="*/ 501110 h 523875"/>
              <a:gd name="connsiteX14" fmla="*/ 1371 w 487162"/>
              <a:gd name="connsiteY14" fmla="*/ 499205 h 523875"/>
              <a:gd name="connsiteX15" fmla="*/ 514 w 487162"/>
              <a:gd name="connsiteY15" fmla="*/ 494919 h 523875"/>
              <a:gd name="connsiteX16" fmla="*/ 228 w 487162"/>
              <a:gd name="connsiteY16" fmla="*/ 492443 h 523875"/>
              <a:gd name="connsiteX17" fmla="*/ 37 w 487162"/>
              <a:gd name="connsiteY17" fmla="*/ 485870 h 523875"/>
              <a:gd name="connsiteX18" fmla="*/ 4609 w 487162"/>
              <a:gd name="connsiteY18" fmla="*/ 467582 h 523875"/>
              <a:gd name="connsiteX19" fmla="*/ 154247 w 487162"/>
              <a:gd name="connsiteY19" fmla="*/ 150876 h 523875"/>
              <a:gd name="connsiteX20" fmla="*/ 157867 w 487162"/>
              <a:gd name="connsiteY20" fmla="*/ 134588 h 523875"/>
              <a:gd name="connsiteX21" fmla="*/ 157867 w 487162"/>
              <a:gd name="connsiteY21" fmla="*/ 19050 h 523875"/>
              <a:gd name="connsiteX22" fmla="*/ 119767 w 487162"/>
              <a:gd name="connsiteY22" fmla="*/ 19050 h 523875"/>
              <a:gd name="connsiteX23" fmla="*/ 119767 w 487162"/>
              <a:gd name="connsiteY23" fmla="*/ 0 h 523875"/>
              <a:gd name="connsiteX24" fmla="*/ 367417 w 487162"/>
              <a:gd name="connsiteY24" fmla="*/ 0 h 523875"/>
              <a:gd name="connsiteX25" fmla="*/ 367417 w 487162"/>
              <a:gd name="connsiteY25" fmla="*/ 19050 h 523875"/>
              <a:gd name="connsiteX26" fmla="*/ 329317 w 487162"/>
              <a:gd name="connsiteY26" fmla="*/ 19050 h 523875"/>
              <a:gd name="connsiteX27" fmla="*/ 329317 w 487162"/>
              <a:gd name="connsiteY27" fmla="*/ 134684 h 523875"/>
              <a:gd name="connsiteX28" fmla="*/ 332936 w 487162"/>
              <a:gd name="connsiteY28" fmla="*/ 150971 h 523875"/>
              <a:gd name="connsiteX29" fmla="*/ 482574 w 487162"/>
              <a:gd name="connsiteY29" fmla="*/ 467678 h 523875"/>
              <a:gd name="connsiteX30" fmla="*/ 484098 w 487162"/>
              <a:gd name="connsiteY30" fmla="*/ 504920 h 523875"/>
              <a:gd name="connsiteX31" fmla="*/ 484003 w 487162"/>
              <a:gd name="connsiteY31" fmla="*/ 505111 h 523875"/>
              <a:gd name="connsiteX32" fmla="*/ 483431 w 487162"/>
              <a:gd name="connsiteY32" fmla="*/ 506540 h 523875"/>
              <a:gd name="connsiteX33" fmla="*/ 458571 w 487162"/>
              <a:gd name="connsiteY33" fmla="*/ 523780 h 523875"/>
              <a:gd name="connsiteX34" fmla="*/ 456666 w 487162"/>
              <a:gd name="connsiteY34" fmla="*/ 523875 h 523875"/>
              <a:gd name="connsiteX35" fmla="*/ 30422 w 487162"/>
              <a:gd name="connsiteY35" fmla="*/ 523875 h 523875"/>
              <a:gd name="connsiteX36" fmla="*/ 28612 w 487162"/>
              <a:gd name="connsiteY36" fmla="*/ 523780 h 523875"/>
              <a:gd name="connsiteX37" fmla="*/ 26136 w 487162"/>
              <a:gd name="connsiteY37" fmla="*/ 523494 h 523875"/>
              <a:gd name="connsiteX38" fmla="*/ 22326 w 487162"/>
              <a:gd name="connsiteY38" fmla="*/ 522637 h 523875"/>
              <a:gd name="connsiteX39" fmla="*/ 22326 w 487162"/>
              <a:gd name="connsiteY39" fmla="*/ 522637 h 523875"/>
              <a:gd name="connsiteX40" fmla="*/ 16801 w 487162"/>
              <a:gd name="connsiteY40" fmla="*/ 520351 h 523875"/>
              <a:gd name="connsiteX41" fmla="*/ 15373 w 487162"/>
              <a:gd name="connsiteY41" fmla="*/ 519589 h 523875"/>
              <a:gd name="connsiteX42" fmla="*/ 14420 w 487162"/>
              <a:gd name="connsiteY42" fmla="*/ 519017 h 523875"/>
              <a:gd name="connsiteX43" fmla="*/ 9467 w 487162"/>
              <a:gd name="connsiteY43" fmla="*/ 514922 h 523875"/>
              <a:gd name="connsiteX44" fmla="*/ 8038 w 487162"/>
              <a:gd name="connsiteY44" fmla="*/ 513398 h 523875"/>
              <a:gd name="connsiteX45" fmla="*/ 8038 w 487162"/>
              <a:gd name="connsiteY45" fmla="*/ 513398 h 523875"/>
              <a:gd name="connsiteX46" fmla="*/ 254641 w 487162"/>
              <a:gd name="connsiteY46" fmla="*/ 404146 h 523875"/>
              <a:gd name="connsiteX47" fmla="*/ 251783 w 487162"/>
              <a:gd name="connsiteY47" fmla="*/ 405956 h 523875"/>
              <a:gd name="connsiteX48" fmla="*/ 246259 w 487162"/>
              <a:gd name="connsiteY48" fmla="*/ 409670 h 523875"/>
              <a:gd name="connsiteX49" fmla="*/ 54425 w 487162"/>
              <a:gd name="connsiteY49" fmla="*/ 416243 h 523875"/>
              <a:gd name="connsiteX50" fmla="*/ 50615 w 487162"/>
              <a:gd name="connsiteY50" fmla="*/ 414719 h 523875"/>
              <a:gd name="connsiteX51" fmla="*/ 21754 w 487162"/>
              <a:gd name="connsiteY51" fmla="*/ 475774 h 523875"/>
              <a:gd name="connsiteX52" fmla="*/ 20897 w 487162"/>
              <a:gd name="connsiteY52" fmla="*/ 477679 h 523875"/>
              <a:gd name="connsiteX53" fmla="*/ 20802 w 487162"/>
              <a:gd name="connsiteY53" fmla="*/ 498158 h 523875"/>
              <a:gd name="connsiteX54" fmla="*/ 27945 w 487162"/>
              <a:gd name="connsiteY54" fmla="*/ 504444 h 523875"/>
              <a:gd name="connsiteX55" fmla="*/ 29184 w 487162"/>
              <a:gd name="connsiteY55" fmla="*/ 504635 h 523875"/>
              <a:gd name="connsiteX56" fmla="*/ 30327 w 487162"/>
              <a:gd name="connsiteY56" fmla="*/ 504730 h 523875"/>
              <a:gd name="connsiteX57" fmla="*/ 456570 w 487162"/>
              <a:gd name="connsiteY57" fmla="*/ 504730 h 523875"/>
              <a:gd name="connsiteX58" fmla="*/ 457714 w 487162"/>
              <a:gd name="connsiteY58" fmla="*/ 504635 h 523875"/>
              <a:gd name="connsiteX59" fmla="*/ 466095 w 487162"/>
              <a:gd name="connsiteY59" fmla="*/ 498062 h 523875"/>
              <a:gd name="connsiteX60" fmla="*/ 466667 w 487162"/>
              <a:gd name="connsiteY60" fmla="*/ 479584 h 523875"/>
              <a:gd name="connsiteX61" fmla="*/ 466000 w 487162"/>
              <a:gd name="connsiteY61" fmla="*/ 477584 h 523875"/>
              <a:gd name="connsiteX62" fmla="*/ 465143 w 487162"/>
              <a:gd name="connsiteY62" fmla="*/ 475679 h 523875"/>
              <a:gd name="connsiteX63" fmla="*/ 423519 w 487162"/>
              <a:gd name="connsiteY63" fmla="*/ 387477 h 523875"/>
              <a:gd name="connsiteX64" fmla="*/ 254641 w 487162"/>
              <a:gd name="connsiteY64" fmla="*/ 404146 h 523875"/>
              <a:gd name="connsiteX65" fmla="*/ 305504 w 487162"/>
              <a:gd name="connsiteY65" fmla="*/ 257175 h 523875"/>
              <a:gd name="connsiteX66" fmla="*/ 272167 w 487162"/>
              <a:gd name="connsiteY66" fmla="*/ 290513 h 523875"/>
              <a:gd name="connsiteX67" fmla="*/ 305504 w 487162"/>
              <a:gd name="connsiteY67" fmla="*/ 323850 h 523875"/>
              <a:gd name="connsiteX68" fmla="*/ 338842 w 487162"/>
              <a:gd name="connsiteY68" fmla="*/ 290513 h 523875"/>
              <a:gd name="connsiteX69" fmla="*/ 305504 w 487162"/>
              <a:gd name="connsiteY69" fmla="*/ 2571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038" y="513398"/>
                </a:moveTo>
                <a:lnTo>
                  <a:pt x="7467" y="512731"/>
                </a:lnTo>
                <a:lnTo>
                  <a:pt x="7467" y="512731"/>
                </a:lnTo>
                <a:lnTo>
                  <a:pt x="6991" y="512064"/>
                </a:lnTo>
                <a:cubicBezTo>
                  <a:pt x="6228" y="511112"/>
                  <a:pt x="5657" y="510064"/>
                  <a:pt x="4990" y="509016"/>
                </a:cubicBezTo>
                <a:lnTo>
                  <a:pt x="4990" y="509016"/>
                </a:lnTo>
                <a:lnTo>
                  <a:pt x="4514" y="508254"/>
                </a:lnTo>
                <a:lnTo>
                  <a:pt x="3752" y="506730"/>
                </a:lnTo>
                <a:lnTo>
                  <a:pt x="3085" y="505111"/>
                </a:lnTo>
                <a:lnTo>
                  <a:pt x="2990" y="504920"/>
                </a:lnTo>
                <a:lnTo>
                  <a:pt x="2895" y="504635"/>
                </a:lnTo>
                <a:lnTo>
                  <a:pt x="2895" y="504444"/>
                </a:lnTo>
                <a:lnTo>
                  <a:pt x="2228" y="502444"/>
                </a:lnTo>
                <a:cubicBezTo>
                  <a:pt x="2133" y="501968"/>
                  <a:pt x="1942" y="501587"/>
                  <a:pt x="1847" y="501110"/>
                </a:cubicBezTo>
                <a:cubicBezTo>
                  <a:pt x="1657" y="500444"/>
                  <a:pt x="1466" y="499872"/>
                  <a:pt x="1371" y="499205"/>
                </a:cubicBezTo>
                <a:cubicBezTo>
                  <a:pt x="990" y="497776"/>
                  <a:pt x="799" y="496348"/>
                  <a:pt x="514" y="494919"/>
                </a:cubicBezTo>
                <a:lnTo>
                  <a:pt x="228" y="492443"/>
                </a:lnTo>
                <a:cubicBezTo>
                  <a:pt x="37" y="490252"/>
                  <a:pt x="-58" y="488061"/>
                  <a:pt x="37" y="485870"/>
                </a:cubicBezTo>
                <a:cubicBezTo>
                  <a:pt x="323" y="479584"/>
                  <a:pt x="1847" y="473393"/>
                  <a:pt x="4609" y="467582"/>
                </a:cubicBezTo>
                <a:lnTo>
                  <a:pt x="154247" y="150876"/>
                </a:lnTo>
                <a:cubicBezTo>
                  <a:pt x="156628" y="145828"/>
                  <a:pt x="157867" y="140208"/>
                  <a:pt x="157867" y="134588"/>
                </a:cubicBezTo>
                <a:lnTo>
                  <a:pt x="157867" y="19050"/>
                </a:lnTo>
                <a:lnTo>
                  <a:pt x="119767" y="19050"/>
                </a:lnTo>
                <a:lnTo>
                  <a:pt x="119767" y="0"/>
                </a:lnTo>
                <a:lnTo>
                  <a:pt x="367417" y="0"/>
                </a:lnTo>
                <a:lnTo>
                  <a:pt x="367417" y="19050"/>
                </a:lnTo>
                <a:lnTo>
                  <a:pt x="329317" y="19050"/>
                </a:lnTo>
                <a:lnTo>
                  <a:pt x="329317" y="134684"/>
                </a:lnTo>
                <a:cubicBezTo>
                  <a:pt x="329317" y="140303"/>
                  <a:pt x="330555" y="145828"/>
                  <a:pt x="332936" y="150971"/>
                </a:cubicBezTo>
                <a:lnTo>
                  <a:pt x="482574" y="467678"/>
                </a:lnTo>
                <a:cubicBezTo>
                  <a:pt x="488098" y="479393"/>
                  <a:pt x="488670" y="492824"/>
                  <a:pt x="484098" y="504920"/>
                </a:cubicBezTo>
                <a:lnTo>
                  <a:pt x="484003" y="505111"/>
                </a:lnTo>
                <a:lnTo>
                  <a:pt x="483431" y="506540"/>
                </a:lnTo>
                <a:cubicBezTo>
                  <a:pt x="478954" y="516446"/>
                  <a:pt x="469429" y="523113"/>
                  <a:pt x="458571" y="523780"/>
                </a:cubicBezTo>
                <a:lnTo>
                  <a:pt x="456666" y="523875"/>
                </a:lnTo>
                <a:lnTo>
                  <a:pt x="30422" y="523875"/>
                </a:lnTo>
                <a:lnTo>
                  <a:pt x="28612" y="523780"/>
                </a:lnTo>
                <a:cubicBezTo>
                  <a:pt x="27755" y="523685"/>
                  <a:pt x="26993" y="523685"/>
                  <a:pt x="26136" y="523494"/>
                </a:cubicBezTo>
                <a:cubicBezTo>
                  <a:pt x="24802" y="523304"/>
                  <a:pt x="23564" y="523018"/>
                  <a:pt x="22326" y="522637"/>
                </a:cubicBezTo>
                <a:lnTo>
                  <a:pt x="22326" y="522637"/>
                </a:lnTo>
                <a:cubicBezTo>
                  <a:pt x="20421" y="522065"/>
                  <a:pt x="18516" y="521303"/>
                  <a:pt x="16801" y="520351"/>
                </a:cubicBezTo>
                <a:lnTo>
                  <a:pt x="15373" y="519589"/>
                </a:lnTo>
                <a:cubicBezTo>
                  <a:pt x="15087" y="519398"/>
                  <a:pt x="14801" y="519208"/>
                  <a:pt x="14420" y="519017"/>
                </a:cubicBezTo>
                <a:cubicBezTo>
                  <a:pt x="12610" y="517874"/>
                  <a:pt x="10896" y="516446"/>
                  <a:pt x="9467" y="514922"/>
                </a:cubicBezTo>
                <a:lnTo>
                  <a:pt x="8038" y="513398"/>
                </a:lnTo>
                <a:lnTo>
                  <a:pt x="8038" y="513398"/>
                </a:lnTo>
                <a:close/>
                <a:moveTo>
                  <a:pt x="254641" y="404146"/>
                </a:moveTo>
                <a:lnTo>
                  <a:pt x="251783" y="405956"/>
                </a:lnTo>
                <a:lnTo>
                  <a:pt x="246259" y="409670"/>
                </a:lnTo>
                <a:cubicBezTo>
                  <a:pt x="199015" y="441008"/>
                  <a:pt x="119481" y="441960"/>
                  <a:pt x="54425" y="416243"/>
                </a:cubicBezTo>
                <a:lnTo>
                  <a:pt x="50615" y="414719"/>
                </a:lnTo>
                <a:lnTo>
                  <a:pt x="21754" y="475774"/>
                </a:lnTo>
                <a:lnTo>
                  <a:pt x="20897" y="477679"/>
                </a:lnTo>
                <a:cubicBezTo>
                  <a:pt x="18420" y="484251"/>
                  <a:pt x="18325" y="491490"/>
                  <a:pt x="20802" y="498158"/>
                </a:cubicBezTo>
                <a:cubicBezTo>
                  <a:pt x="22040" y="501396"/>
                  <a:pt x="24707" y="503682"/>
                  <a:pt x="27945" y="504444"/>
                </a:cubicBezTo>
                <a:lnTo>
                  <a:pt x="29184" y="504635"/>
                </a:lnTo>
                <a:lnTo>
                  <a:pt x="30327" y="504730"/>
                </a:lnTo>
                <a:lnTo>
                  <a:pt x="456570" y="504730"/>
                </a:lnTo>
                <a:lnTo>
                  <a:pt x="457714" y="504635"/>
                </a:lnTo>
                <a:cubicBezTo>
                  <a:pt x="461524" y="504254"/>
                  <a:pt x="464762" y="501682"/>
                  <a:pt x="466095" y="498062"/>
                </a:cubicBezTo>
                <a:cubicBezTo>
                  <a:pt x="468382" y="492157"/>
                  <a:pt x="468572" y="485585"/>
                  <a:pt x="466667" y="479584"/>
                </a:cubicBezTo>
                <a:lnTo>
                  <a:pt x="466000" y="477584"/>
                </a:lnTo>
                <a:lnTo>
                  <a:pt x="465143" y="475679"/>
                </a:lnTo>
                <a:lnTo>
                  <a:pt x="423519" y="387477"/>
                </a:lnTo>
                <a:cubicBezTo>
                  <a:pt x="365416" y="373190"/>
                  <a:pt x="295979" y="378714"/>
                  <a:pt x="254641" y="404146"/>
                </a:cubicBezTo>
                <a:close/>
                <a:moveTo>
                  <a:pt x="305504" y="257175"/>
                </a:moveTo>
                <a:cubicBezTo>
                  <a:pt x="287121" y="257175"/>
                  <a:pt x="272167" y="272129"/>
                  <a:pt x="272167" y="290513"/>
                </a:cubicBezTo>
                <a:cubicBezTo>
                  <a:pt x="272167" y="308896"/>
                  <a:pt x="287121" y="323850"/>
                  <a:pt x="305504" y="323850"/>
                </a:cubicBezTo>
                <a:cubicBezTo>
                  <a:pt x="323887" y="323850"/>
                  <a:pt x="338842" y="308896"/>
                  <a:pt x="338842" y="290513"/>
                </a:cubicBezTo>
                <a:cubicBezTo>
                  <a:pt x="338842" y="272129"/>
                  <a:pt x="323887" y="257175"/>
                  <a:pt x="305504" y="257175"/>
                </a:cubicBezTo>
                <a:close/>
              </a:path>
            </a:pathLst>
          </a:custGeom>
          <a:solidFill>
            <a:schemeClr val="tx1">
              <a:lumMod val="50000"/>
              <a:lumOff val="50000"/>
            </a:schemeClr>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5" name="ís1íḋê">
            <a:extLst>
              <a:ext uri="{FF2B5EF4-FFF2-40B4-BE49-F238E27FC236}">
                <a16:creationId xmlns:a16="http://schemas.microsoft.com/office/drawing/2014/main" id="{37836778-80B1-4761-819C-2733CD3F8F13}"/>
              </a:ext>
            </a:extLst>
          </p:cNvPr>
          <p:cNvSpPr txBox="1"/>
          <p:nvPr/>
        </p:nvSpPr>
        <p:spPr>
          <a:xfrm flipH="1">
            <a:off x="9393348" y="5618689"/>
            <a:ext cx="2125551" cy="528111"/>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t>Copy paste fonts. Choose the only option to </a:t>
            </a:r>
            <a:r>
              <a:rPr lang="en-US" altLang="zh-CN" sz="1100"/>
              <a:t>retain tex</a:t>
            </a:r>
            <a:r>
              <a:rPr lang="en-US" altLang="zh-CN" sz="100"/>
              <a:t> </a:t>
            </a:r>
            <a:r>
              <a:rPr lang="en-US" altLang="zh-CN" sz="1100"/>
              <a:t>t</a:t>
            </a:r>
            <a:r>
              <a:rPr lang="en-US" altLang="zh-CN" sz="1100" dirty="0"/>
              <a:t>……</a:t>
            </a:r>
          </a:p>
        </p:txBody>
      </p:sp>
      <p:sp>
        <p:nvSpPr>
          <p:cNvPr id="66" name="ïṧľiďe">
            <a:extLst>
              <a:ext uri="{FF2B5EF4-FFF2-40B4-BE49-F238E27FC236}">
                <a16:creationId xmlns:a16="http://schemas.microsoft.com/office/drawing/2014/main" id="{6764E546-4B1B-42E1-8377-810BC9941772}"/>
              </a:ext>
            </a:extLst>
          </p:cNvPr>
          <p:cNvSpPr/>
          <p:nvPr/>
        </p:nvSpPr>
        <p:spPr>
          <a:xfrm flipH="1">
            <a:off x="9393349" y="5110858"/>
            <a:ext cx="2125551" cy="507831"/>
          </a:xfrm>
          <a:prstGeom prst="rect">
            <a:avLst/>
          </a:prstGeom>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2000" b="1"/>
              <a:t>Tex</a:t>
            </a:r>
            <a:r>
              <a:rPr lang="en-US" altLang="zh-CN" sz="100" b="1"/>
              <a:t> </a:t>
            </a:r>
            <a:r>
              <a:rPr lang="en-US" altLang="zh-CN" sz="2000" b="1"/>
              <a:t>t </a:t>
            </a:r>
            <a:r>
              <a:rPr lang="en-US" altLang="zh-CN" sz="2000" b="1" dirty="0"/>
              <a:t>here</a:t>
            </a:r>
            <a:endParaRPr lang="zh-CN" altLang="en-US" sz="2000" b="1" dirty="0"/>
          </a:p>
        </p:txBody>
      </p:sp>
      <p:grpSp>
        <p:nvGrpSpPr>
          <p:cNvPr id="32" name="íṣľîḑê">
            <a:extLst>
              <a:ext uri="{FF2B5EF4-FFF2-40B4-BE49-F238E27FC236}">
                <a16:creationId xmlns:a16="http://schemas.microsoft.com/office/drawing/2014/main" id="{4BE34089-B950-4699-9B60-DB22529E3AB8}"/>
              </a:ext>
            </a:extLst>
          </p:cNvPr>
          <p:cNvGrpSpPr/>
          <p:nvPr/>
        </p:nvGrpSpPr>
        <p:grpSpPr>
          <a:xfrm>
            <a:off x="7239601" y="2976912"/>
            <a:ext cx="2125552" cy="3169888"/>
            <a:chOff x="7239601" y="2976912"/>
            <a:chExt cx="2125552" cy="3169888"/>
          </a:xfrm>
        </p:grpSpPr>
        <p:cxnSp>
          <p:nvCxnSpPr>
            <p:cNvPr id="33" name="îšľïde">
              <a:extLst>
                <a:ext uri="{FF2B5EF4-FFF2-40B4-BE49-F238E27FC236}">
                  <a16:creationId xmlns:a16="http://schemas.microsoft.com/office/drawing/2014/main" id="{B5D7ECFB-2F35-498C-AD3E-2DF01AF9577E}"/>
                </a:ext>
              </a:extLst>
            </p:cNvPr>
            <p:cNvCxnSpPr/>
            <p:nvPr/>
          </p:nvCxnSpPr>
          <p:spPr>
            <a:xfrm>
              <a:off x="8302377" y="4441243"/>
              <a:ext cx="0" cy="458638"/>
            </a:xfrm>
            <a:prstGeom prst="line">
              <a:avLst/>
            </a:prstGeom>
            <a:ln w="3175">
              <a:solidFill>
                <a:schemeClr val="accent1"/>
              </a:solidFill>
              <a:prstDash val="solid"/>
              <a:headEnd type="oval" w="sm" len="sm"/>
              <a:tailEnd type="oval" w="sm" len="sm"/>
            </a:ln>
            <a:effectLst/>
          </p:spPr>
          <p:style>
            <a:lnRef idx="1">
              <a:schemeClr val="accent1"/>
            </a:lnRef>
            <a:fillRef idx="0">
              <a:schemeClr val="accent1"/>
            </a:fillRef>
            <a:effectRef idx="0">
              <a:schemeClr val="accent1"/>
            </a:effectRef>
            <a:fontRef idx="minor">
              <a:schemeClr val="tx1"/>
            </a:fontRef>
          </p:style>
        </p:cxnSp>
        <p:grpSp>
          <p:nvGrpSpPr>
            <p:cNvPr id="34" name="i$ḻidê">
              <a:extLst>
                <a:ext uri="{FF2B5EF4-FFF2-40B4-BE49-F238E27FC236}">
                  <a16:creationId xmlns:a16="http://schemas.microsoft.com/office/drawing/2014/main" id="{922E40D4-62D7-45A8-8788-568C1FCF0633}"/>
                </a:ext>
              </a:extLst>
            </p:cNvPr>
            <p:cNvGrpSpPr/>
            <p:nvPr/>
          </p:nvGrpSpPr>
          <p:grpSpPr>
            <a:xfrm>
              <a:off x="7675700" y="2976912"/>
              <a:ext cx="1253355" cy="1253354"/>
              <a:chOff x="7675700" y="3096672"/>
              <a:chExt cx="1253355" cy="1253354"/>
            </a:xfrm>
          </p:grpSpPr>
          <p:sp>
            <p:nvSpPr>
              <p:cNvPr id="40" name="íŝļiďê">
                <a:extLst>
                  <a:ext uri="{FF2B5EF4-FFF2-40B4-BE49-F238E27FC236}">
                    <a16:creationId xmlns:a16="http://schemas.microsoft.com/office/drawing/2014/main" id="{AE07F33D-54B1-488D-820F-E6D1EE466230}"/>
                  </a:ext>
                </a:extLst>
              </p:cNvPr>
              <p:cNvSpPr/>
              <p:nvPr/>
            </p:nvSpPr>
            <p:spPr>
              <a:xfrm>
                <a:off x="7792970" y="3208813"/>
                <a:ext cx="1018814" cy="1018814"/>
              </a:xfrm>
              <a:prstGeom prst="ellipse">
                <a:avLst/>
              </a:prstGeom>
              <a:solidFill>
                <a:schemeClr val="accent1"/>
              </a:solidFill>
              <a:ln>
                <a:solidFill>
                  <a:schemeClr val="accent1"/>
                </a:solidFill>
              </a:ln>
              <a:effectLst/>
            </p:spPr>
            <p:txBody>
              <a:bodyPr lIns="91426" tIns="45700" rIns="91426" bIns="4570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sz="3600">
                  <a:solidFill>
                    <a:schemeClr val="bg2">
                      <a:lumMod val="50000"/>
                    </a:schemeClr>
                  </a:solidFill>
                </a:endParaRPr>
              </a:p>
            </p:txBody>
          </p:sp>
          <p:sp>
            <p:nvSpPr>
              <p:cNvPr id="42" name="îslîḍé">
                <a:extLst>
                  <a:ext uri="{FF2B5EF4-FFF2-40B4-BE49-F238E27FC236}">
                    <a16:creationId xmlns:a16="http://schemas.microsoft.com/office/drawing/2014/main" id="{E0CF3712-88BF-4787-8F8C-0DE18384CAC1}"/>
                  </a:ext>
                </a:extLst>
              </p:cNvPr>
              <p:cNvSpPr/>
              <p:nvPr/>
            </p:nvSpPr>
            <p:spPr>
              <a:xfrm>
                <a:off x="7675700" y="3096672"/>
                <a:ext cx="1253355" cy="1253354"/>
              </a:xfrm>
              <a:prstGeom prst="ellipse">
                <a:avLst/>
              </a:prstGeom>
              <a:noFill/>
              <a:ln w="22225">
                <a:solidFill>
                  <a:schemeClr val="accent1">
                    <a:alpha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sz="7196">
                  <a:solidFill>
                    <a:schemeClr val="bg2">
                      <a:lumMod val="50000"/>
                    </a:schemeClr>
                  </a:solidFill>
                </a:endParaRPr>
              </a:p>
            </p:txBody>
          </p:sp>
          <p:sp>
            <p:nvSpPr>
              <p:cNvPr id="47" name="ïSļídè">
                <a:extLst>
                  <a:ext uri="{FF2B5EF4-FFF2-40B4-BE49-F238E27FC236}">
                    <a16:creationId xmlns:a16="http://schemas.microsoft.com/office/drawing/2014/main" id="{EBBE5D1D-8B25-4CF8-88FF-B4CAF6127D29}"/>
                  </a:ext>
                </a:extLst>
              </p:cNvPr>
              <p:cNvSpPr/>
              <p:nvPr/>
            </p:nvSpPr>
            <p:spPr bwMode="auto">
              <a:xfrm>
                <a:off x="8108934" y="3506177"/>
                <a:ext cx="386885" cy="424086"/>
              </a:xfrm>
              <a:custGeom>
                <a:avLst/>
                <a:gdLst>
                  <a:gd name="connsiteX0" fmla="*/ 247650 w 495300"/>
                  <a:gd name="connsiteY0" fmla="*/ 0 h 542925"/>
                  <a:gd name="connsiteX1" fmla="*/ 495300 w 495300"/>
                  <a:gd name="connsiteY1" fmla="*/ 247650 h 542925"/>
                  <a:gd name="connsiteX2" fmla="*/ 322707 w 495300"/>
                  <a:gd name="connsiteY2" fmla="*/ 483775 h 542925"/>
                  <a:gd name="connsiteX3" fmla="*/ 345853 w 495300"/>
                  <a:gd name="connsiteY3" fmla="*/ 523875 h 542925"/>
                  <a:gd name="connsiteX4" fmla="*/ 419100 w 495300"/>
                  <a:gd name="connsiteY4" fmla="*/ 523875 h 542925"/>
                  <a:gd name="connsiteX5" fmla="*/ 419100 w 495300"/>
                  <a:gd name="connsiteY5" fmla="*/ 542925 h 542925"/>
                  <a:gd name="connsiteX6" fmla="*/ 76200 w 495300"/>
                  <a:gd name="connsiteY6" fmla="*/ 542925 h 542925"/>
                  <a:gd name="connsiteX7" fmla="*/ 76200 w 495300"/>
                  <a:gd name="connsiteY7" fmla="*/ 523875 h 542925"/>
                  <a:gd name="connsiteX8" fmla="*/ 149447 w 495300"/>
                  <a:gd name="connsiteY8" fmla="*/ 523875 h 542925"/>
                  <a:gd name="connsiteX9" fmla="*/ 172593 w 495300"/>
                  <a:gd name="connsiteY9" fmla="*/ 483775 h 542925"/>
                  <a:gd name="connsiteX10" fmla="*/ 0 w 495300"/>
                  <a:gd name="connsiteY10" fmla="*/ 247650 h 542925"/>
                  <a:gd name="connsiteX11" fmla="*/ 247650 w 495300"/>
                  <a:gd name="connsiteY11" fmla="*/ 0 h 542925"/>
                  <a:gd name="connsiteX12" fmla="*/ 191643 w 495300"/>
                  <a:gd name="connsiteY12" fmla="*/ 488918 h 542925"/>
                  <a:gd name="connsiteX13" fmla="*/ 171450 w 495300"/>
                  <a:gd name="connsiteY13" fmla="*/ 523875 h 542925"/>
                  <a:gd name="connsiteX14" fmla="*/ 323850 w 495300"/>
                  <a:gd name="connsiteY14" fmla="*/ 523875 h 542925"/>
                  <a:gd name="connsiteX15" fmla="*/ 303657 w 495300"/>
                  <a:gd name="connsiteY15" fmla="*/ 488918 h 542925"/>
                  <a:gd name="connsiteX16" fmla="*/ 247650 w 495300"/>
                  <a:gd name="connsiteY16" fmla="*/ 495300 h 542925"/>
                  <a:gd name="connsiteX17" fmla="*/ 191643 w 495300"/>
                  <a:gd name="connsiteY17" fmla="*/ 488918 h 542925"/>
                  <a:gd name="connsiteX18" fmla="*/ 247650 w 495300"/>
                  <a:gd name="connsiteY18" fmla="*/ 142875 h 542925"/>
                  <a:gd name="connsiteX19" fmla="*/ 142875 w 495300"/>
                  <a:gd name="connsiteY19" fmla="*/ 247650 h 542925"/>
                  <a:gd name="connsiteX20" fmla="*/ 247650 w 495300"/>
                  <a:gd name="connsiteY20" fmla="*/ 352425 h 542925"/>
                  <a:gd name="connsiteX21" fmla="*/ 352425 w 495300"/>
                  <a:gd name="connsiteY21" fmla="*/ 247650 h 542925"/>
                  <a:gd name="connsiteX22" fmla="*/ 247650 w 495300"/>
                  <a:gd name="connsiteY22" fmla="*/ 142875 h 542925"/>
                  <a:gd name="connsiteX23" fmla="*/ 366713 w 495300"/>
                  <a:gd name="connsiteY23" fmla="*/ 114300 h 542925"/>
                  <a:gd name="connsiteX24" fmla="*/ 352425 w 495300"/>
                  <a:gd name="connsiteY24" fmla="*/ 128588 h 542925"/>
                  <a:gd name="connsiteX25" fmla="*/ 366713 w 495300"/>
                  <a:gd name="connsiteY25" fmla="*/ 142875 h 542925"/>
                  <a:gd name="connsiteX26" fmla="*/ 381000 w 495300"/>
                  <a:gd name="connsiteY26" fmla="*/ 128588 h 542925"/>
                  <a:gd name="connsiteX27" fmla="*/ 366713 w 495300"/>
                  <a:gd name="connsiteY27" fmla="*/ 11430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7650" y="0"/>
                    </a:moveTo>
                    <a:cubicBezTo>
                      <a:pt x="384429" y="0"/>
                      <a:pt x="495300" y="110871"/>
                      <a:pt x="495300" y="247650"/>
                    </a:cubicBezTo>
                    <a:cubicBezTo>
                      <a:pt x="495300" y="358235"/>
                      <a:pt x="422815" y="451961"/>
                      <a:pt x="322707" y="483775"/>
                    </a:cubicBezTo>
                    <a:lnTo>
                      <a:pt x="345853" y="523875"/>
                    </a:lnTo>
                    <a:lnTo>
                      <a:pt x="419100" y="523875"/>
                    </a:lnTo>
                    <a:lnTo>
                      <a:pt x="419100" y="542925"/>
                    </a:lnTo>
                    <a:lnTo>
                      <a:pt x="76200" y="542925"/>
                    </a:lnTo>
                    <a:lnTo>
                      <a:pt x="76200" y="523875"/>
                    </a:lnTo>
                    <a:lnTo>
                      <a:pt x="149447" y="523875"/>
                    </a:lnTo>
                    <a:lnTo>
                      <a:pt x="172593" y="483775"/>
                    </a:lnTo>
                    <a:cubicBezTo>
                      <a:pt x="72485" y="451961"/>
                      <a:pt x="0" y="358235"/>
                      <a:pt x="0" y="247650"/>
                    </a:cubicBezTo>
                    <a:cubicBezTo>
                      <a:pt x="0" y="110871"/>
                      <a:pt x="110871" y="0"/>
                      <a:pt x="247650" y="0"/>
                    </a:cubicBezTo>
                    <a:close/>
                    <a:moveTo>
                      <a:pt x="191643" y="488918"/>
                    </a:moveTo>
                    <a:lnTo>
                      <a:pt x="171450" y="523875"/>
                    </a:lnTo>
                    <a:lnTo>
                      <a:pt x="323850" y="523875"/>
                    </a:lnTo>
                    <a:lnTo>
                      <a:pt x="303657" y="488918"/>
                    </a:lnTo>
                    <a:cubicBezTo>
                      <a:pt x="285655" y="493109"/>
                      <a:pt x="266891" y="495300"/>
                      <a:pt x="247650" y="495300"/>
                    </a:cubicBezTo>
                    <a:cubicBezTo>
                      <a:pt x="228409" y="495300"/>
                      <a:pt x="209645" y="493109"/>
                      <a:pt x="191643" y="488918"/>
                    </a:cubicBezTo>
                    <a:close/>
                    <a:moveTo>
                      <a:pt x="247650" y="142875"/>
                    </a:moveTo>
                    <a:cubicBezTo>
                      <a:pt x="189738" y="142875"/>
                      <a:pt x="142875" y="189738"/>
                      <a:pt x="142875" y="247650"/>
                    </a:cubicBezTo>
                    <a:cubicBezTo>
                      <a:pt x="142875" y="305562"/>
                      <a:pt x="189738" y="352425"/>
                      <a:pt x="247650" y="352425"/>
                    </a:cubicBezTo>
                    <a:cubicBezTo>
                      <a:pt x="305562" y="352425"/>
                      <a:pt x="352425" y="305562"/>
                      <a:pt x="352425" y="247650"/>
                    </a:cubicBezTo>
                    <a:cubicBezTo>
                      <a:pt x="352425" y="189738"/>
                      <a:pt x="305562" y="142875"/>
                      <a:pt x="247650" y="142875"/>
                    </a:cubicBezTo>
                    <a:close/>
                    <a:moveTo>
                      <a:pt x="366713" y="114300"/>
                    </a:moveTo>
                    <a:cubicBezTo>
                      <a:pt x="358807" y="114300"/>
                      <a:pt x="352425" y="120682"/>
                      <a:pt x="352425" y="128588"/>
                    </a:cubicBezTo>
                    <a:cubicBezTo>
                      <a:pt x="352425" y="136493"/>
                      <a:pt x="358807" y="142875"/>
                      <a:pt x="366713" y="142875"/>
                    </a:cubicBezTo>
                    <a:cubicBezTo>
                      <a:pt x="374618" y="142875"/>
                      <a:pt x="381000" y="136493"/>
                      <a:pt x="381000" y="128588"/>
                    </a:cubicBezTo>
                    <a:cubicBezTo>
                      <a:pt x="381000" y="120682"/>
                      <a:pt x="374618" y="114300"/>
                      <a:pt x="366713" y="114300"/>
                    </a:cubicBezTo>
                    <a:close/>
                  </a:path>
                </a:pathLst>
              </a:custGeom>
              <a:solidFill>
                <a:schemeClr val="bg1"/>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35" name="íslíḓé">
              <a:extLst>
                <a:ext uri="{FF2B5EF4-FFF2-40B4-BE49-F238E27FC236}">
                  <a16:creationId xmlns:a16="http://schemas.microsoft.com/office/drawing/2014/main" id="{69A44B28-CE24-40A5-BBA1-96CABE8FD335}"/>
                </a:ext>
              </a:extLst>
            </p:cNvPr>
            <p:cNvGrpSpPr/>
            <p:nvPr/>
          </p:nvGrpSpPr>
          <p:grpSpPr>
            <a:xfrm>
              <a:off x="7239601" y="5110858"/>
              <a:ext cx="2125552" cy="1035942"/>
              <a:chOff x="7943613" y="2575161"/>
              <a:chExt cx="3575287" cy="1035942"/>
            </a:xfrm>
          </p:grpSpPr>
          <p:sp>
            <p:nvSpPr>
              <p:cNvPr id="36" name="îŝ1ïḍê">
                <a:extLst>
                  <a:ext uri="{FF2B5EF4-FFF2-40B4-BE49-F238E27FC236}">
                    <a16:creationId xmlns:a16="http://schemas.microsoft.com/office/drawing/2014/main" id="{959E666C-C196-4145-A8A3-B763BCA39908}"/>
                  </a:ext>
                </a:extLst>
              </p:cNvPr>
              <p:cNvSpPr txBox="1"/>
              <p:nvPr/>
            </p:nvSpPr>
            <p:spPr>
              <a:xfrm flipH="1">
                <a:off x="7943613" y="3082992"/>
                <a:ext cx="3575286" cy="528111"/>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altLang="zh-CN" sz="1100" dirty="0"/>
                  <a:t>Copy paste fonts</a:t>
                </a:r>
                <a:r>
                  <a:rPr lang="en-US" altLang="zh-CN" sz="1100"/>
                  <a:t>. </a:t>
                </a:r>
                <a:r>
                  <a:rPr lang="en-US" altLang="zh-CN" sz="100"/>
                  <a:t> </a:t>
                </a:r>
                <a:r>
                  <a:rPr lang="en-US" altLang="zh-CN" sz="1100"/>
                  <a:t>Choose </a:t>
                </a:r>
                <a:r>
                  <a:rPr lang="en-US" altLang="zh-CN" sz="1100" dirty="0"/>
                  <a:t>the only option to retain text……</a:t>
                </a:r>
              </a:p>
            </p:txBody>
          </p:sp>
          <p:sp>
            <p:nvSpPr>
              <p:cNvPr id="38" name="ïšḷîḓe">
                <a:extLst>
                  <a:ext uri="{FF2B5EF4-FFF2-40B4-BE49-F238E27FC236}">
                    <a16:creationId xmlns:a16="http://schemas.microsoft.com/office/drawing/2014/main" id="{791C83F7-B732-4747-A6B6-FA3E7E2944C5}"/>
                  </a:ext>
                </a:extLst>
              </p:cNvPr>
              <p:cNvSpPr/>
              <p:nvPr/>
            </p:nvSpPr>
            <p:spPr>
              <a:xfrm flipH="1">
                <a:off x="7943614" y="2575161"/>
                <a:ext cx="3575286" cy="507831"/>
              </a:xfrm>
              <a:prstGeom prst="rect">
                <a:avLst/>
              </a:prstGeom>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2000" b="1"/>
                  <a:t>Tex</a:t>
                </a:r>
                <a:r>
                  <a:rPr lang="en-US" altLang="zh-CN" sz="100" b="1"/>
                  <a:t> </a:t>
                </a:r>
                <a:r>
                  <a:rPr lang="en-US" altLang="zh-CN" sz="2000" b="1"/>
                  <a:t>t </a:t>
                </a:r>
                <a:r>
                  <a:rPr lang="en-US" altLang="zh-CN" sz="2000" b="1" dirty="0"/>
                  <a:t>here</a:t>
                </a:r>
                <a:endParaRPr lang="zh-CN" altLang="en-US" sz="2000" b="1" dirty="0"/>
              </a:p>
            </p:txBody>
          </p:sp>
        </p:grpSp>
      </p:grpSp>
      <p:cxnSp>
        <p:nvCxnSpPr>
          <p:cNvPr id="46" name="î$ḷídè">
            <a:extLst>
              <a:ext uri="{FF2B5EF4-FFF2-40B4-BE49-F238E27FC236}">
                <a16:creationId xmlns:a16="http://schemas.microsoft.com/office/drawing/2014/main" id="{012AF7FC-53DB-4479-814C-9305587A67C0}"/>
              </a:ext>
            </a:extLst>
          </p:cNvPr>
          <p:cNvCxnSpPr/>
          <p:nvPr/>
        </p:nvCxnSpPr>
        <p:spPr>
          <a:xfrm>
            <a:off x="6148629" y="4441243"/>
            <a:ext cx="0" cy="458638"/>
          </a:xfrm>
          <a:prstGeom prst="line">
            <a:avLst/>
          </a:prstGeom>
          <a:ln w="3175">
            <a:solidFill>
              <a:schemeClr val="bg1">
                <a:lumMod val="75000"/>
              </a:schemeClr>
            </a:solidFill>
            <a:prstDash val="solid"/>
            <a:headEnd type="oval" w="sm" len="sm"/>
            <a:tailEnd type="oval" w="sm" len="sm"/>
          </a:ln>
          <a:effectLst/>
        </p:spPr>
        <p:style>
          <a:lnRef idx="1">
            <a:schemeClr val="accent1"/>
          </a:lnRef>
          <a:fillRef idx="0">
            <a:schemeClr val="accent1"/>
          </a:fillRef>
          <a:effectRef idx="0">
            <a:schemeClr val="accent1"/>
          </a:effectRef>
          <a:fontRef idx="minor">
            <a:schemeClr val="tx1"/>
          </a:fontRef>
        </p:style>
      </p:cxnSp>
      <p:sp>
        <p:nvSpPr>
          <p:cNvPr id="51" name="îşľïḓe">
            <a:extLst>
              <a:ext uri="{FF2B5EF4-FFF2-40B4-BE49-F238E27FC236}">
                <a16:creationId xmlns:a16="http://schemas.microsoft.com/office/drawing/2014/main" id="{07EAB116-B031-4F1E-BB2B-E82AE8262D73}"/>
              </a:ext>
            </a:extLst>
          </p:cNvPr>
          <p:cNvSpPr/>
          <p:nvPr/>
        </p:nvSpPr>
        <p:spPr>
          <a:xfrm>
            <a:off x="5639222" y="3098454"/>
            <a:ext cx="1018814" cy="1018814"/>
          </a:xfrm>
          <a:prstGeom prst="ellipse">
            <a:avLst/>
          </a:prstGeom>
          <a:solidFill>
            <a:schemeClr val="bg1">
              <a:lumMod val="95000"/>
            </a:schemeClr>
          </a:solidFill>
          <a:ln>
            <a:noFill/>
          </a:ln>
          <a:effectLst/>
        </p:spPr>
        <p:txBody>
          <a:bodyPr lIns="91426" tIns="45700" rIns="91426" bIns="45700" anchor="ctr" anchorCtr="0">
            <a:no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pPr algn="ctr"/>
            <a:endParaRPr sz="3600">
              <a:solidFill>
                <a:schemeClr val="bg2">
                  <a:lumMod val="50000"/>
                </a:schemeClr>
              </a:solidFill>
            </a:endParaRPr>
          </a:p>
        </p:txBody>
      </p:sp>
      <p:sp>
        <p:nvSpPr>
          <p:cNvPr id="52" name="îṣlîḑê">
            <a:extLst>
              <a:ext uri="{FF2B5EF4-FFF2-40B4-BE49-F238E27FC236}">
                <a16:creationId xmlns:a16="http://schemas.microsoft.com/office/drawing/2014/main" id="{7914BF3E-E2FC-46E8-917F-2643E7D70EAB}"/>
              </a:ext>
            </a:extLst>
          </p:cNvPr>
          <p:cNvSpPr/>
          <p:nvPr/>
        </p:nvSpPr>
        <p:spPr>
          <a:xfrm>
            <a:off x="5521952" y="2976912"/>
            <a:ext cx="1253355" cy="1253354"/>
          </a:xfrm>
          <a:prstGeom prst="ellipse">
            <a:avLst/>
          </a:prstGeom>
          <a:noFill/>
          <a:ln w="22225">
            <a:solidFill>
              <a:schemeClr val="bg1">
                <a:lumMod val="75000"/>
                <a:alpha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7196">
              <a:solidFill>
                <a:schemeClr val="bg2">
                  <a:lumMod val="50000"/>
                </a:schemeClr>
              </a:solidFill>
            </a:endParaRPr>
          </a:p>
        </p:txBody>
      </p:sp>
      <p:grpSp>
        <p:nvGrpSpPr>
          <p:cNvPr id="48" name="î$1iḑè">
            <a:extLst>
              <a:ext uri="{FF2B5EF4-FFF2-40B4-BE49-F238E27FC236}">
                <a16:creationId xmlns:a16="http://schemas.microsoft.com/office/drawing/2014/main" id="{77C0292A-DCC1-4F89-B66F-32056AE0AFF7}"/>
              </a:ext>
            </a:extLst>
          </p:cNvPr>
          <p:cNvGrpSpPr/>
          <p:nvPr/>
        </p:nvGrpSpPr>
        <p:grpSpPr>
          <a:xfrm>
            <a:off x="5085853" y="5110858"/>
            <a:ext cx="2125552" cy="1035942"/>
            <a:chOff x="7943613" y="2575161"/>
            <a:chExt cx="3575287" cy="1035942"/>
          </a:xfrm>
        </p:grpSpPr>
        <p:sp>
          <p:nvSpPr>
            <p:cNvPr id="49" name="ïŝḷiḓé">
              <a:extLst>
                <a:ext uri="{FF2B5EF4-FFF2-40B4-BE49-F238E27FC236}">
                  <a16:creationId xmlns:a16="http://schemas.microsoft.com/office/drawing/2014/main" id="{CA1A1677-C3BA-432F-BE35-FBC5EE2B73F9}"/>
                </a:ext>
              </a:extLst>
            </p:cNvPr>
            <p:cNvSpPr txBox="1"/>
            <p:nvPr/>
          </p:nvSpPr>
          <p:spPr>
            <a:xfrm flipH="1">
              <a:off x="7943613" y="3082992"/>
              <a:ext cx="3575286" cy="528111"/>
            </a:xfrm>
            <a:prstGeom prst="rect">
              <a:avLst/>
            </a:prstGeom>
            <a:noFill/>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t>Copy paste fonts</a:t>
              </a:r>
              <a:r>
                <a:rPr lang="en-US" altLang="zh-CN" sz="1100"/>
                <a:t>. </a:t>
              </a:r>
              <a:r>
                <a:rPr lang="en-US" altLang="zh-CN" sz="100"/>
                <a:t> </a:t>
              </a:r>
              <a:r>
                <a:rPr lang="en-US" altLang="zh-CN" sz="1100"/>
                <a:t>Choose </a:t>
              </a:r>
              <a:r>
                <a:rPr lang="en-US" altLang="zh-CN" sz="1100" dirty="0"/>
                <a:t>the only option to retain text……</a:t>
              </a:r>
            </a:p>
          </p:txBody>
        </p:sp>
        <p:sp>
          <p:nvSpPr>
            <p:cNvPr id="50" name="ïṡlíďê">
              <a:extLst>
                <a:ext uri="{FF2B5EF4-FFF2-40B4-BE49-F238E27FC236}">
                  <a16:creationId xmlns:a16="http://schemas.microsoft.com/office/drawing/2014/main" id="{D41D107E-34AE-4E8B-B557-3B5F56A54A43}"/>
                </a:ext>
              </a:extLst>
            </p:cNvPr>
            <p:cNvSpPr/>
            <p:nvPr/>
          </p:nvSpPr>
          <p:spPr>
            <a:xfrm flipH="1">
              <a:off x="7943614" y="2575161"/>
              <a:ext cx="3575286" cy="507831"/>
            </a:xfrm>
            <a:prstGeom prst="rect">
              <a:avLst/>
            </a:prstGeom>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2000" b="1"/>
                <a:t>Tex</a:t>
              </a:r>
              <a:r>
                <a:rPr lang="en-US" altLang="zh-CN" sz="100" b="1"/>
                <a:t> </a:t>
              </a:r>
              <a:r>
                <a:rPr lang="en-US" altLang="zh-CN" sz="2000" b="1"/>
                <a:t>t </a:t>
              </a:r>
              <a:r>
                <a:rPr lang="en-US" altLang="zh-CN" sz="2000" b="1" dirty="0"/>
                <a:t>here</a:t>
              </a:r>
              <a:endParaRPr lang="zh-CN" altLang="en-US" sz="2000" b="1" dirty="0"/>
            </a:p>
          </p:txBody>
        </p:sp>
      </p:grpSp>
      <p:grpSp>
        <p:nvGrpSpPr>
          <p:cNvPr id="43" name="îş1ïḑé">
            <a:extLst>
              <a:ext uri="{FF2B5EF4-FFF2-40B4-BE49-F238E27FC236}">
                <a16:creationId xmlns:a16="http://schemas.microsoft.com/office/drawing/2014/main" id="{ED64C87E-8FEB-40BD-BFD1-910380DEB57A}"/>
              </a:ext>
            </a:extLst>
          </p:cNvPr>
          <p:cNvGrpSpPr/>
          <p:nvPr/>
        </p:nvGrpSpPr>
        <p:grpSpPr>
          <a:xfrm>
            <a:off x="673100" y="1177098"/>
            <a:ext cx="4479925" cy="2084344"/>
            <a:chOff x="3661181" y="4062456"/>
            <a:chExt cx="4869638" cy="2084344"/>
          </a:xfrm>
        </p:grpSpPr>
        <p:sp>
          <p:nvSpPr>
            <p:cNvPr id="44" name="išḻïḍê">
              <a:extLst>
                <a:ext uri="{FF2B5EF4-FFF2-40B4-BE49-F238E27FC236}">
                  <a16:creationId xmlns:a16="http://schemas.microsoft.com/office/drawing/2014/main" id="{2383217E-16C0-490A-91FC-3BE1C6BB5CD8}"/>
                </a:ext>
              </a:extLst>
            </p:cNvPr>
            <p:cNvSpPr txBox="1"/>
            <p:nvPr/>
          </p:nvSpPr>
          <p:spPr>
            <a:xfrm>
              <a:off x="3661182" y="4062456"/>
              <a:ext cx="4869637" cy="1042173"/>
            </a:xfrm>
            <a:prstGeom prst="rect">
              <a:avLst/>
            </a:prstGeom>
            <a:noFill/>
            <a:ln>
              <a:noFill/>
            </a:ln>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r>
                <a:rPr lang="en-US" sz="2800" b="1"/>
                <a:t>Unified fonts</a:t>
              </a:r>
              <a:r>
                <a:rPr lang="en-US" sz="100" b="1"/>
                <a:t> </a:t>
              </a:r>
              <a:r>
                <a:rPr lang="en-US" sz="2800" b="1"/>
                <a:t> </a:t>
              </a:r>
              <a:r>
                <a:rPr lang="en-US" sz="2800" b="1" dirty="0"/>
                <a:t>make</a:t>
              </a:r>
            </a:p>
            <a:p>
              <a:pPr>
                <a:buSzPct val="25000"/>
              </a:pPr>
              <a:r>
                <a:rPr lang="en-US" sz="2800" b="1" dirty="0"/>
                <a:t>reading more fluent.</a:t>
              </a:r>
            </a:p>
          </p:txBody>
        </p:sp>
        <p:sp>
          <p:nvSpPr>
            <p:cNvPr id="45" name="ïṡlïdé">
              <a:extLst>
                <a:ext uri="{FF2B5EF4-FFF2-40B4-BE49-F238E27FC236}">
                  <a16:creationId xmlns:a16="http://schemas.microsoft.com/office/drawing/2014/main" id="{60E7B3A5-46B6-4DBA-A5E4-858C46E75CB2}"/>
                </a:ext>
              </a:extLst>
            </p:cNvPr>
            <p:cNvSpPr txBox="1"/>
            <p:nvPr/>
          </p:nvSpPr>
          <p:spPr>
            <a:xfrm>
              <a:off x="3661181" y="5104628"/>
              <a:ext cx="4869638" cy="1042172"/>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buSzPct val="25000"/>
              </a:pPr>
              <a:r>
                <a:rPr lang="en-US" sz="1200" dirty="0"/>
                <a:t>Theme color makes PPT more convenient </a:t>
              </a:r>
              <a:r>
                <a:rPr lang="en-US" sz="1200"/>
                <a:t>to ch</a:t>
              </a:r>
              <a:r>
                <a:rPr lang="en-US" sz="100"/>
                <a:t> </a:t>
              </a:r>
              <a:r>
                <a:rPr lang="en-US" sz="1200"/>
                <a:t>ange</a:t>
              </a:r>
              <a:r>
                <a:rPr lang="en-US" sz="1200" dirty="0"/>
                <a:t>.</a:t>
              </a:r>
            </a:p>
            <a:p>
              <a:pPr>
                <a:lnSpc>
                  <a:spcPct val="150000"/>
                </a:lnSpc>
                <a:buSzPct val="25000"/>
              </a:pPr>
              <a:r>
                <a:rPr lang="en-US" sz="1200" dirty="0"/>
                <a:t>Adjust the spacing to adapt to Chinese typesetting, use the reference line in PPT.</a:t>
              </a:r>
            </a:p>
          </p:txBody>
        </p:sp>
      </p:grpSp>
      <p:sp>
        <p:nvSpPr>
          <p:cNvPr id="31" name="iṥḷíḑè">
            <a:extLst>
              <a:ext uri="{FF2B5EF4-FFF2-40B4-BE49-F238E27FC236}">
                <a16:creationId xmlns:a16="http://schemas.microsoft.com/office/drawing/2014/main" id="{5BB6E157-B098-4713-B93B-41C3D2099974}"/>
              </a:ext>
            </a:extLst>
          </p:cNvPr>
          <p:cNvSpPr/>
          <p:nvPr/>
        </p:nvSpPr>
        <p:spPr bwMode="auto">
          <a:xfrm>
            <a:off x="5943789" y="3417039"/>
            <a:ext cx="409678" cy="373099"/>
          </a:xfrm>
          <a:custGeom>
            <a:avLst/>
            <a:gdLst>
              <a:gd name="connsiteX0" fmla="*/ 123825 w 533400"/>
              <a:gd name="connsiteY0" fmla="*/ 228600 h 485775"/>
              <a:gd name="connsiteX1" fmla="*/ 123825 w 533400"/>
              <a:gd name="connsiteY1" fmla="*/ 276225 h 485775"/>
              <a:gd name="connsiteX2" fmla="*/ 142875 w 533400"/>
              <a:gd name="connsiteY2" fmla="*/ 276225 h 485775"/>
              <a:gd name="connsiteX3" fmla="*/ 142875 w 533400"/>
              <a:gd name="connsiteY3" fmla="*/ 228600 h 485775"/>
              <a:gd name="connsiteX4" fmla="*/ 390525 w 533400"/>
              <a:gd name="connsiteY4" fmla="*/ 228600 h 485775"/>
              <a:gd name="connsiteX5" fmla="*/ 390525 w 533400"/>
              <a:gd name="connsiteY5" fmla="*/ 276225 h 485775"/>
              <a:gd name="connsiteX6" fmla="*/ 409575 w 533400"/>
              <a:gd name="connsiteY6" fmla="*/ 276225 h 485775"/>
              <a:gd name="connsiteX7" fmla="*/ 409575 w 533400"/>
              <a:gd name="connsiteY7" fmla="*/ 228600 h 485775"/>
              <a:gd name="connsiteX8" fmla="*/ 533400 w 533400"/>
              <a:gd name="connsiteY8" fmla="*/ 228600 h 485775"/>
              <a:gd name="connsiteX9" fmla="*/ 533400 w 533400"/>
              <a:gd name="connsiteY9" fmla="*/ 457200 h 485775"/>
              <a:gd name="connsiteX10" fmla="*/ 504825 w 533400"/>
              <a:gd name="connsiteY10" fmla="*/ 485775 h 485775"/>
              <a:gd name="connsiteX11" fmla="*/ 28575 w 533400"/>
              <a:gd name="connsiteY11" fmla="*/ 485775 h 485775"/>
              <a:gd name="connsiteX12" fmla="*/ 0 w 533400"/>
              <a:gd name="connsiteY12" fmla="*/ 457200 h 485775"/>
              <a:gd name="connsiteX13" fmla="*/ 0 w 533400"/>
              <a:gd name="connsiteY13" fmla="*/ 228600 h 485775"/>
              <a:gd name="connsiteX14" fmla="*/ 123825 w 533400"/>
              <a:gd name="connsiteY14" fmla="*/ 228600 h 485775"/>
              <a:gd name="connsiteX15" fmla="*/ 371475 w 533400"/>
              <a:gd name="connsiteY15" fmla="*/ 0 h 485775"/>
              <a:gd name="connsiteX16" fmla="*/ 409575 w 533400"/>
              <a:gd name="connsiteY16" fmla="*/ 36195 h 485775"/>
              <a:gd name="connsiteX17" fmla="*/ 409575 w 533400"/>
              <a:gd name="connsiteY17" fmla="*/ 38100 h 485775"/>
              <a:gd name="connsiteX18" fmla="*/ 409575 w 533400"/>
              <a:gd name="connsiteY18" fmla="*/ 114300 h 485775"/>
              <a:gd name="connsiteX19" fmla="*/ 504825 w 533400"/>
              <a:gd name="connsiteY19" fmla="*/ 114300 h 485775"/>
              <a:gd name="connsiteX20" fmla="*/ 533400 w 533400"/>
              <a:gd name="connsiteY20" fmla="*/ 142875 h 485775"/>
              <a:gd name="connsiteX21" fmla="*/ 533400 w 533400"/>
              <a:gd name="connsiteY21" fmla="*/ 209550 h 485775"/>
              <a:gd name="connsiteX22" fmla="*/ 0 w 533400"/>
              <a:gd name="connsiteY22" fmla="*/ 209550 h 485775"/>
              <a:gd name="connsiteX23" fmla="*/ 0 w 533400"/>
              <a:gd name="connsiteY23" fmla="*/ 142875 h 485775"/>
              <a:gd name="connsiteX24" fmla="*/ 28575 w 533400"/>
              <a:gd name="connsiteY24" fmla="*/ 114300 h 485775"/>
              <a:gd name="connsiteX25" fmla="*/ 123825 w 533400"/>
              <a:gd name="connsiteY25" fmla="*/ 114300 h 485775"/>
              <a:gd name="connsiteX26" fmla="*/ 123825 w 533400"/>
              <a:gd name="connsiteY26" fmla="*/ 38100 h 485775"/>
              <a:gd name="connsiteX27" fmla="*/ 160020 w 533400"/>
              <a:gd name="connsiteY27" fmla="*/ 0 h 485775"/>
              <a:gd name="connsiteX28" fmla="*/ 161925 w 533400"/>
              <a:gd name="connsiteY28" fmla="*/ 0 h 485775"/>
              <a:gd name="connsiteX29" fmla="*/ 371475 w 533400"/>
              <a:gd name="connsiteY29" fmla="*/ 0 h 485775"/>
              <a:gd name="connsiteX30" fmla="*/ 371475 w 533400"/>
              <a:gd name="connsiteY30" fmla="*/ 19050 h 485775"/>
              <a:gd name="connsiteX31" fmla="*/ 161925 w 533400"/>
              <a:gd name="connsiteY31" fmla="*/ 19050 h 485775"/>
              <a:gd name="connsiteX32" fmla="*/ 142970 w 533400"/>
              <a:gd name="connsiteY32" fmla="*/ 36671 h 485775"/>
              <a:gd name="connsiteX33" fmla="*/ 142875 w 533400"/>
              <a:gd name="connsiteY33" fmla="*/ 38100 h 485775"/>
              <a:gd name="connsiteX34" fmla="*/ 142875 w 533400"/>
              <a:gd name="connsiteY34" fmla="*/ 114300 h 485775"/>
              <a:gd name="connsiteX35" fmla="*/ 390525 w 533400"/>
              <a:gd name="connsiteY35" fmla="*/ 114300 h 485775"/>
              <a:gd name="connsiteX36" fmla="*/ 390525 w 533400"/>
              <a:gd name="connsiteY36" fmla="*/ 38100 h 485775"/>
              <a:gd name="connsiteX37" fmla="*/ 374333 w 533400"/>
              <a:gd name="connsiteY37" fmla="*/ 19241 h 485775"/>
              <a:gd name="connsiteX38" fmla="*/ 372904 w 533400"/>
              <a:gd name="connsiteY38" fmla="*/ 19050 h 485775"/>
              <a:gd name="connsiteX39" fmla="*/ 371475 w 533400"/>
              <a:gd name="connsiteY39" fmla="*/ 1905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3825" y="228600"/>
                </a:moveTo>
                <a:lnTo>
                  <a:pt x="123825" y="276225"/>
                </a:lnTo>
                <a:lnTo>
                  <a:pt x="142875" y="276225"/>
                </a:lnTo>
                <a:lnTo>
                  <a:pt x="142875" y="228600"/>
                </a:lnTo>
                <a:lnTo>
                  <a:pt x="390525" y="228600"/>
                </a:lnTo>
                <a:lnTo>
                  <a:pt x="390525" y="276225"/>
                </a:lnTo>
                <a:lnTo>
                  <a:pt x="409575" y="276225"/>
                </a:lnTo>
                <a:lnTo>
                  <a:pt x="409575" y="228600"/>
                </a:lnTo>
                <a:lnTo>
                  <a:pt x="533400" y="228600"/>
                </a:lnTo>
                <a:lnTo>
                  <a:pt x="533400" y="457200"/>
                </a:lnTo>
                <a:cubicBezTo>
                  <a:pt x="533400" y="473012"/>
                  <a:pt x="520637" y="485775"/>
                  <a:pt x="504825" y="485775"/>
                </a:cubicBezTo>
                <a:lnTo>
                  <a:pt x="28575" y="485775"/>
                </a:lnTo>
                <a:cubicBezTo>
                  <a:pt x="12763" y="485775"/>
                  <a:pt x="0" y="473012"/>
                  <a:pt x="0" y="457200"/>
                </a:cubicBezTo>
                <a:lnTo>
                  <a:pt x="0" y="228600"/>
                </a:lnTo>
                <a:lnTo>
                  <a:pt x="123825" y="228600"/>
                </a:lnTo>
                <a:close/>
                <a:moveTo>
                  <a:pt x="371475" y="0"/>
                </a:moveTo>
                <a:cubicBezTo>
                  <a:pt x="391859" y="0"/>
                  <a:pt x="408527" y="16002"/>
                  <a:pt x="409575" y="36195"/>
                </a:cubicBezTo>
                <a:lnTo>
                  <a:pt x="409575" y="38100"/>
                </a:lnTo>
                <a:lnTo>
                  <a:pt x="409575" y="114300"/>
                </a:lnTo>
                <a:lnTo>
                  <a:pt x="504825" y="114300"/>
                </a:lnTo>
                <a:cubicBezTo>
                  <a:pt x="520637" y="114300"/>
                  <a:pt x="533400" y="127064"/>
                  <a:pt x="533400" y="142875"/>
                </a:cubicBezTo>
                <a:lnTo>
                  <a:pt x="533400" y="209550"/>
                </a:lnTo>
                <a:lnTo>
                  <a:pt x="0" y="209550"/>
                </a:lnTo>
                <a:lnTo>
                  <a:pt x="0" y="142875"/>
                </a:lnTo>
                <a:cubicBezTo>
                  <a:pt x="0" y="127064"/>
                  <a:pt x="12763" y="114300"/>
                  <a:pt x="28575" y="114300"/>
                </a:cubicBezTo>
                <a:lnTo>
                  <a:pt x="123825" y="114300"/>
                </a:lnTo>
                <a:lnTo>
                  <a:pt x="123825" y="38100"/>
                </a:lnTo>
                <a:cubicBezTo>
                  <a:pt x="123825" y="17716"/>
                  <a:pt x="139828" y="1048"/>
                  <a:pt x="160020" y="0"/>
                </a:cubicBezTo>
                <a:lnTo>
                  <a:pt x="161925" y="0"/>
                </a:lnTo>
                <a:lnTo>
                  <a:pt x="371475" y="0"/>
                </a:lnTo>
                <a:close/>
                <a:moveTo>
                  <a:pt x="371475" y="19050"/>
                </a:moveTo>
                <a:lnTo>
                  <a:pt x="161925" y="19050"/>
                </a:lnTo>
                <a:cubicBezTo>
                  <a:pt x="151923" y="19050"/>
                  <a:pt x="143637" y="26861"/>
                  <a:pt x="142970" y="36671"/>
                </a:cubicBezTo>
                <a:lnTo>
                  <a:pt x="142875" y="38100"/>
                </a:lnTo>
                <a:lnTo>
                  <a:pt x="142875" y="114300"/>
                </a:lnTo>
                <a:lnTo>
                  <a:pt x="390525" y="114300"/>
                </a:lnTo>
                <a:lnTo>
                  <a:pt x="390525" y="38100"/>
                </a:lnTo>
                <a:cubicBezTo>
                  <a:pt x="390525" y="28575"/>
                  <a:pt x="383477" y="20669"/>
                  <a:pt x="374333" y="19241"/>
                </a:cubicBezTo>
                <a:lnTo>
                  <a:pt x="372904" y="19050"/>
                </a:lnTo>
                <a:lnTo>
                  <a:pt x="371475" y="19050"/>
                </a:lnTo>
                <a:close/>
              </a:path>
            </a:pathLst>
          </a:custGeom>
          <a:solidFill>
            <a:schemeClr val="tx1">
              <a:lumMod val="50000"/>
              <a:lumOff val="50000"/>
            </a:schemeClr>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Tree>
    <p:custDataLst>
      <p:tags r:id="rId2"/>
    </p:custDataLst>
    <p:extLst>
      <p:ext uri="{BB962C8B-B14F-4D97-AF65-F5344CB8AC3E}">
        <p14:creationId xmlns:p14="http://schemas.microsoft.com/office/powerpoint/2010/main" val="26455783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îṩlïďè"/>
        <p:cNvGrpSpPr/>
        <p:nvPr/>
      </p:nvGrpSpPr>
      <p:grpSpPr>
        <a:xfrm>
          <a:off x="0" y="0"/>
          <a:ext cx="0" cy="0"/>
          <a:chOff x="0" y="0"/>
          <a:chExt cx="0" cy="0"/>
        </a:xfrm>
      </p:grpSpPr>
      <p:sp>
        <p:nvSpPr>
          <p:cNvPr id="2" name="î$ḷídé">
            <a:extLst>
              <a:ext uri="{FF2B5EF4-FFF2-40B4-BE49-F238E27FC236}">
                <a16:creationId xmlns:a16="http://schemas.microsoft.com/office/drawing/2014/main" id="{B8756AF1-C385-418D-95C7-963F4FAFDB19}"/>
              </a:ext>
            </a:extLst>
          </p:cNvPr>
          <p:cNvSpPr>
            <a:spLocks noGrp="1"/>
          </p:cNvSpPr>
          <p:nvPr>
            <p:ph type="title"/>
          </p:nvPr>
        </p:nvSpPr>
        <p:spPr/>
        <p:txBody>
          <a:bodyPr/>
          <a:lstStyle/>
          <a:p>
            <a:r>
              <a:rPr lang="en-US" altLang="zh-CN" dirty="0"/>
              <a:t>Click </a:t>
            </a:r>
            <a:r>
              <a:rPr lang="en-US" altLang="zh-CN"/>
              <a:t>to e</a:t>
            </a:r>
            <a:r>
              <a:rPr lang="en-US" altLang="zh-CN" sz="100"/>
              <a:t> </a:t>
            </a:r>
            <a:r>
              <a:rPr lang="en-US" altLang="zh-CN"/>
              <a:t>dit </a:t>
            </a:r>
            <a:r>
              <a:rPr lang="en-US" altLang="zh-CN" dirty="0"/>
              <a:t>Master title style</a:t>
            </a:r>
            <a:endParaRPr lang="zh-CN" altLang="en-US" dirty="0"/>
          </a:p>
        </p:txBody>
      </p:sp>
      <p:sp>
        <p:nvSpPr>
          <p:cNvPr id="3" name="ïṧļíḓé">
            <a:extLst>
              <a:ext uri="{FF2B5EF4-FFF2-40B4-BE49-F238E27FC236}">
                <a16:creationId xmlns:a16="http://schemas.microsoft.com/office/drawing/2014/main" id="{3D4B2C12-F543-44B6-A2A2-246B594C3C79}"/>
              </a:ext>
            </a:extLst>
          </p:cNvPr>
          <p:cNvSpPr>
            <a:spLocks noGrp="1"/>
          </p:cNvSpPr>
          <p:nvPr>
            <p:ph type="ftr" sz="quarter" idx="11"/>
          </p:nvPr>
        </p:nvSpPr>
        <p:spPr/>
        <p:txBody>
          <a:bodyPr/>
          <a:lstStyle/>
          <a:p>
            <a:r>
              <a:rPr lang="zh-CN" altLang="en-US"/>
              <a:t>请在插入菜单</a:t>
            </a:r>
            <a:r>
              <a:rPr lang="zh-CN" altLang="en-US" sz="100"/>
              <a:t> </a:t>
            </a:r>
            <a:r>
              <a:rPr lang="en-US" altLang="zh-CN"/>
              <a:t>—</a:t>
            </a:r>
            <a:r>
              <a:rPr lang="zh-CN" altLang="en-US"/>
              <a:t>页眉和页脚中修改此文本</a:t>
            </a:r>
            <a:endParaRPr lang="zh-CN" altLang="en-US" dirty="0"/>
          </a:p>
        </p:txBody>
      </p:sp>
      <p:sp>
        <p:nvSpPr>
          <p:cNvPr id="4" name="íšlïḍè">
            <a:extLst>
              <a:ext uri="{FF2B5EF4-FFF2-40B4-BE49-F238E27FC236}">
                <a16:creationId xmlns:a16="http://schemas.microsoft.com/office/drawing/2014/main" id="{D2479CA6-47F4-4328-B34C-FEE826D251CA}"/>
              </a:ext>
            </a:extLst>
          </p:cNvPr>
          <p:cNvSpPr>
            <a:spLocks noGrp="1"/>
          </p:cNvSpPr>
          <p:nvPr>
            <p:ph type="sldNum" sz="quarter" idx="12"/>
          </p:nvPr>
        </p:nvSpPr>
        <p:spPr/>
        <p:txBody>
          <a:bodyPr/>
          <a:lstStyle/>
          <a:p>
            <a:fld id="{5DD3DB80-B894-403A-B48E-6FDC1A72010E}" type="slidenum">
              <a:rPr lang="zh-CN" altLang="en-US" smtClean="0"/>
              <a:pPr/>
              <a:t>18</a:t>
            </a:fld>
            <a:r>
              <a:rPr lang="zh-CN" altLang="en-US" sz="100"/>
              <a:t> </a:t>
            </a:r>
          </a:p>
        </p:txBody>
      </p:sp>
      <p:grpSp>
        <p:nvGrpSpPr>
          <p:cNvPr id="107" name="íšl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831BEC2-CFFE-429E-875C-369A68B161E2}"/>
              </a:ext>
            </a:extLst>
          </p:cNvPr>
          <p:cNvGrpSpPr>
            <a:grpSpLocks noChangeAspect="1"/>
          </p:cNvGrpSpPr>
          <p:nvPr/>
        </p:nvGrpSpPr>
        <p:grpSpPr>
          <a:xfrm>
            <a:off x="1220655" y="1316356"/>
            <a:ext cx="9750690" cy="4830444"/>
            <a:chOff x="1220655" y="1316356"/>
            <a:chExt cx="9750690" cy="4830444"/>
          </a:xfrm>
        </p:grpSpPr>
        <p:grpSp>
          <p:nvGrpSpPr>
            <p:cNvPr id="108" name="islïde">
              <a:extLst>
                <a:ext uri="{FF2B5EF4-FFF2-40B4-BE49-F238E27FC236}">
                  <a16:creationId xmlns:a16="http://schemas.microsoft.com/office/drawing/2014/main" id="{5F226BE2-76A3-46A3-8DD0-B79270CA13AD}"/>
                </a:ext>
              </a:extLst>
            </p:cNvPr>
            <p:cNvGrpSpPr/>
            <p:nvPr/>
          </p:nvGrpSpPr>
          <p:grpSpPr>
            <a:xfrm>
              <a:off x="2834461" y="1316356"/>
              <a:ext cx="6523075" cy="2565639"/>
              <a:chOff x="2411506" y="2189374"/>
              <a:chExt cx="7368988" cy="2898352"/>
            </a:xfrm>
          </p:grpSpPr>
          <p:sp>
            <p:nvSpPr>
              <p:cNvPr id="117" name="îṩḻíḋe">
                <a:extLst>
                  <a:ext uri="{FF2B5EF4-FFF2-40B4-BE49-F238E27FC236}">
                    <a16:creationId xmlns:a16="http://schemas.microsoft.com/office/drawing/2014/main" id="{3F3556DA-076F-4676-B32C-0046187B2D15}"/>
                  </a:ext>
                </a:extLst>
              </p:cNvPr>
              <p:cNvSpPr/>
              <p:nvPr/>
            </p:nvSpPr>
            <p:spPr>
              <a:xfrm>
                <a:off x="3135081" y="2189374"/>
                <a:ext cx="2539166" cy="144816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9674"/>
                      <a:pt x="5515" y="0"/>
                      <a:pt x="12314" y="0"/>
                    </a:cubicBezTo>
                    <a:cubicBezTo>
                      <a:pt x="16025" y="0"/>
                      <a:pt x="19354" y="2885"/>
                      <a:pt x="21600" y="7423"/>
                    </a:cubicBezTo>
                  </a:path>
                </a:pathLst>
              </a:custGeom>
              <a:noFill/>
              <a:ln w="12700" cap="flat">
                <a:solidFill>
                  <a:schemeClr val="bg1">
                    <a:lumMod val="85000"/>
                  </a:schemeClr>
                </a:solidFill>
                <a:prstDash val="solid"/>
                <a:miter lim="8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8" name="ïṩlîde">
                <a:extLst>
                  <a:ext uri="{FF2B5EF4-FFF2-40B4-BE49-F238E27FC236}">
                    <a16:creationId xmlns:a16="http://schemas.microsoft.com/office/drawing/2014/main" id="{D76AECC9-9C46-4DF4-9B45-1ADB19FA216F}"/>
                  </a:ext>
                </a:extLst>
              </p:cNvPr>
              <p:cNvSpPr/>
              <p:nvPr/>
            </p:nvSpPr>
            <p:spPr>
              <a:xfrm>
                <a:off x="5603381" y="2620530"/>
                <a:ext cx="148718" cy="153700"/>
              </a:xfrm>
              <a:custGeom>
                <a:avLst/>
                <a:gdLst/>
                <a:ahLst/>
                <a:cxnLst>
                  <a:cxn ang="0">
                    <a:pos x="wd2" y="hd2"/>
                  </a:cxn>
                  <a:cxn ang="5400000">
                    <a:pos x="wd2" y="hd2"/>
                  </a:cxn>
                  <a:cxn ang="10800000">
                    <a:pos x="wd2" y="hd2"/>
                  </a:cxn>
                  <a:cxn ang="16200000">
                    <a:pos x="wd2" y="hd2"/>
                  </a:cxn>
                </a:cxnLst>
                <a:rect l="0" t="0" r="r" b="b"/>
                <a:pathLst>
                  <a:path w="21600" h="21600" extrusionOk="0">
                    <a:moveTo>
                      <a:pt x="17396" y="0"/>
                    </a:moveTo>
                    <a:lnTo>
                      <a:pt x="0" y="14306"/>
                    </a:lnTo>
                    <a:lnTo>
                      <a:pt x="21600" y="21600"/>
                    </a:lnTo>
                    <a:lnTo>
                      <a:pt x="17396" y="0"/>
                    </a:lnTo>
                    <a:close/>
                  </a:path>
                </a:pathLst>
              </a:custGeom>
              <a:solidFill>
                <a:schemeClr val="bg1">
                  <a:lumMod val="85000"/>
                </a:schemeClr>
              </a:solidFill>
              <a:ln w="9525" cap="flat">
                <a:noFill/>
                <a:prstDash val="solid"/>
                <a:round/>
              </a:ln>
              <a:effec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9" name="ïšḷidê">
                <a:extLst>
                  <a:ext uri="{FF2B5EF4-FFF2-40B4-BE49-F238E27FC236}">
                    <a16:creationId xmlns:a16="http://schemas.microsoft.com/office/drawing/2014/main" id="{7A2880A0-22D5-40BB-81AA-AD469D6AFAB7}"/>
                  </a:ext>
                </a:extLst>
              </p:cNvPr>
              <p:cNvSpPr/>
              <p:nvPr/>
            </p:nvSpPr>
            <p:spPr>
              <a:xfrm>
                <a:off x="3488756" y="3552530"/>
                <a:ext cx="1854550" cy="1159916"/>
              </a:xfrm>
              <a:custGeom>
                <a:avLst/>
                <a:gdLst/>
                <a:ahLst/>
                <a:cxnLst>
                  <a:cxn ang="0">
                    <a:pos x="wd2" y="hd2"/>
                  </a:cxn>
                  <a:cxn ang="5400000">
                    <a:pos x="wd2" y="hd2"/>
                  </a:cxn>
                  <a:cxn ang="10800000">
                    <a:pos x="wd2" y="hd2"/>
                  </a:cxn>
                  <a:cxn ang="16200000">
                    <a:pos x="wd2" y="hd2"/>
                  </a:cxn>
                </a:cxnLst>
                <a:rect l="0" t="0" r="r" b="b"/>
                <a:pathLst>
                  <a:path w="21407" h="19790" extrusionOk="0">
                    <a:moveTo>
                      <a:pt x="21407" y="14360"/>
                    </a:moveTo>
                    <a:cubicBezTo>
                      <a:pt x="16510" y="21600"/>
                      <a:pt x="8567" y="21600"/>
                      <a:pt x="3670" y="14360"/>
                    </a:cubicBezTo>
                    <a:cubicBezTo>
                      <a:pt x="1004" y="10418"/>
                      <a:pt x="-193" y="5149"/>
                      <a:pt x="25" y="0"/>
                    </a:cubicBezTo>
                  </a:path>
                </a:pathLst>
              </a:custGeom>
              <a:noFill/>
              <a:ln w="12700" cap="flat">
                <a:solidFill>
                  <a:schemeClr val="bg1">
                    <a:lumMod val="85000"/>
                  </a:schemeClr>
                </a:solidFill>
                <a:prstDash val="solid"/>
                <a:miter lim="8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0" name="iŝ1ïḍe">
                <a:extLst>
                  <a:ext uri="{FF2B5EF4-FFF2-40B4-BE49-F238E27FC236}">
                    <a16:creationId xmlns:a16="http://schemas.microsoft.com/office/drawing/2014/main" id="{4B814D72-D2FB-4230-B49E-E0B961A8D1ED}"/>
                  </a:ext>
                </a:extLst>
              </p:cNvPr>
              <p:cNvSpPr/>
              <p:nvPr/>
            </p:nvSpPr>
            <p:spPr>
              <a:xfrm>
                <a:off x="5265462" y="4321527"/>
                <a:ext cx="153691" cy="148766"/>
              </a:xfrm>
              <a:custGeom>
                <a:avLst/>
                <a:gdLst/>
                <a:ahLst/>
                <a:cxnLst>
                  <a:cxn ang="0">
                    <a:pos x="wd2" y="hd2"/>
                  </a:cxn>
                  <a:cxn ang="5400000">
                    <a:pos x="wd2" y="hd2"/>
                  </a:cxn>
                  <a:cxn ang="10800000">
                    <a:pos x="wd2" y="hd2"/>
                  </a:cxn>
                  <a:cxn ang="16200000">
                    <a:pos x="wd2" y="hd2"/>
                  </a:cxn>
                </a:cxnLst>
                <a:rect l="0" t="0" r="r" b="b"/>
                <a:pathLst>
                  <a:path w="21600" h="21600" extrusionOk="0">
                    <a:moveTo>
                      <a:pt x="0" y="4494"/>
                    </a:moveTo>
                    <a:lnTo>
                      <a:pt x="14306" y="21600"/>
                    </a:lnTo>
                    <a:lnTo>
                      <a:pt x="21600" y="0"/>
                    </a:lnTo>
                    <a:lnTo>
                      <a:pt x="0" y="4494"/>
                    </a:lnTo>
                    <a:close/>
                  </a:path>
                </a:pathLst>
              </a:custGeom>
              <a:solidFill>
                <a:schemeClr val="bg1">
                  <a:lumMod val="85000"/>
                </a:schemeClr>
              </a:solidFill>
              <a:ln w="9525" cap="flat">
                <a:noFill/>
                <a:prstDash val="solid"/>
                <a:round/>
              </a:ln>
              <a:effec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1" name="iş1ídê">
                <a:extLst>
                  <a:ext uri="{FF2B5EF4-FFF2-40B4-BE49-F238E27FC236}">
                    <a16:creationId xmlns:a16="http://schemas.microsoft.com/office/drawing/2014/main" id="{40BF661A-FFFA-4654-80D7-03E38DEB4D09}"/>
                  </a:ext>
                </a:extLst>
              </p:cNvPr>
              <p:cNvSpPr/>
              <p:nvPr/>
            </p:nvSpPr>
            <p:spPr>
              <a:xfrm>
                <a:off x="3806264" y="2541312"/>
                <a:ext cx="1856261" cy="1107357"/>
              </a:xfrm>
              <a:custGeom>
                <a:avLst/>
                <a:gdLst/>
                <a:ahLst/>
                <a:cxnLst>
                  <a:cxn ang="0">
                    <a:pos x="wd2" y="hd2"/>
                  </a:cxn>
                  <a:cxn ang="5400000">
                    <a:pos x="wd2" y="hd2"/>
                  </a:cxn>
                  <a:cxn ang="10800000">
                    <a:pos x="wd2" y="hd2"/>
                  </a:cxn>
                  <a:cxn ang="16200000">
                    <a:pos x="wd2" y="hd2"/>
                  </a:cxn>
                </a:cxnLst>
                <a:rect l="0" t="0" r="r" b="b"/>
                <a:pathLst>
                  <a:path w="21547" h="19713" extrusionOk="0">
                    <a:moveTo>
                      <a:pt x="0" y="5663"/>
                    </a:moveTo>
                    <a:cubicBezTo>
                      <a:pt x="4928" y="-1887"/>
                      <a:pt x="12922" y="-1887"/>
                      <a:pt x="17849" y="5663"/>
                    </a:cubicBezTo>
                    <a:cubicBezTo>
                      <a:pt x="20368" y="9521"/>
                      <a:pt x="21600" y="14638"/>
                      <a:pt x="21545" y="19713"/>
                    </a:cubicBezTo>
                  </a:path>
                </a:pathLst>
              </a:custGeom>
              <a:noFill/>
              <a:ln w="12700" cap="flat">
                <a:solidFill>
                  <a:schemeClr val="bg1">
                    <a:lumMod val="85000"/>
                  </a:schemeClr>
                </a:solidFill>
                <a:prstDash val="solid"/>
                <a:miter lim="8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2" name="íSḷíḓè">
                <a:extLst>
                  <a:ext uri="{FF2B5EF4-FFF2-40B4-BE49-F238E27FC236}">
                    <a16:creationId xmlns:a16="http://schemas.microsoft.com/office/drawing/2014/main" id="{287FCF9B-8901-47B8-B98D-2D2A3C6641DF}"/>
                  </a:ext>
                </a:extLst>
              </p:cNvPr>
              <p:cNvSpPr/>
              <p:nvPr/>
            </p:nvSpPr>
            <p:spPr>
              <a:xfrm>
                <a:off x="3749363" y="2776344"/>
                <a:ext cx="150744" cy="150676"/>
              </a:xfrm>
              <a:custGeom>
                <a:avLst/>
                <a:gdLst/>
                <a:ahLst/>
                <a:cxnLst>
                  <a:cxn ang="0">
                    <a:pos x="wd2" y="hd2"/>
                  </a:cxn>
                  <a:cxn ang="5400000">
                    <a:pos x="wd2" y="hd2"/>
                  </a:cxn>
                  <a:cxn ang="10800000">
                    <a:pos x="wd2" y="hd2"/>
                  </a:cxn>
                  <a:cxn ang="16200000">
                    <a:pos x="wd2" y="hd2"/>
                  </a:cxn>
                </a:cxnLst>
                <a:rect l="0" t="0" r="r" b="b"/>
                <a:pathLst>
                  <a:path w="21600" h="21600" extrusionOk="0">
                    <a:moveTo>
                      <a:pt x="21600" y="15878"/>
                    </a:moveTo>
                    <a:lnTo>
                      <a:pt x="5722" y="0"/>
                    </a:lnTo>
                    <a:lnTo>
                      <a:pt x="0" y="21600"/>
                    </a:lnTo>
                    <a:lnTo>
                      <a:pt x="21600" y="15878"/>
                    </a:lnTo>
                    <a:close/>
                  </a:path>
                </a:pathLst>
              </a:custGeom>
              <a:solidFill>
                <a:schemeClr val="bg1">
                  <a:lumMod val="85000"/>
                </a:schemeClr>
              </a:solidFill>
              <a:ln w="9525" cap="flat">
                <a:noFill/>
                <a:prstDash val="solid"/>
                <a:round/>
              </a:ln>
              <a:effec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3" name="ïSļidê">
                <a:extLst>
                  <a:ext uri="{FF2B5EF4-FFF2-40B4-BE49-F238E27FC236}">
                    <a16:creationId xmlns:a16="http://schemas.microsoft.com/office/drawing/2014/main" id="{3852BD22-533A-4E31-98B7-3851FD0936E2}"/>
                  </a:ext>
                </a:extLst>
              </p:cNvPr>
              <p:cNvSpPr/>
              <p:nvPr/>
            </p:nvSpPr>
            <p:spPr>
              <a:xfrm>
                <a:off x="3538035" y="3637538"/>
                <a:ext cx="2494386" cy="145018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1941"/>
                      <a:pt x="15986" y="21600"/>
                      <a:pt x="9044" y="21600"/>
                    </a:cubicBezTo>
                    <a:cubicBezTo>
                      <a:pt x="5492" y="21600"/>
                      <a:pt x="2266" y="19036"/>
                      <a:pt x="0" y="14927"/>
                    </a:cubicBezTo>
                  </a:path>
                </a:pathLst>
              </a:custGeom>
              <a:noFill/>
              <a:ln w="12700" cap="flat">
                <a:solidFill>
                  <a:schemeClr val="bg1">
                    <a:lumMod val="85000"/>
                  </a:schemeClr>
                </a:solidFill>
                <a:prstDash val="solid"/>
                <a:miter lim="8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4" name="išḻiďe">
                <a:extLst>
                  <a:ext uri="{FF2B5EF4-FFF2-40B4-BE49-F238E27FC236}">
                    <a16:creationId xmlns:a16="http://schemas.microsoft.com/office/drawing/2014/main" id="{FF7F7A43-7E33-4590-83CB-7ECAA7B0CBB0}"/>
                  </a:ext>
                </a:extLst>
              </p:cNvPr>
              <p:cNvSpPr/>
              <p:nvPr/>
            </p:nvSpPr>
            <p:spPr>
              <a:xfrm>
                <a:off x="3493328" y="4599671"/>
                <a:ext cx="151720" cy="150708"/>
              </a:xfrm>
              <a:custGeom>
                <a:avLst/>
                <a:gdLst/>
                <a:ahLst/>
                <a:cxnLst>
                  <a:cxn ang="0">
                    <a:pos x="wd2" y="hd2"/>
                  </a:cxn>
                  <a:cxn ang="5400000">
                    <a:pos x="wd2" y="hd2"/>
                  </a:cxn>
                  <a:cxn ang="10800000">
                    <a:pos x="wd2" y="hd2"/>
                  </a:cxn>
                  <a:cxn ang="16200000">
                    <a:pos x="wd2" y="hd2"/>
                  </a:cxn>
                </a:cxnLst>
                <a:rect l="0" t="0" r="r" b="b"/>
                <a:pathLst>
                  <a:path w="21600" h="21600" extrusionOk="0">
                    <a:moveTo>
                      <a:pt x="5826" y="21600"/>
                    </a:moveTo>
                    <a:lnTo>
                      <a:pt x="21600" y="5722"/>
                    </a:lnTo>
                    <a:lnTo>
                      <a:pt x="0" y="0"/>
                    </a:lnTo>
                    <a:lnTo>
                      <a:pt x="5826" y="21600"/>
                    </a:lnTo>
                    <a:close/>
                  </a:path>
                </a:pathLst>
              </a:custGeom>
              <a:solidFill>
                <a:schemeClr val="bg1">
                  <a:lumMod val="85000"/>
                </a:schemeClr>
              </a:solidFill>
              <a:ln w="9525" cap="flat">
                <a:noFill/>
                <a:prstDash val="solid"/>
                <a:round/>
              </a:ln>
              <a:effec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5" name="îs1îḓè">
                <a:extLst>
                  <a:ext uri="{FF2B5EF4-FFF2-40B4-BE49-F238E27FC236}">
                    <a16:creationId xmlns:a16="http://schemas.microsoft.com/office/drawing/2014/main" id="{134DA200-0373-41B6-8560-F2C3BE03096B}"/>
                  </a:ext>
                </a:extLst>
              </p:cNvPr>
              <p:cNvSpPr/>
              <p:nvPr/>
            </p:nvSpPr>
            <p:spPr>
              <a:xfrm>
                <a:off x="6161601" y="2189374"/>
                <a:ext cx="2539165" cy="144816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9674"/>
                      <a:pt x="5515" y="0"/>
                      <a:pt x="12314" y="0"/>
                    </a:cubicBezTo>
                    <a:cubicBezTo>
                      <a:pt x="16025" y="0"/>
                      <a:pt x="19354" y="2885"/>
                      <a:pt x="21600" y="7423"/>
                    </a:cubicBezTo>
                  </a:path>
                </a:pathLst>
              </a:custGeom>
              <a:noFill/>
              <a:ln w="12700" cap="flat">
                <a:solidFill>
                  <a:schemeClr val="bg1">
                    <a:lumMod val="85000"/>
                  </a:schemeClr>
                </a:solidFill>
                <a:prstDash val="solid"/>
                <a:miter lim="8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6" name="iŝ1ïḋè">
                <a:extLst>
                  <a:ext uri="{FF2B5EF4-FFF2-40B4-BE49-F238E27FC236}">
                    <a16:creationId xmlns:a16="http://schemas.microsoft.com/office/drawing/2014/main" id="{3E301E10-07B7-499B-A95B-25D983281ACC}"/>
                  </a:ext>
                </a:extLst>
              </p:cNvPr>
              <p:cNvSpPr/>
              <p:nvPr/>
            </p:nvSpPr>
            <p:spPr>
              <a:xfrm>
                <a:off x="8629902" y="2620530"/>
                <a:ext cx="148718" cy="153700"/>
              </a:xfrm>
              <a:custGeom>
                <a:avLst/>
                <a:gdLst/>
                <a:ahLst/>
                <a:cxnLst>
                  <a:cxn ang="0">
                    <a:pos x="wd2" y="hd2"/>
                  </a:cxn>
                  <a:cxn ang="5400000">
                    <a:pos x="wd2" y="hd2"/>
                  </a:cxn>
                  <a:cxn ang="10800000">
                    <a:pos x="wd2" y="hd2"/>
                  </a:cxn>
                  <a:cxn ang="16200000">
                    <a:pos x="wd2" y="hd2"/>
                  </a:cxn>
                </a:cxnLst>
                <a:rect l="0" t="0" r="r" b="b"/>
                <a:pathLst>
                  <a:path w="21600" h="21600" extrusionOk="0">
                    <a:moveTo>
                      <a:pt x="17396" y="0"/>
                    </a:moveTo>
                    <a:lnTo>
                      <a:pt x="0" y="14306"/>
                    </a:lnTo>
                    <a:lnTo>
                      <a:pt x="21600" y="21600"/>
                    </a:lnTo>
                    <a:lnTo>
                      <a:pt x="17396" y="0"/>
                    </a:lnTo>
                    <a:close/>
                  </a:path>
                </a:pathLst>
              </a:custGeom>
              <a:solidFill>
                <a:schemeClr val="bg1">
                  <a:lumMod val="85000"/>
                </a:schemeClr>
              </a:solidFill>
              <a:ln w="9525" cap="flat">
                <a:noFill/>
                <a:prstDash val="solid"/>
                <a:round/>
              </a:ln>
              <a:effec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7" name="iṥlíḋê">
                <a:extLst>
                  <a:ext uri="{FF2B5EF4-FFF2-40B4-BE49-F238E27FC236}">
                    <a16:creationId xmlns:a16="http://schemas.microsoft.com/office/drawing/2014/main" id="{6F6D955E-D454-4C82-8ED4-EF32AD9A65C0}"/>
                  </a:ext>
                </a:extLst>
              </p:cNvPr>
              <p:cNvSpPr/>
              <p:nvPr/>
            </p:nvSpPr>
            <p:spPr>
              <a:xfrm>
                <a:off x="6515276" y="3552530"/>
                <a:ext cx="1854550" cy="1159916"/>
              </a:xfrm>
              <a:custGeom>
                <a:avLst/>
                <a:gdLst/>
                <a:ahLst/>
                <a:cxnLst>
                  <a:cxn ang="0">
                    <a:pos x="wd2" y="hd2"/>
                  </a:cxn>
                  <a:cxn ang="5400000">
                    <a:pos x="wd2" y="hd2"/>
                  </a:cxn>
                  <a:cxn ang="10800000">
                    <a:pos x="wd2" y="hd2"/>
                  </a:cxn>
                  <a:cxn ang="16200000">
                    <a:pos x="wd2" y="hd2"/>
                  </a:cxn>
                </a:cxnLst>
                <a:rect l="0" t="0" r="r" b="b"/>
                <a:pathLst>
                  <a:path w="21407" h="19790" extrusionOk="0">
                    <a:moveTo>
                      <a:pt x="21407" y="14360"/>
                    </a:moveTo>
                    <a:cubicBezTo>
                      <a:pt x="16510" y="21600"/>
                      <a:pt x="8567" y="21600"/>
                      <a:pt x="3670" y="14360"/>
                    </a:cubicBezTo>
                    <a:cubicBezTo>
                      <a:pt x="1004" y="10418"/>
                      <a:pt x="-193" y="5149"/>
                      <a:pt x="25" y="0"/>
                    </a:cubicBezTo>
                  </a:path>
                </a:pathLst>
              </a:custGeom>
              <a:noFill/>
              <a:ln w="12700" cap="flat">
                <a:solidFill>
                  <a:schemeClr val="bg1">
                    <a:lumMod val="85000"/>
                  </a:schemeClr>
                </a:solidFill>
                <a:prstDash val="solid"/>
                <a:miter lim="8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8" name="îṣ1íḋê">
                <a:extLst>
                  <a:ext uri="{FF2B5EF4-FFF2-40B4-BE49-F238E27FC236}">
                    <a16:creationId xmlns:a16="http://schemas.microsoft.com/office/drawing/2014/main" id="{A57CD5CB-6CF2-4785-9375-BA09B401E254}"/>
                  </a:ext>
                </a:extLst>
              </p:cNvPr>
              <p:cNvSpPr/>
              <p:nvPr/>
            </p:nvSpPr>
            <p:spPr>
              <a:xfrm>
                <a:off x="8291982" y="4321527"/>
                <a:ext cx="153691" cy="148766"/>
              </a:xfrm>
              <a:custGeom>
                <a:avLst/>
                <a:gdLst/>
                <a:ahLst/>
                <a:cxnLst>
                  <a:cxn ang="0">
                    <a:pos x="wd2" y="hd2"/>
                  </a:cxn>
                  <a:cxn ang="5400000">
                    <a:pos x="wd2" y="hd2"/>
                  </a:cxn>
                  <a:cxn ang="10800000">
                    <a:pos x="wd2" y="hd2"/>
                  </a:cxn>
                  <a:cxn ang="16200000">
                    <a:pos x="wd2" y="hd2"/>
                  </a:cxn>
                </a:cxnLst>
                <a:rect l="0" t="0" r="r" b="b"/>
                <a:pathLst>
                  <a:path w="21600" h="21600" extrusionOk="0">
                    <a:moveTo>
                      <a:pt x="0" y="4494"/>
                    </a:moveTo>
                    <a:lnTo>
                      <a:pt x="14306" y="21600"/>
                    </a:lnTo>
                    <a:lnTo>
                      <a:pt x="21600" y="0"/>
                    </a:lnTo>
                    <a:lnTo>
                      <a:pt x="0" y="4494"/>
                    </a:lnTo>
                    <a:close/>
                  </a:path>
                </a:pathLst>
              </a:custGeom>
              <a:solidFill>
                <a:schemeClr val="bg1">
                  <a:lumMod val="85000"/>
                </a:schemeClr>
              </a:solidFill>
              <a:ln w="9525" cap="flat">
                <a:noFill/>
                <a:prstDash val="solid"/>
                <a:round/>
              </a:ln>
              <a:effec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9" name="išḷiḓé">
                <a:extLst>
                  <a:ext uri="{FF2B5EF4-FFF2-40B4-BE49-F238E27FC236}">
                    <a16:creationId xmlns:a16="http://schemas.microsoft.com/office/drawing/2014/main" id="{AD7F25A8-ED20-4A07-A514-E616424576B4}"/>
                  </a:ext>
                </a:extLst>
              </p:cNvPr>
              <p:cNvSpPr/>
              <p:nvPr/>
            </p:nvSpPr>
            <p:spPr>
              <a:xfrm>
                <a:off x="6832785" y="2541312"/>
                <a:ext cx="1856261" cy="1107357"/>
              </a:xfrm>
              <a:custGeom>
                <a:avLst/>
                <a:gdLst/>
                <a:ahLst/>
                <a:cxnLst>
                  <a:cxn ang="0">
                    <a:pos x="wd2" y="hd2"/>
                  </a:cxn>
                  <a:cxn ang="5400000">
                    <a:pos x="wd2" y="hd2"/>
                  </a:cxn>
                  <a:cxn ang="10800000">
                    <a:pos x="wd2" y="hd2"/>
                  </a:cxn>
                  <a:cxn ang="16200000">
                    <a:pos x="wd2" y="hd2"/>
                  </a:cxn>
                </a:cxnLst>
                <a:rect l="0" t="0" r="r" b="b"/>
                <a:pathLst>
                  <a:path w="21547" h="19713" extrusionOk="0">
                    <a:moveTo>
                      <a:pt x="0" y="5663"/>
                    </a:moveTo>
                    <a:cubicBezTo>
                      <a:pt x="4928" y="-1887"/>
                      <a:pt x="12922" y="-1887"/>
                      <a:pt x="17849" y="5663"/>
                    </a:cubicBezTo>
                    <a:cubicBezTo>
                      <a:pt x="20368" y="9521"/>
                      <a:pt x="21600" y="14638"/>
                      <a:pt x="21545" y="19713"/>
                    </a:cubicBezTo>
                  </a:path>
                </a:pathLst>
              </a:custGeom>
              <a:noFill/>
              <a:ln w="12700" cap="flat">
                <a:solidFill>
                  <a:schemeClr val="bg1">
                    <a:lumMod val="85000"/>
                  </a:schemeClr>
                </a:solidFill>
                <a:prstDash val="solid"/>
                <a:miter lim="8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0" name="íS1ïďê">
                <a:extLst>
                  <a:ext uri="{FF2B5EF4-FFF2-40B4-BE49-F238E27FC236}">
                    <a16:creationId xmlns:a16="http://schemas.microsoft.com/office/drawing/2014/main" id="{B0616D39-CD17-4F15-99A7-CC9DE19B7204}"/>
                  </a:ext>
                </a:extLst>
              </p:cNvPr>
              <p:cNvSpPr/>
              <p:nvPr/>
            </p:nvSpPr>
            <p:spPr>
              <a:xfrm>
                <a:off x="6564556" y="3637538"/>
                <a:ext cx="2494386" cy="145018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1941"/>
                      <a:pt x="15986" y="21600"/>
                      <a:pt x="9044" y="21600"/>
                    </a:cubicBezTo>
                    <a:cubicBezTo>
                      <a:pt x="5492" y="21600"/>
                      <a:pt x="2266" y="19036"/>
                      <a:pt x="0" y="14927"/>
                    </a:cubicBezTo>
                  </a:path>
                </a:pathLst>
              </a:custGeom>
              <a:noFill/>
              <a:ln w="12700" cap="flat">
                <a:solidFill>
                  <a:schemeClr val="bg1">
                    <a:lumMod val="85000"/>
                  </a:schemeClr>
                </a:solidFill>
                <a:prstDash val="solid"/>
                <a:miter lim="8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1" name="îṧlíḋe">
                <a:extLst>
                  <a:ext uri="{FF2B5EF4-FFF2-40B4-BE49-F238E27FC236}">
                    <a16:creationId xmlns:a16="http://schemas.microsoft.com/office/drawing/2014/main" id="{451CC368-4698-4A9E-B2ED-6226D8E14E34}"/>
                  </a:ext>
                </a:extLst>
              </p:cNvPr>
              <p:cNvSpPr/>
              <p:nvPr/>
            </p:nvSpPr>
            <p:spPr>
              <a:xfrm>
                <a:off x="7162904" y="3256785"/>
                <a:ext cx="763529" cy="76352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95000"/>
                </a:schemeClr>
              </a:solidFill>
              <a:ln w="12700">
                <a:miter lim="400000"/>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600" i="1"/>
                  <a:t>T</a:t>
                </a:r>
                <a:r>
                  <a:rPr lang="en-US" altLang="zh-CN" sz="100" i="1"/>
                  <a:t> </a:t>
                </a:r>
                <a:r>
                  <a:rPr lang="en-US" altLang="zh-CN" sz="1600" i="1"/>
                  <a:t>ext</a:t>
                </a:r>
                <a:endParaRPr lang="en-US" altLang="zh-CN" sz="1600" i="1" dirty="0"/>
              </a:p>
            </p:txBody>
          </p:sp>
          <p:sp>
            <p:nvSpPr>
              <p:cNvPr id="132" name="iSḻídé">
                <a:extLst>
                  <a:ext uri="{FF2B5EF4-FFF2-40B4-BE49-F238E27FC236}">
                    <a16:creationId xmlns:a16="http://schemas.microsoft.com/office/drawing/2014/main" id="{2647AD75-C4FE-46A5-91AE-0CD609D986AB}"/>
                  </a:ext>
                </a:extLst>
              </p:cNvPr>
              <p:cNvSpPr/>
              <p:nvPr/>
            </p:nvSpPr>
            <p:spPr>
              <a:xfrm>
                <a:off x="4198896" y="3256785"/>
                <a:ext cx="763529" cy="76352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95000"/>
                </a:schemeClr>
              </a:solidFill>
              <a:ln w="12700">
                <a:miter lim="400000"/>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600" i="1"/>
                  <a:t>T</a:t>
                </a:r>
                <a:r>
                  <a:rPr lang="en-US" altLang="zh-CN" sz="100" i="1"/>
                  <a:t> </a:t>
                </a:r>
                <a:r>
                  <a:rPr lang="en-US" altLang="zh-CN" sz="1600" i="1"/>
                  <a:t>ext</a:t>
                </a:r>
                <a:endParaRPr lang="en-US" altLang="zh-CN" sz="1600" i="1" dirty="0"/>
              </a:p>
            </p:txBody>
          </p:sp>
          <p:sp>
            <p:nvSpPr>
              <p:cNvPr id="133" name="îṣḷïḑe">
                <a:extLst>
                  <a:ext uri="{FF2B5EF4-FFF2-40B4-BE49-F238E27FC236}">
                    <a16:creationId xmlns:a16="http://schemas.microsoft.com/office/drawing/2014/main" id="{90149DAC-3BD2-4375-98A2-EEEF7240F014}"/>
                  </a:ext>
                </a:extLst>
              </p:cNvPr>
              <p:cNvSpPr/>
              <p:nvPr/>
            </p:nvSpPr>
            <p:spPr>
              <a:xfrm>
                <a:off x="2411506" y="2915985"/>
                <a:ext cx="1447152" cy="144512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1">
                  <a:lumMod val="50000"/>
                  <a:lumOff val="50000"/>
                </a:schemeClr>
              </a:solidFill>
              <a:ln w="12700">
                <a:miter lim="400000"/>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4" name="isḻiḍê">
                <a:extLst>
                  <a:ext uri="{FF2B5EF4-FFF2-40B4-BE49-F238E27FC236}">
                    <a16:creationId xmlns:a16="http://schemas.microsoft.com/office/drawing/2014/main" id="{E19E862A-8305-4E34-99CB-E6AED04635E5}"/>
                  </a:ext>
                </a:extLst>
              </p:cNvPr>
              <p:cNvSpPr/>
              <p:nvPr/>
            </p:nvSpPr>
            <p:spPr>
              <a:xfrm>
                <a:off x="5308845" y="2915985"/>
                <a:ext cx="1445128" cy="144512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lumMod val="100000"/>
                </a:schemeClr>
              </a:solidFill>
              <a:ln w="12700">
                <a:miter lim="400000"/>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65"/>
                <a:endParaRPr/>
              </a:p>
            </p:txBody>
          </p:sp>
          <p:sp>
            <p:nvSpPr>
              <p:cNvPr id="135" name="îş1îḍe">
                <a:extLst>
                  <a:ext uri="{FF2B5EF4-FFF2-40B4-BE49-F238E27FC236}">
                    <a16:creationId xmlns:a16="http://schemas.microsoft.com/office/drawing/2014/main" id="{0FA780D7-6331-4AA3-9A99-63156ABF79EC}"/>
                  </a:ext>
                </a:extLst>
              </p:cNvPr>
              <p:cNvSpPr/>
              <p:nvPr/>
            </p:nvSpPr>
            <p:spPr>
              <a:xfrm>
                <a:off x="8335366" y="2915985"/>
                <a:ext cx="1445128" cy="144512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1">
                  <a:lumMod val="50000"/>
                  <a:lumOff val="50000"/>
                </a:schemeClr>
              </a:solidFill>
              <a:ln w="12700">
                <a:miter lim="400000"/>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6" name="isḷíḓè">
                <a:extLst>
                  <a:ext uri="{FF2B5EF4-FFF2-40B4-BE49-F238E27FC236}">
                    <a16:creationId xmlns:a16="http://schemas.microsoft.com/office/drawing/2014/main" id="{F05AA87B-3DCE-4332-B919-4B4C8ECD6257}"/>
                  </a:ext>
                </a:extLst>
              </p:cNvPr>
              <p:cNvSpPr/>
              <p:nvPr/>
            </p:nvSpPr>
            <p:spPr>
              <a:xfrm>
                <a:off x="6768136" y="2776344"/>
                <a:ext cx="150744" cy="150676"/>
              </a:xfrm>
              <a:custGeom>
                <a:avLst/>
                <a:gdLst/>
                <a:ahLst/>
                <a:cxnLst>
                  <a:cxn ang="0">
                    <a:pos x="wd2" y="hd2"/>
                  </a:cxn>
                  <a:cxn ang="5400000">
                    <a:pos x="wd2" y="hd2"/>
                  </a:cxn>
                  <a:cxn ang="10800000">
                    <a:pos x="wd2" y="hd2"/>
                  </a:cxn>
                  <a:cxn ang="16200000">
                    <a:pos x="wd2" y="hd2"/>
                  </a:cxn>
                </a:cxnLst>
                <a:rect l="0" t="0" r="r" b="b"/>
                <a:pathLst>
                  <a:path w="21600" h="21600" extrusionOk="0">
                    <a:moveTo>
                      <a:pt x="21600" y="15878"/>
                    </a:moveTo>
                    <a:lnTo>
                      <a:pt x="5722" y="0"/>
                    </a:lnTo>
                    <a:lnTo>
                      <a:pt x="0" y="21600"/>
                    </a:lnTo>
                    <a:lnTo>
                      <a:pt x="21600" y="15878"/>
                    </a:lnTo>
                    <a:close/>
                  </a:path>
                </a:pathLst>
              </a:custGeom>
              <a:solidFill>
                <a:schemeClr val="bg1">
                  <a:lumMod val="85000"/>
                </a:schemeClr>
              </a:solidFill>
              <a:ln w="9525" cap="flat">
                <a:noFill/>
                <a:prstDash val="solid"/>
                <a:round/>
              </a:ln>
              <a:effec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7" name="îśliḋe">
                <a:extLst>
                  <a:ext uri="{FF2B5EF4-FFF2-40B4-BE49-F238E27FC236}">
                    <a16:creationId xmlns:a16="http://schemas.microsoft.com/office/drawing/2014/main" id="{3132CC1B-82AC-4DE5-9A81-CE917F58CFC7}"/>
                  </a:ext>
                </a:extLst>
              </p:cNvPr>
              <p:cNvSpPr/>
              <p:nvPr/>
            </p:nvSpPr>
            <p:spPr>
              <a:xfrm>
                <a:off x="6515276" y="4599671"/>
                <a:ext cx="151720" cy="150708"/>
              </a:xfrm>
              <a:custGeom>
                <a:avLst/>
                <a:gdLst/>
                <a:ahLst/>
                <a:cxnLst>
                  <a:cxn ang="0">
                    <a:pos x="wd2" y="hd2"/>
                  </a:cxn>
                  <a:cxn ang="5400000">
                    <a:pos x="wd2" y="hd2"/>
                  </a:cxn>
                  <a:cxn ang="10800000">
                    <a:pos x="wd2" y="hd2"/>
                  </a:cxn>
                  <a:cxn ang="16200000">
                    <a:pos x="wd2" y="hd2"/>
                  </a:cxn>
                </a:cxnLst>
                <a:rect l="0" t="0" r="r" b="b"/>
                <a:pathLst>
                  <a:path w="21600" h="21600" extrusionOk="0">
                    <a:moveTo>
                      <a:pt x="5826" y="21600"/>
                    </a:moveTo>
                    <a:lnTo>
                      <a:pt x="21600" y="5722"/>
                    </a:lnTo>
                    <a:lnTo>
                      <a:pt x="0" y="0"/>
                    </a:lnTo>
                    <a:lnTo>
                      <a:pt x="5826" y="21600"/>
                    </a:lnTo>
                    <a:close/>
                  </a:path>
                </a:pathLst>
              </a:custGeom>
              <a:solidFill>
                <a:schemeClr val="bg1">
                  <a:lumMod val="85000"/>
                </a:schemeClr>
              </a:solidFill>
              <a:ln w="9525" cap="flat">
                <a:noFill/>
                <a:prstDash val="solid"/>
                <a:round/>
              </a:ln>
              <a:effec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8" name="išḷiḑe">
                <a:extLst>
                  <a:ext uri="{FF2B5EF4-FFF2-40B4-BE49-F238E27FC236}">
                    <a16:creationId xmlns:a16="http://schemas.microsoft.com/office/drawing/2014/main" id="{2CFC206A-0C6E-41D0-9C15-DEE7744135EF}"/>
                  </a:ext>
                </a:extLst>
              </p:cNvPr>
              <p:cNvSpPr/>
              <p:nvPr/>
            </p:nvSpPr>
            <p:spPr>
              <a:xfrm>
                <a:off x="2768308" y="3346488"/>
                <a:ext cx="733546" cy="584120"/>
              </a:xfrm>
              <a:custGeom>
                <a:avLst/>
                <a:gdLst>
                  <a:gd name="connsiteX0" fmla="*/ 485775 w 514350"/>
                  <a:gd name="connsiteY0" fmla="*/ 0 h 409575"/>
                  <a:gd name="connsiteX1" fmla="*/ 514350 w 514350"/>
                  <a:gd name="connsiteY1" fmla="*/ 28575 h 409575"/>
                  <a:gd name="connsiteX2" fmla="*/ 514350 w 514350"/>
                  <a:gd name="connsiteY2" fmla="*/ 323850 h 409575"/>
                  <a:gd name="connsiteX3" fmla="*/ 485775 w 514350"/>
                  <a:gd name="connsiteY3" fmla="*/ 352425 h 409575"/>
                  <a:gd name="connsiteX4" fmla="*/ 191167 w 514350"/>
                  <a:gd name="connsiteY4" fmla="*/ 352425 h 409575"/>
                  <a:gd name="connsiteX5" fmla="*/ 114395 w 514350"/>
                  <a:gd name="connsiteY5" fmla="*/ 409575 h 409575"/>
                  <a:gd name="connsiteX6" fmla="*/ 114395 w 514350"/>
                  <a:gd name="connsiteY6" fmla="*/ 352425 h 409575"/>
                  <a:gd name="connsiteX7" fmla="*/ 28575 w 514350"/>
                  <a:gd name="connsiteY7" fmla="*/ 352425 h 409575"/>
                  <a:gd name="connsiteX8" fmla="*/ 0 w 514350"/>
                  <a:gd name="connsiteY8" fmla="*/ 323850 h 409575"/>
                  <a:gd name="connsiteX9" fmla="*/ 0 w 514350"/>
                  <a:gd name="connsiteY9" fmla="*/ 28575 h 409575"/>
                  <a:gd name="connsiteX10" fmla="*/ 28575 w 514350"/>
                  <a:gd name="connsiteY10" fmla="*/ 0 h 409575"/>
                  <a:gd name="connsiteX11" fmla="*/ 485775 w 514350"/>
                  <a:gd name="connsiteY11" fmla="*/ 0 h 409575"/>
                  <a:gd name="connsiteX12" fmla="*/ 123825 w 514350"/>
                  <a:gd name="connsiteY12" fmla="*/ 142875 h 409575"/>
                  <a:gd name="connsiteX13" fmla="*/ 90488 w 514350"/>
                  <a:gd name="connsiteY13" fmla="*/ 176213 h 409575"/>
                  <a:gd name="connsiteX14" fmla="*/ 123825 w 514350"/>
                  <a:gd name="connsiteY14" fmla="*/ 209550 h 409575"/>
                  <a:gd name="connsiteX15" fmla="*/ 157163 w 514350"/>
                  <a:gd name="connsiteY15" fmla="*/ 176213 h 409575"/>
                  <a:gd name="connsiteX16" fmla="*/ 123825 w 514350"/>
                  <a:gd name="connsiteY16" fmla="*/ 142875 h 409575"/>
                  <a:gd name="connsiteX17" fmla="*/ 257175 w 514350"/>
                  <a:gd name="connsiteY17" fmla="*/ 142875 h 409575"/>
                  <a:gd name="connsiteX18" fmla="*/ 223838 w 514350"/>
                  <a:gd name="connsiteY18" fmla="*/ 176213 h 409575"/>
                  <a:gd name="connsiteX19" fmla="*/ 257175 w 514350"/>
                  <a:gd name="connsiteY19" fmla="*/ 209550 h 409575"/>
                  <a:gd name="connsiteX20" fmla="*/ 290513 w 514350"/>
                  <a:gd name="connsiteY20" fmla="*/ 176213 h 409575"/>
                  <a:gd name="connsiteX21" fmla="*/ 257175 w 514350"/>
                  <a:gd name="connsiteY21" fmla="*/ 142875 h 409575"/>
                  <a:gd name="connsiteX22" fmla="*/ 390525 w 514350"/>
                  <a:gd name="connsiteY22" fmla="*/ 142875 h 409575"/>
                  <a:gd name="connsiteX23" fmla="*/ 357188 w 514350"/>
                  <a:gd name="connsiteY23" fmla="*/ 176213 h 409575"/>
                  <a:gd name="connsiteX24" fmla="*/ 390525 w 514350"/>
                  <a:gd name="connsiteY24" fmla="*/ 209550 h 409575"/>
                  <a:gd name="connsiteX25" fmla="*/ 423863 w 514350"/>
                  <a:gd name="connsiteY25" fmla="*/ 176213 h 409575"/>
                  <a:gd name="connsiteX26" fmla="*/ 390525 w 514350"/>
                  <a:gd name="connsiteY26" fmla="*/ 1428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5775" y="0"/>
                    </a:moveTo>
                    <a:cubicBezTo>
                      <a:pt x="501586" y="0"/>
                      <a:pt x="514350" y="12764"/>
                      <a:pt x="514350" y="28575"/>
                    </a:cubicBezTo>
                    <a:lnTo>
                      <a:pt x="514350" y="323850"/>
                    </a:lnTo>
                    <a:cubicBezTo>
                      <a:pt x="514350" y="339662"/>
                      <a:pt x="501586" y="352425"/>
                      <a:pt x="485775" y="352425"/>
                    </a:cubicBezTo>
                    <a:lnTo>
                      <a:pt x="191167" y="352425"/>
                    </a:lnTo>
                    <a:lnTo>
                      <a:pt x="114395" y="409575"/>
                    </a:lnTo>
                    <a:lnTo>
                      <a:pt x="114395" y="352425"/>
                    </a:lnTo>
                    <a:lnTo>
                      <a:pt x="28575" y="352425"/>
                    </a:lnTo>
                    <a:cubicBezTo>
                      <a:pt x="12764" y="352425"/>
                      <a:pt x="0" y="339662"/>
                      <a:pt x="0" y="323850"/>
                    </a:cubicBezTo>
                    <a:lnTo>
                      <a:pt x="0" y="28575"/>
                    </a:lnTo>
                    <a:cubicBezTo>
                      <a:pt x="0" y="12764"/>
                      <a:pt x="12764" y="0"/>
                      <a:pt x="28575" y="0"/>
                    </a:cubicBezTo>
                    <a:lnTo>
                      <a:pt x="485775" y="0"/>
                    </a:lnTo>
                    <a:close/>
                    <a:moveTo>
                      <a:pt x="123825" y="142875"/>
                    </a:moveTo>
                    <a:cubicBezTo>
                      <a:pt x="105442" y="142875"/>
                      <a:pt x="90488" y="157829"/>
                      <a:pt x="90488" y="176213"/>
                    </a:cubicBezTo>
                    <a:cubicBezTo>
                      <a:pt x="90488" y="194596"/>
                      <a:pt x="105442" y="209550"/>
                      <a:pt x="123825" y="209550"/>
                    </a:cubicBezTo>
                    <a:cubicBezTo>
                      <a:pt x="142208" y="209550"/>
                      <a:pt x="157163" y="194596"/>
                      <a:pt x="157163" y="176213"/>
                    </a:cubicBezTo>
                    <a:cubicBezTo>
                      <a:pt x="157163" y="157829"/>
                      <a:pt x="142208" y="142875"/>
                      <a:pt x="123825" y="142875"/>
                    </a:cubicBezTo>
                    <a:close/>
                    <a:moveTo>
                      <a:pt x="257175" y="142875"/>
                    </a:moveTo>
                    <a:cubicBezTo>
                      <a:pt x="238792" y="142875"/>
                      <a:pt x="223838" y="157829"/>
                      <a:pt x="223838" y="176213"/>
                    </a:cubicBezTo>
                    <a:cubicBezTo>
                      <a:pt x="223838" y="194596"/>
                      <a:pt x="238792" y="209550"/>
                      <a:pt x="257175" y="209550"/>
                    </a:cubicBezTo>
                    <a:cubicBezTo>
                      <a:pt x="275558" y="209550"/>
                      <a:pt x="290513" y="194596"/>
                      <a:pt x="290513" y="176213"/>
                    </a:cubicBezTo>
                    <a:cubicBezTo>
                      <a:pt x="290513" y="157829"/>
                      <a:pt x="275558" y="142875"/>
                      <a:pt x="257175" y="142875"/>
                    </a:cubicBezTo>
                    <a:close/>
                    <a:moveTo>
                      <a:pt x="390525" y="142875"/>
                    </a:moveTo>
                    <a:cubicBezTo>
                      <a:pt x="372142" y="142875"/>
                      <a:pt x="357188" y="157829"/>
                      <a:pt x="357188" y="176213"/>
                    </a:cubicBezTo>
                    <a:cubicBezTo>
                      <a:pt x="357188" y="194596"/>
                      <a:pt x="372142" y="209550"/>
                      <a:pt x="390525" y="209550"/>
                    </a:cubicBezTo>
                    <a:cubicBezTo>
                      <a:pt x="408908" y="209550"/>
                      <a:pt x="423863" y="194596"/>
                      <a:pt x="423863" y="176213"/>
                    </a:cubicBezTo>
                    <a:cubicBezTo>
                      <a:pt x="423863" y="157829"/>
                      <a:pt x="408908" y="142875"/>
                      <a:pt x="390525" y="142875"/>
                    </a:cubicBezTo>
                    <a:close/>
                  </a:path>
                </a:pathLst>
              </a:cu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139" name="ïṩļïḓé">
                <a:extLst>
                  <a:ext uri="{FF2B5EF4-FFF2-40B4-BE49-F238E27FC236}">
                    <a16:creationId xmlns:a16="http://schemas.microsoft.com/office/drawing/2014/main" id="{55400665-1951-4113-9126-D89C91FFF22C}"/>
                  </a:ext>
                </a:extLst>
              </p:cNvPr>
              <p:cNvSpPr/>
              <p:nvPr/>
            </p:nvSpPr>
            <p:spPr>
              <a:xfrm>
                <a:off x="5690338" y="3271776"/>
                <a:ext cx="682139" cy="733546"/>
              </a:xfrm>
              <a:custGeom>
                <a:avLst/>
                <a:gdLst>
                  <a:gd name="connsiteX0" fmla="*/ 8038 w 487162"/>
                  <a:gd name="connsiteY0" fmla="*/ 513398 h 523875"/>
                  <a:gd name="connsiteX1" fmla="*/ 7467 w 487162"/>
                  <a:gd name="connsiteY1" fmla="*/ 512731 h 523875"/>
                  <a:gd name="connsiteX2" fmla="*/ 7467 w 487162"/>
                  <a:gd name="connsiteY2" fmla="*/ 512731 h 523875"/>
                  <a:gd name="connsiteX3" fmla="*/ 6991 w 487162"/>
                  <a:gd name="connsiteY3" fmla="*/ 512064 h 523875"/>
                  <a:gd name="connsiteX4" fmla="*/ 4990 w 487162"/>
                  <a:gd name="connsiteY4" fmla="*/ 509016 h 523875"/>
                  <a:gd name="connsiteX5" fmla="*/ 4990 w 487162"/>
                  <a:gd name="connsiteY5" fmla="*/ 509016 h 523875"/>
                  <a:gd name="connsiteX6" fmla="*/ 4514 w 487162"/>
                  <a:gd name="connsiteY6" fmla="*/ 508254 h 523875"/>
                  <a:gd name="connsiteX7" fmla="*/ 3752 w 487162"/>
                  <a:gd name="connsiteY7" fmla="*/ 506730 h 523875"/>
                  <a:gd name="connsiteX8" fmla="*/ 3085 w 487162"/>
                  <a:gd name="connsiteY8" fmla="*/ 505111 h 523875"/>
                  <a:gd name="connsiteX9" fmla="*/ 2990 w 487162"/>
                  <a:gd name="connsiteY9" fmla="*/ 504920 h 523875"/>
                  <a:gd name="connsiteX10" fmla="*/ 2895 w 487162"/>
                  <a:gd name="connsiteY10" fmla="*/ 504635 h 523875"/>
                  <a:gd name="connsiteX11" fmla="*/ 2895 w 487162"/>
                  <a:gd name="connsiteY11" fmla="*/ 504444 h 523875"/>
                  <a:gd name="connsiteX12" fmla="*/ 2228 w 487162"/>
                  <a:gd name="connsiteY12" fmla="*/ 502444 h 523875"/>
                  <a:gd name="connsiteX13" fmla="*/ 1847 w 487162"/>
                  <a:gd name="connsiteY13" fmla="*/ 501110 h 523875"/>
                  <a:gd name="connsiteX14" fmla="*/ 1371 w 487162"/>
                  <a:gd name="connsiteY14" fmla="*/ 499205 h 523875"/>
                  <a:gd name="connsiteX15" fmla="*/ 514 w 487162"/>
                  <a:gd name="connsiteY15" fmla="*/ 494919 h 523875"/>
                  <a:gd name="connsiteX16" fmla="*/ 228 w 487162"/>
                  <a:gd name="connsiteY16" fmla="*/ 492443 h 523875"/>
                  <a:gd name="connsiteX17" fmla="*/ 37 w 487162"/>
                  <a:gd name="connsiteY17" fmla="*/ 485870 h 523875"/>
                  <a:gd name="connsiteX18" fmla="*/ 4609 w 487162"/>
                  <a:gd name="connsiteY18" fmla="*/ 467582 h 523875"/>
                  <a:gd name="connsiteX19" fmla="*/ 154247 w 487162"/>
                  <a:gd name="connsiteY19" fmla="*/ 150876 h 523875"/>
                  <a:gd name="connsiteX20" fmla="*/ 157867 w 487162"/>
                  <a:gd name="connsiteY20" fmla="*/ 134588 h 523875"/>
                  <a:gd name="connsiteX21" fmla="*/ 157867 w 487162"/>
                  <a:gd name="connsiteY21" fmla="*/ 19050 h 523875"/>
                  <a:gd name="connsiteX22" fmla="*/ 119767 w 487162"/>
                  <a:gd name="connsiteY22" fmla="*/ 19050 h 523875"/>
                  <a:gd name="connsiteX23" fmla="*/ 119767 w 487162"/>
                  <a:gd name="connsiteY23" fmla="*/ 0 h 523875"/>
                  <a:gd name="connsiteX24" fmla="*/ 367417 w 487162"/>
                  <a:gd name="connsiteY24" fmla="*/ 0 h 523875"/>
                  <a:gd name="connsiteX25" fmla="*/ 367417 w 487162"/>
                  <a:gd name="connsiteY25" fmla="*/ 19050 h 523875"/>
                  <a:gd name="connsiteX26" fmla="*/ 329317 w 487162"/>
                  <a:gd name="connsiteY26" fmla="*/ 19050 h 523875"/>
                  <a:gd name="connsiteX27" fmla="*/ 329317 w 487162"/>
                  <a:gd name="connsiteY27" fmla="*/ 134684 h 523875"/>
                  <a:gd name="connsiteX28" fmla="*/ 332936 w 487162"/>
                  <a:gd name="connsiteY28" fmla="*/ 150971 h 523875"/>
                  <a:gd name="connsiteX29" fmla="*/ 482574 w 487162"/>
                  <a:gd name="connsiteY29" fmla="*/ 467678 h 523875"/>
                  <a:gd name="connsiteX30" fmla="*/ 484098 w 487162"/>
                  <a:gd name="connsiteY30" fmla="*/ 504920 h 523875"/>
                  <a:gd name="connsiteX31" fmla="*/ 484003 w 487162"/>
                  <a:gd name="connsiteY31" fmla="*/ 505111 h 523875"/>
                  <a:gd name="connsiteX32" fmla="*/ 483431 w 487162"/>
                  <a:gd name="connsiteY32" fmla="*/ 506540 h 523875"/>
                  <a:gd name="connsiteX33" fmla="*/ 458571 w 487162"/>
                  <a:gd name="connsiteY33" fmla="*/ 523780 h 523875"/>
                  <a:gd name="connsiteX34" fmla="*/ 456666 w 487162"/>
                  <a:gd name="connsiteY34" fmla="*/ 523875 h 523875"/>
                  <a:gd name="connsiteX35" fmla="*/ 30422 w 487162"/>
                  <a:gd name="connsiteY35" fmla="*/ 523875 h 523875"/>
                  <a:gd name="connsiteX36" fmla="*/ 28612 w 487162"/>
                  <a:gd name="connsiteY36" fmla="*/ 523780 h 523875"/>
                  <a:gd name="connsiteX37" fmla="*/ 26136 w 487162"/>
                  <a:gd name="connsiteY37" fmla="*/ 523494 h 523875"/>
                  <a:gd name="connsiteX38" fmla="*/ 22326 w 487162"/>
                  <a:gd name="connsiteY38" fmla="*/ 522637 h 523875"/>
                  <a:gd name="connsiteX39" fmla="*/ 22326 w 487162"/>
                  <a:gd name="connsiteY39" fmla="*/ 522637 h 523875"/>
                  <a:gd name="connsiteX40" fmla="*/ 16801 w 487162"/>
                  <a:gd name="connsiteY40" fmla="*/ 520351 h 523875"/>
                  <a:gd name="connsiteX41" fmla="*/ 15373 w 487162"/>
                  <a:gd name="connsiteY41" fmla="*/ 519589 h 523875"/>
                  <a:gd name="connsiteX42" fmla="*/ 14420 w 487162"/>
                  <a:gd name="connsiteY42" fmla="*/ 519017 h 523875"/>
                  <a:gd name="connsiteX43" fmla="*/ 9467 w 487162"/>
                  <a:gd name="connsiteY43" fmla="*/ 514922 h 523875"/>
                  <a:gd name="connsiteX44" fmla="*/ 8038 w 487162"/>
                  <a:gd name="connsiteY44" fmla="*/ 513398 h 523875"/>
                  <a:gd name="connsiteX45" fmla="*/ 8038 w 487162"/>
                  <a:gd name="connsiteY45" fmla="*/ 513398 h 523875"/>
                  <a:gd name="connsiteX46" fmla="*/ 254641 w 487162"/>
                  <a:gd name="connsiteY46" fmla="*/ 404146 h 523875"/>
                  <a:gd name="connsiteX47" fmla="*/ 251783 w 487162"/>
                  <a:gd name="connsiteY47" fmla="*/ 405956 h 523875"/>
                  <a:gd name="connsiteX48" fmla="*/ 246259 w 487162"/>
                  <a:gd name="connsiteY48" fmla="*/ 409670 h 523875"/>
                  <a:gd name="connsiteX49" fmla="*/ 54425 w 487162"/>
                  <a:gd name="connsiteY49" fmla="*/ 416243 h 523875"/>
                  <a:gd name="connsiteX50" fmla="*/ 50615 w 487162"/>
                  <a:gd name="connsiteY50" fmla="*/ 414719 h 523875"/>
                  <a:gd name="connsiteX51" fmla="*/ 21754 w 487162"/>
                  <a:gd name="connsiteY51" fmla="*/ 475774 h 523875"/>
                  <a:gd name="connsiteX52" fmla="*/ 20897 w 487162"/>
                  <a:gd name="connsiteY52" fmla="*/ 477679 h 523875"/>
                  <a:gd name="connsiteX53" fmla="*/ 20802 w 487162"/>
                  <a:gd name="connsiteY53" fmla="*/ 498158 h 523875"/>
                  <a:gd name="connsiteX54" fmla="*/ 27945 w 487162"/>
                  <a:gd name="connsiteY54" fmla="*/ 504444 h 523875"/>
                  <a:gd name="connsiteX55" fmla="*/ 29184 w 487162"/>
                  <a:gd name="connsiteY55" fmla="*/ 504635 h 523875"/>
                  <a:gd name="connsiteX56" fmla="*/ 30327 w 487162"/>
                  <a:gd name="connsiteY56" fmla="*/ 504730 h 523875"/>
                  <a:gd name="connsiteX57" fmla="*/ 456570 w 487162"/>
                  <a:gd name="connsiteY57" fmla="*/ 504730 h 523875"/>
                  <a:gd name="connsiteX58" fmla="*/ 457714 w 487162"/>
                  <a:gd name="connsiteY58" fmla="*/ 504635 h 523875"/>
                  <a:gd name="connsiteX59" fmla="*/ 466095 w 487162"/>
                  <a:gd name="connsiteY59" fmla="*/ 498062 h 523875"/>
                  <a:gd name="connsiteX60" fmla="*/ 466667 w 487162"/>
                  <a:gd name="connsiteY60" fmla="*/ 479584 h 523875"/>
                  <a:gd name="connsiteX61" fmla="*/ 466000 w 487162"/>
                  <a:gd name="connsiteY61" fmla="*/ 477584 h 523875"/>
                  <a:gd name="connsiteX62" fmla="*/ 465143 w 487162"/>
                  <a:gd name="connsiteY62" fmla="*/ 475679 h 523875"/>
                  <a:gd name="connsiteX63" fmla="*/ 423519 w 487162"/>
                  <a:gd name="connsiteY63" fmla="*/ 387477 h 523875"/>
                  <a:gd name="connsiteX64" fmla="*/ 254641 w 487162"/>
                  <a:gd name="connsiteY64" fmla="*/ 404146 h 523875"/>
                  <a:gd name="connsiteX65" fmla="*/ 305504 w 487162"/>
                  <a:gd name="connsiteY65" fmla="*/ 257175 h 523875"/>
                  <a:gd name="connsiteX66" fmla="*/ 272167 w 487162"/>
                  <a:gd name="connsiteY66" fmla="*/ 290513 h 523875"/>
                  <a:gd name="connsiteX67" fmla="*/ 305504 w 487162"/>
                  <a:gd name="connsiteY67" fmla="*/ 323850 h 523875"/>
                  <a:gd name="connsiteX68" fmla="*/ 338842 w 487162"/>
                  <a:gd name="connsiteY68" fmla="*/ 290513 h 523875"/>
                  <a:gd name="connsiteX69" fmla="*/ 305504 w 487162"/>
                  <a:gd name="connsiteY69" fmla="*/ 2571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038" y="513398"/>
                    </a:moveTo>
                    <a:lnTo>
                      <a:pt x="7467" y="512731"/>
                    </a:lnTo>
                    <a:lnTo>
                      <a:pt x="7467" y="512731"/>
                    </a:lnTo>
                    <a:lnTo>
                      <a:pt x="6991" y="512064"/>
                    </a:lnTo>
                    <a:cubicBezTo>
                      <a:pt x="6228" y="511112"/>
                      <a:pt x="5657" y="510064"/>
                      <a:pt x="4990" y="509016"/>
                    </a:cubicBezTo>
                    <a:lnTo>
                      <a:pt x="4990" y="509016"/>
                    </a:lnTo>
                    <a:lnTo>
                      <a:pt x="4514" y="508254"/>
                    </a:lnTo>
                    <a:lnTo>
                      <a:pt x="3752" y="506730"/>
                    </a:lnTo>
                    <a:lnTo>
                      <a:pt x="3085" y="505111"/>
                    </a:lnTo>
                    <a:lnTo>
                      <a:pt x="2990" y="504920"/>
                    </a:lnTo>
                    <a:lnTo>
                      <a:pt x="2895" y="504635"/>
                    </a:lnTo>
                    <a:lnTo>
                      <a:pt x="2895" y="504444"/>
                    </a:lnTo>
                    <a:lnTo>
                      <a:pt x="2228" y="502444"/>
                    </a:lnTo>
                    <a:cubicBezTo>
                      <a:pt x="2133" y="501968"/>
                      <a:pt x="1942" y="501587"/>
                      <a:pt x="1847" y="501110"/>
                    </a:cubicBezTo>
                    <a:cubicBezTo>
                      <a:pt x="1657" y="500444"/>
                      <a:pt x="1466" y="499872"/>
                      <a:pt x="1371" y="499205"/>
                    </a:cubicBezTo>
                    <a:cubicBezTo>
                      <a:pt x="990" y="497776"/>
                      <a:pt x="799" y="496348"/>
                      <a:pt x="514" y="494919"/>
                    </a:cubicBezTo>
                    <a:lnTo>
                      <a:pt x="228" y="492443"/>
                    </a:lnTo>
                    <a:cubicBezTo>
                      <a:pt x="37" y="490252"/>
                      <a:pt x="-58" y="488061"/>
                      <a:pt x="37" y="485870"/>
                    </a:cubicBezTo>
                    <a:cubicBezTo>
                      <a:pt x="323" y="479584"/>
                      <a:pt x="1847" y="473393"/>
                      <a:pt x="4609" y="467582"/>
                    </a:cubicBezTo>
                    <a:lnTo>
                      <a:pt x="154247" y="150876"/>
                    </a:lnTo>
                    <a:cubicBezTo>
                      <a:pt x="156628" y="145828"/>
                      <a:pt x="157867" y="140208"/>
                      <a:pt x="157867" y="134588"/>
                    </a:cubicBezTo>
                    <a:lnTo>
                      <a:pt x="157867" y="19050"/>
                    </a:lnTo>
                    <a:lnTo>
                      <a:pt x="119767" y="19050"/>
                    </a:lnTo>
                    <a:lnTo>
                      <a:pt x="119767" y="0"/>
                    </a:lnTo>
                    <a:lnTo>
                      <a:pt x="367417" y="0"/>
                    </a:lnTo>
                    <a:lnTo>
                      <a:pt x="367417" y="19050"/>
                    </a:lnTo>
                    <a:lnTo>
                      <a:pt x="329317" y="19050"/>
                    </a:lnTo>
                    <a:lnTo>
                      <a:pt x="329317" y="134684"/>
                    </a:lnTo>
                    <a:cubicBezTo>
                      <a:pt x="329317" y="140303"/>
                      <a:pt x="330555" y="145828"/>
                      <a:pt x="332936" y="150971"/>
                    </a:cubicBezTo>
                    <a:lnTo>
                      <a:pt x="482574" y="467678"/>
                    </a:lnTo>
                    <a:cubicBezTo>
                      <a:pt x="488098" y="479393"/>
                      <a:pt x="488670" y="492824"/>
                      <a:pt x="484098" y="504920"/>
                    </a:cubicBezTo>
                    <a:lnTo>
                      <a:pt x="484003" y="505111"/>
                    </a:lnTo>
                    <a:lnTo>
                      <a:pt x="483431" y="506540"/>
                    </a:lnTo>
                    <a:cubicBezTo>
                      <a:pt x="478954" y="516446"/>
                      <a:pt x="469429" y="523113"/>
                      <a:pt x="458571" y="523780"/>
                    </a:cubicBezTo>
                    <a:lnTo>
                      <a:pt x="456666" y="523875"/>
                    </a:lnTo>
                    <a:lnTo>
                      <a:pt x="30422" y="523875"/>
                    </a:lnTo>
                    <a:lnTo>
                      <a:pt x="28612" y="523780"/>
                    </a:lnTo>
                    <a:cubicBezTo>
                      <a:pt x="27755" y="523685"/>
                      <a:pt x="26993" y="523685"/>
                      <a:pt x="26136" y="523494"/>
                    </a:cubicBezTo>
                    <a:cubicBezTo>
                      <a:pt x="24802" y="523304"/>
                      <a:pt x="23564" y="523018"/>
                      <a:pt x="22326" y="522637"/>
                    </a:cubicBezTo>
                    <a:lnTo>
                      <a:pt x="22326" y="522637"/>
                    </a:lnTo>
                    <a:cubicBezTo>
                      <a:pt x="20421" y="522065"/>
                      <a:pt x="18516" y="521303"/>
                      <a:pt x="16801" y="520351"/>
                    </a:cubicBezTo>
                    <a:lnTo>
                      <a:pt x="15373" y="519589"/>
                    </a:lnTo>
                    <a:cubicBezTo>
                      <a:pt x="15087" y="519398"/>
                      <a:pt x="14801" y="519208"/>
                      <a:pt x="14420" y="519017"/>
                    </a:cubicBezTo>
                    <a:cubicBezTo>
                      <a:pt x="12610" y="517874"/>
                      <a:pt x="10896" y="516446"/>
                      <a:pt x="9467" y="514922"/>
                    </a:cubicBezTo>
                    <a:lnTo>
                      <a:pt x="8038" y="513398"/>
                    </a:lnTo>
                    <a:lnTo>
                      <a:pt x="8038" y="513398"/>
                    </a:lnTo>
                    <a:close/>
                    <a:moveTo>
                      <a:pt x="254641" y="404146"/>
                    </a:moveTo>
                    <a:lnTo>
                      <a:pt x="251783" y="405956"/>
                    </a:lnTo>
                    <a:lnTo>
                      <a:pt x="246259" y="409670"/>
                    </a:lnTo>
                    <a:cubicBezTo>
                      <a:pt x="199015" y="441008"/>
                      <a:pt x="119481" y="441960"/>
                      <a:pt x="54425" y="416243"/>
                    </a:cubicBezTo>
                    <a:lnTo>
                      <a:pt x="50615" y="414719"/>
                    </a:lnTo>
                    <a:lnTo>
                      <a:pt x="21754" y="475774"/>
                    </a:lnTo>
                    <a:lnTo>
                      <a:pt x="20897" y="477679"/>
                    </a:lnTo>
                    <a:cubicBezTo>
                      <a:pt x="18420" y="484251"/>
                      <a:pt x="18325" y="491490"/>
                      <a:pt x="20802" y="498158"/>
                    </a:cubicBezTo>
                    <a:cubicBezTo>
                      <a:pt x="22040" y="501396"/>
                      <a:pt x="24707" y="503682"/>
                      <a:pt x="27945" y="504444"/>
                    </a:cubicBezTo>
                    <a:lnTo>
                      <a:pt x="29184" y="504635"/>
                    </a:lnTo>
                    <a:lnTo>
                      <a:pt x="30327" y="504730"/>
                    </a:lnTo>
                    <a:lnTo>
                      <a:pt x="456570" y="504730"/>
                    </a:lnTo>
                    <a:lnTo>
                      <a:pt x="457714" y="504635"/>
                    </a:lnTo>
                    <a:cubicBezTo>
                      <a:pt x="461524" y="504254"/>
                      <a:pt x="464762" y="501682"/>
                      <a:pt x="466095" y="498062"/>
                    </a:cubicBezTo>
                    <a:cubicBezTo>
                      <a:pt x="468382" y="492157"/>
                      <a:pt x="468572" y="485585"/>
                      <a:pt x="466667" y="479584"/>
                    </a:cubicBezTo>
                    <a:lnTo>
                      <a:pt x="466000" y="477584"/>
                    </a:lnTo>
                    <a:lnTo>
                      <a:pt x="465143" y="475679"/>
                    </a:lnTo>
                    <a:lnTo>
                      <a:pt x="423519" y="387477"/>
                    </a:lnTo>
                    <a:cubicBezTo>
                      <a:pt x="365416" y="373190"/>
                      <a:pt x="295979" y="378714"/>
                      <a:pt x="254641" y="404146"/>
                    </a:cubicBezTo>
                    <a:close/>
                    <a:moveTo>
                      <a:pt x="305504" y="257175"/>
                    </a:moveTo>
                    <a:cubicBezTo>
                      <a:pt x="287121" y="257175"/>
                      <a:pt x="272167" y="272129"/>
                      <a:pt x="272167" y="290513"/>
                    </a:cubicBezTo>
                    <a:cubicBezTo>
                      <a:pt x="272167" y="308896"/>
                      <a:pt x="287121" y="323850"/>
                      <a:pt x="305504" y="323850"/>
                    </a:cubicBezTo>
                    <a:cubicBezTo>
                      <a:pt x="323887" y="323850"/>
                      <a:pt x="338842" y="308896"/>
                      <a:pt x="338842" y="290513"/>
                    </a:cubicBezTo>
                    <a:cubicBezTo>
                      <a:pt x="338842" y="272129"/>
                      <a:pt x="323887" y="257175"/>
                      <a:pt x="305504" y="257175"/>
                    </a:cubicBezTo>
                    <a:close/>
                  </a:path>
                </a:pathLst>
              </a:cu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140" name="iṩľíḑè">
                <a:extLst>
                  <a:ext uri="{FF2B5EF4-FFF2-40B4-BE49-F238E27FC236}">
                    <a16:creationId xmlns:a16="http://schemas.microsoft.com/office/drawing/2014/main" id="{95D75E94-AE1C-4A47-9DFE-41C40736A50B}"/>
                  </a:ext>
                </a:extLst>
              </p:cNvPr>
              <p:cNvSpPr/>
              <p:nvPr/>
            </p:nvSpPr>
            <p:spPr>
              <a:xfrm>
                <a:off x="8691156" y="3278325"/>
                <a:ext cx="733546" cy="720447"/>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grpSp>
        <p:grpSp>
          <p:nvGrpSpPr>
            <p:cNvPr id="109" name="iŝļîdê">
              <a:extLst>
                <a:ext uri="{FF2B5EF4-FFF2-40B4-BE49-F238E27FC236}">
                  <a16:creationId xmlns:a16="http://schemas.microsoft.com/office/drawing/2014/main" id="{378A5B9C-6271-4042-A6C1-5573F1C6D4FE}"/>
                </a:ext>
              </a:extLst>
            </p:cNvPr>
            <p:cNvGrpSpPr/>
            <p:nvPr/>
          </p:nvGrpSpPr>
          <p:grpSpPr>
            <a:xfrm>
              <a:off x="1220655" y="3687515"/>
              <a:ext cx="3509735" cy="2459285"/>
              <a:chOff x="673100" y="3687515"/>
              <a:chExt cx="3509735" cy="2459285"/>
            </a:xfrm>
          </p:grpSpPr>
          <p:sp>
            <p:nvSpPr>
              <p:cNvPr id="114" name="ïśḻídè">
                <a:extLst>
                  <a:ext uri="{FF2B5EF4-FFF2-40B4-BE49-F238E27FC236}">
                    <a16:creationId xmlns:a16="http://schemas.microsoft.com/office/drawing/2014/main" id="{E632F477-E3A9-47DC-9B17-2FF72B06E79D}"/>
                  </a:ext>
                </a:extLst>
              </p:cNvPr>
              <p:cNvSpPr/>
              <p:nvPr/>
            </p:nvSpPr>
            <p:spPr bwMode="auto">
              <a:xfrm>
                <a:off x="673100" y="4182832"/>
                <a:ext cx="3509735" cy="96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60000"/>
                  </a:lnSpc>
                </a:pPr>
                <a:r>
                  <a:rPr lang="en-US" altLang="zh-CN" sz="1100" dirty="0"/>
                  <a:t>Copy paste fonts</a:t>
                </a:r>
                <a:r>
                  <a:rPr lang="en-US" altLang="zh-CN" sz="1100"/>
                  <a:t>. C</a:t>
                </a:r>
                <a:r>
                  <a:rPr lang="en-US" altLang="zh-CN" sz="100"/>
                  <a:t> </a:t>
                </a:r>
                <a:r>
                  <a:rPr lang="en-US" altLang="zh-CN" sz="1100"/>
                  <a:t>hoose </a:t>
                </a:r>
                <a:r>
                  <a:rPr lang="en-US" altLang="zh-CN" sz="1100" dirty="0"/>
                  <a:t>the only option to retain text.</a:t>
                </a:r>
              </a:p>
              <a:p>
                <a:pPr algn="ctr">
                  <a:lnSpc>
                    <a:spcPct val="160000"/>
                  </a:lnSpc>
                </a:pPr>
                <a:r>
                  <a:rPr lang="en-US" altLang="zh-CN" sz="1100" dirty="0"/>
                  <a:t>……</a:t>
                </a:r>
              </a:p>
            </p:txBody>
          </p:sp>
          <p:sp>
            <p:nvSpPr>
              <p:cNvPr id="115" name="ïSḻîdé">
                <a:extLst>
                  <a:ext uri="{FF2B5EF4-FFF2-40B4-BE49-F238E27FC236}">
                    <a16:creationId xmlns:a16="http://schemas.microsoft.com/office/drawing/2014/main" id="{6BAC2652-93D3-460E-A1C2-A301031A0DD3}"/>
                  </a:ext>
                </a:extLst>
              </p:cNvPr>
              <p:cNvSpPr txBox="1"/>
              <p:nvPr/>
            </p:nvSpPr>
            <p:spPr bwMode="auto">
              <a:xfrm>
                <a:off x="673100" y="3687515"/>
                <a:ext cx="3509735" cy="39417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en-US" altLang="zh-CN" sz="1600" b="1"/>
                  <a:t>Tex</a:t>
                </a:r>
                <a:r>
                  <a:rPr lang="en-US" altLang="zh-CN" sz="100" b="1"/>
                  <a:t> </a:t>
                </a:r>
                <a:r>
                  <a:rPr lang="en-US" altLang="zh-CN" sz="1600" b="1"/>
                  <a:t>t </a:t>
                </a:r>
                <a:r>
                  <a:rPr lang="en-US" altLang="zh-CN" sz="1600" b="1" dirty="0"/>
                  <a:t>here</a:t>
                </a:r>
              </a:p>
            </p:txBody>
          </p:sp>
          <p:sp>
            <p:nvSpPr>
              <p:cNvPr id="116" name="iṥľïḓe">
                <a:extLst>
                  <a:ext uri="{FF2B5EF4-FFF2-40B4-BE49-F238E27FC236}">
                    <a16:creationId xmlns:a16="http://schemas.microsoft.com/office/drawing/2014/main" id="{E632F477-E3A9-47DC-9B17-2FF72B06E79D}"/>
                  </a:ext>
                </a:extLst>
              </p:cNvPr>
              <p:cNvSpPr/>
              <p:nvPr/>
            </p:nvSpPr>
            <p:spPr bwMode="auto">
              <a:xfrm>
                <a:off x="673100" y="5183892"/>
                <a:ext cx="3509735" cy="96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60000"/>
                  </a:lnSpc>
                </a:pPr>
                <a:r>
                  <a:rPr lang="en-US" altLang="zh-CN" sz="1100" dirty="0"/>
                  <a:t>Copy paste fonts</a:t>
                </a:r>
                <a:r>
                  <a:rPr lang="en-US" altLang="zh-CN" sz="1100"/>
                  <a:t>. C</a:t>
                </a:r>
                <a:r>
                  <a:rPr lang="en-US" altLang="zh-CN" sz="100"/>
                  <a:t> </a:t>
                </a:r>
                <a:r>
                  <a:rPr lang="en-US" altLang="zh-CN" sz="1100"/>
                  <a:t>hoose </a:t>
                </a:r>
                <a:r>
                  <a:rPr lang="en-US" altLang="zh-CN" sz="1100" dirty="0"/>
                  <a:t>the only option to retain text.</a:t>
                </a:r>
              </a:p>
              <a:p>
                <a:pPr algn="ctr">
                  <a:lnSpc>
                    <a:spcPct val="160000"/>
                  </a:lnSpc>
                </a:pPr>
                <a:r>
                  <a:rPr lang="en-US" altLang="zh-CN" sz="1100" dirty="0"/>
                  <a:t>……</a:t>
                </a:r>
              </a:p>
            </p:txBody>
          </p:sp>
        </p:grpSp>
        <p:grpSp>
          <p:nvGrpSpPr>
            <p:cNvPr id="110" name="îṡlïḋè">
              <a:extLst>
                <a:ext uri="{FF2B5EF4-FFF2-40B4-BE49-F238E27FC236}">
                  <a16:creationId xmlns:a16="http://schemas.microsoft.com/office/drawing/2014/main" id="{E4186E90-E512-46BB-823C-AFB28564008B}"/>
                </a:ext>
              </a:extLst>
            </p:cNvPr>
            <p:cNvGrpSpPr/>
            <p:nvPr/>
          </p:nvGrpSpPr>
          <p:grpSpPr>
            <a:xfrm>
              <a:off x="7461610" y="3687515"/>
              <a:ext cx="3509735" cy="2459285"/>
              <a:chOff x="673100" y="3687515"/>
              <a:chExt cx="3509735" cy="2459285"/>
            </a:xfrm>
          </p:grpSpPr>
          <p:sp>
            <p:nvSpPr>
              <p:cNvPr id="111" name="ïśḷïďé">
                <a:extLst>
                  <a:ext uri="{FF2B5EF4-FFF2-40B4-BE49-F238E27FC236}">
                    <a16:creationId xmlns:a16="http://schemas.microsoft.com/office/drawing/2014/main" id="{E632F477-E3A9-47DC-9B17-2FF72B06E79D}"/>
                  </a:ext>
                </a:extLst>
              </p:cNvPr>
              <p:cNvSpPr/>
              <p:nvPr/>
            </p:nvSpPr>
            <p:spPr bwMode="auto">
              <a:xfrm>
                <a:off x="673100" y="4182832"/>
                <a:ext cx="3509735" cy="96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60000"/>
                  </a:lnSpc>
                </a:pPr>
                <a:r>
                  <a:rPr lang="en-US" altLang="zh-CN" sz="1100" dirty="0"/>
                  <a:t>Copy paste fonts</a:t>
                </a:r>
                <a:r>
                  <a:rPr lang="en-US" altLang="zh-CN" sz="1100"/>
                  <a:t>. C</a:t>
                </a:r>
                <a:r>
                  <a:rPr lang="en-US" altLang="zh-CN" sz="100"/>
                  <a:t> </a:t>
                </a:r>
                <a:r>
                  <a:rPr lang="en-US" altLang="zh-CN" sz="1100"/>
                  <a:t>hoose </a:t>
                </a:r>
                <a:r>
                  <a:rPr lang="en-US" altLang="zh-CN" sz="1100" dirty="0"/>
                  <a:t>the only option to retain text.</a:t>
                </a:r>
              </a:p>
              <a:p>
                <a:pPr algn="ctr">
                  <a:lnSpc>
                    <a:spcPct val="160000"/>
                  </a:lnSpc>
                </a:pPr>
                <a:r>
                  <a:rPr lang="en-US" altLang="zh-CN" sz="1100" dirty="0"/>
                  <a:t>……</a:t>
                </a:r>
              </a:p>
            </p:txBody>
          </p:sp>
          <p:sp>
            <p:nvSpPr>
              <p:cNvPr id="112" name="îṩḷïḋè">
                <a:extLst>
                  <a:ext uri="{FF2B5EF4-FFF2-40B4-BE49-F238E27FC236}">
                    <a16:creationId xmlns:a16="http://schemas.microsoft.com/office/drawing/2014/main" id="{6BAC2652-93D3-460E-A1C2-A301031A0DD3}"/>
                  </a:ext>
                </a:extLst>
              </p:cNvPr>
              <p:cNvSpPr txBox="1"/>
              <p:nvPr/>
            </p:nvSpPr>
            <p:spPr bwMode="auto">
              <a:xfrm>
                <a:off x="673100" y="3687515"/>
                <a:ext cx="3509735" cy="39417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en-US" altLang="zh-CN" sz="1600" b="1"/>
                  <a:t>Tex</a:t>
                </a:r>
                <a:r>
                  <a:rPr lang="en-US" altLang="zh-CN" sz="100" b="1"/>
                  <a:t> </a:t>
                </a:r>
                <a:r>
                  <a:rPr lang="en-US" altLang="zh-CN" sz="1600" b="1"/>
                  <a:t>t </a:t>
                </a:r>
                <a:r>
                  <a:rPr lang="en-US" altLang="zh-CN" sz="1600" b="1" dirty="0"/>
                  <a:t>here</a:t>
                </a:r>
              </a:p>
            </p:txBody>
          </p:sp>
          <p:sp>
            <p:nvSpPr>
              <p:cNvPr id="113" name="iṥliďê">
                <a:extLst>
                  <a:ext uri="{FF2B5EF4-FFF2-40B4-BE49-F238E27FC236}">
                    <a16:creationId xmlns:a16="http://schemas.microsoft.com/office/drawing/2014/main" id="{E632F477-E3A9-47DC-9B17-2FF72B06E79D}"/>
                  </a:ext>
                </a:extLst>
              </p:cNvPr>
              <p:cNvSpPr/>
              <p:nvPr/>
            </p:nvSpPr>
            <p:spPr bwMode="auto">
              <a:xfrm>
                <a:off x="673100" y="5183892"/>
                <a:ext cx="3509735" cy="96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60000"/>
                  </a:lnSpc>
                </a:pPr>
                <a:r>
                  <a:rPr lang="en-US" altLang="zh-CN" sz="1100" dirty="0"/>
                  <a:t>Copy paste fonts</a:t>
                </a:r>
                <a:r>
                  <a:rPr lang="en-US" altLang="zh-CN" sz="1100"/>
                  <a:t>. C</a:t>
                </a:r>
                <a:r>
                  <a:rPr lang="en-US" altLang="zh-CN" sz="100"/>
                  <a:t> </a:t>
                </a:r>
                <a:r>
                  <a:rPr lang="en-US" altLang="zh-CN" sz="1100"/>
                  <a:t>hoose </a:t>
                </a:r>
                <a:r>
                  <a:rPr lang="en-US" altLang="zh-CN" sz="1100" dirty="0"/>
                  <a:t>the only option to retain text.</a:t>
                </a:r>
              </a:p>
              <a:p>
                <a:pPr algn="ctr">
                  <a:lnSpc>
                    <a:spcPct val="160000"/>
                  </a:lnSpc>
                </a:pPr>
                <a:r>
                  <a:rPr lang="en-US" altLang="zh-CN" sz="1100" dirty="0"/>
                  <a:t>……</a:t>
                </a:r>
              </a:p>
            </p:txBody>
          </p:sp>
        </p:grpSp>
      </p:grpSp>
    </p:spTree>
    <p:custDataLst>
      <p:tags r:id="rId2"/>
    </p:custDataLst>
    <p:extLst>
      <p:ext uri="{BB962C8B-B14F-4D97-AF65-F5344CB8AC3E}">
        <p14:creationId xmlns:p14="http://schemas.microsoft.com/office/powerpoint/2010/main" val="28641095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ïṡľïḋê"/>
        <p:cNvGrpSpPr/>
        <p:nvPr/>
      </p:nvGrpSpPr>
      <p:grpSpPr>
        <a:xfrm>
          <a:off x="0" y="0"/>
          <a:ext cx="0" cy="0"/>
          <a:chOff x="0" y="0"/>
          <a:chExt cx="0" cy="0"/>
        </a:xfrm>
      </p:grpSpPr>
      <p:sp>
        <p:nvSpPr>
          <p:cNvPr id="2" name="ïs1ídé">
            <a:extLst>
              <a:ext uri="{FF2B5EF4-FFF2-40B4-BE49-F238E27FC236}">
                <a16:creationId xmlns:a16="http://schemas.microsoft.com/office/drawing/2014/main" id="{92BE9279-1D72-4591-B0B0-03811B43ECA7}"/>
              </a:ext>
            </a:extLst>
          </p:cNvPr>
          <p:cNvSpPr>
            <a:spLocks noGrp="1"/>
          </p:cNvSpPr>
          <p:nvPr>
            <p:ph type="title"/>
          </p:nvPr>
        </p:nvSpPr>
        <p:spPr/>
        <p:txBody>
          <a:bodyPr/>
          <a:lstStyle/>
          <a:p>
            <a:r>
              <a:rPr lang="en-US" altLang="zh-CN" dirty="0"/>
              <a:t>Click </a:t>
            </a:r>
            <a:r>
              <a:rPr lang="en-US" altLang="zh-CN"/>
              <a:t>to e</a:t>
            </a:r>
            <a:r>
              <a:rPr lang="en-US" altLang="zh-CN" sz="100"/>
              <a:t> </a:t>
            </a:r>
            <a:r>
              <a:rPr lang="en-US" altLang="zh-CN"/>
              <a:t>dit </a:t>
            </a:r>
            <a:r>
              <a:rPr lang="en-US" altLang="zh-CN" dirty="0"/>
              <a:t>Master title style</a:t>
            </a:r>
            <a:endParaRPr lang="zh-CN" altLang="en-US" dirty="0"/>
          </a:p>
        </p:txBody>
      </p:sp>
      <p:sp>
        <p:nvSpPr>
          <p:cNvPr id="3" name="îšḻîḍê">
            <a:extLst>
              <a:ext uri="{FF2B5EF4-FFF2-40B4-BE49-F238E27FC236}">
                <a16:creationId xmlns:a16="http://schemas.microsoft.com/office/drawing/2014/main" id="{C86EA410-6578-41DE-9116-346B6C870FED}"/>
              </a:ext>
            </a:extLst>
          </p:cNvPr>
          <p:cNvSpPr>
            <a:spLocks noGrp="1"/>
          </p:cNvSpPr>
          <p:nvPr>
            <p:ph type="ftr" sz="quarter" idx="11"/>
          </p:nvPr>
        </p:nvSpPr>
        <p:spPr/>
        <p:txBody>
          <a:bodyPr/>
          <a:lstStyle/>
          <a:p>
            <a:r>
              <a:rPr lang="zh-CN" altLang="en-US"/>
              <a:t>请在插入菜单</a:t>
            </a:r>
            <a:r>
              <a:rPr lang="zh-CN" altLang="en-US" sz="100"/>
              <a:t> </a:t>
            </a:r>
            <a:r>
              <a:rPr lang="en-US" altLang="zh-CN"/>
              <a:t>—</a:t>
            </a:r>
            <a:r>
              <a:rPr lang="zh-CN" altLang="en-US"/>
              <a:t>页眉和页脚中修改此文本</a:t>
            </a:r>
            <a:endParaRPr lang="zh-CN" altLang="en-US" dirty="0"/>
          </a:p>
        </p:txBody>
      </p:sp>
      <p:sp>
        <p:nvSpPr>
          <p:cNvPr id="4" name="îş1ídé">
            <a:extLst>
              <a:ext uri="{FF2B5EF4-FFF2-40B4-BE49-F238E27FC236}">
                <a16:creationId xmlns:a16="http://schemas.microsoft.com/office/drawing/2014/main" id="{54C7B971-10C4-47EA-BF25-058A5908CD4E}"/>
              </a:ext>
            </a:extLst>
          </p:cNvPr>
          <p:cNvSpPr>
            <a:spLocks noGrp="1"/>
          </p:cNvSpPr>
          <p:nvPr>
            <p:ph type="sldNum" sz="quarter" idx="12"/>
          </p:nvPr>
        </p:nvSpPr>
        <p:spPr/>
        <p:txBody>
          <a:bodyPr/>
          <a:lstStyle/>
          <a:p>
            <a:fld id="{5DD3DB80-B894-403A-B48E-6FDC1A72010E}" type="slidenum">
              <a:rPr lang="zh-CN" altLang="en-US" smtClean="0"/>
              <a:pPr/>
              <a:t>19</a:t>
            </a:fld>
            <a:r>
              <a:rPr lang="zh-CN" altLang="en-US" sz="100"/>
              <a:t> </a:t>
            </a:r>
          </a:p>
        </p:txBody>
      </p:sp>
      <p:cxnSp>
        <p:nvCxnSpPr>
          <p:cNvPr id="714" name="îṡliḓe">
            <a:extLst>
              <a:ext uri="{FF2B5EF4-FFF2-40B4-BE49-F238E27FC236}">
                <a16:creationId xmlns:a16="http://schemas.microsoft.com/office/drawing/2014/main" id="{0F5D3F12-ED15-41A4-B614-DDF16A72AE91}"/>
              </a:ext>
            </a:extLst>
          </p:cNvPr>
          <p:cNvCxnSpPr/>
          <p:nvPr/>
        </p:nvCxnSpPr>
        <p:spPr>
          <a:xfrm flipV="1">
            <a:off x="689149"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15" name="ïṩľîḋê">
            <a:extLst>
              <a:ext uri="{FF2B5EF4-FFF2-40B4-BE49-F238E27FC236}">
                <a16:creationId xmlns:a16="http://schemas.microsoft.com/office/drawing/2014/main" id="{7BEF0D77-54C2-44A2-B5F9-BE4BE85D7437}"/>
              </a:ext>
            </a:extLst>
          </p:cNvPr>
          <p:cNvCxnSpPr/>
          <p:nvPr/>
        </p:nvCxnSpPr>
        <p:spPr>
          <a:xfrm flipV="1">
            <a:off x="80297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16" name="ïş1îdê">
            <a:extLst>
              <a:ext uri="{FF2B5EF4-FFF2-40B4-BE49-F238E27FC236}">
                <a16:creationId xmlns:a16="http://schemas.microsoft.com/office/drawing/2014/main" id="{EF0402C0-7101-4521-A725-696D961AF633}"/>
              </a:ext>
            </a:extLst>
          </p:cNvPr>
          <p:cNvCxnSpPr/>
          <p:nvPr/>
        </p:nvCxnSpPr>
        <p:spPr>
          <a:xfrm flipV="1">
            <a:off x="916806"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17" name="î$ľiḋè">
            <a:extLst>
              <a:ext uri="{FF2B5EF4-FFF2-40B4-BE49-F238E27FC236}">
                <a16:creationId xmlns:a16="http://schemas.microsoft.com/office/drawing/2014/main" id="{28B5572B-8F5D-424A-9522-CD0052956265}"/>
              </a:ext>
            </a:extLst>
          </p:cNvPr>
          <p:cNvCxnSpPr/>
          <p:nvPr/>
        </p:nvCxnSpPr>
        <p:spPr>
          <a:xfrm flipV="1">
            <a:off x="103063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18" name="íṣ1íḑê">
            <a:extLst>
              <a:ext uri="{FF2B5EF4-FFF2-40B4-BE49-F238E27FC236}">
                <a16:creationId xmlns:a16="http://schemas.microsoft.com/office/drawing/2014/main" id="{080A6339-9A08-48B9-A3D6-0BC25871B4C5}"/>
              </a:ext>
            </a:extLst>
          </p:cNvPr>
          <p:cNvCxnSpPr/>
          <p:nvPr/>
        </p:nvCxnSpPr>
        <p:spPr>
          <a:xfrm flipV="1">
            <a:off x="114446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19" name="îṡlîḋê">
            <a:extLst>
              <a:ext uri="{FF2B5EF4-FFF2-40B4-BE49-F238E27FC236}">
                <a16:creationId xmlns:a16="http://schemas.microsoft.com/office/drawing/2014/main" id="{6811678A-F973-40E5-8B69-22F063E9A6BE}"/>
              </a:ext>
            </a:extLst>
          </p:cNvPr>
          <p:cNvCxnSpPr/>
          <p:nvPr/>
        </p:nvCxnSpPr>
        <p:spPr>
          <a:xfrm flipV="1">
            <a:off x="125829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20" name="îṧľïḓé">
            <a:extLst>
              <a:ext uri="{FF2B5EF4-FFF2-40B4-BE49-F238E27FC236}">
                <a16:creationId xmlns:a16="http://schemas.microsoft.com/office/drawing/2014/main" id="{2FD8642E-50DB-48FA-8B2A-3029943B9D89}"/>
              </a:ext>
            </a:extLst>
          </p:cNvPr>
          <p:cNvCxnSpPr/>
          <p:nvPr/>
        </p:nvCxnSpPr>
        <p:spPr>
          <a:xfrm flipV="1">
            <a:off x="1372120"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21" name="iSļiḓé">
            <a:extLst>
              <a:ext uri="{FF2B5EF4-FFF2-40B4-BE49-F238E27FC236}">
                <a16:creationId xmlns:a16="http://schemas.microsoft.com/office/drawing/2014/main" id="{A252E348-9BD2-4658-BB56-25627905A1AE}"/>
              </a:ext>
            </a:extLst>
          </p:cNvPr>
          <p:cNvCxnSpPr/>
          <p:nvPr/>
        </p:nvCxnSpPr>
        <p:spPr>
          <a:xfrm flipV="1">
            <a:off x="1485948"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22" name="ïšḻíďê">
            <a:extLst>
              <a:ext uri="{FF2B5EF4-FFF2-40B4-BE49-F238E27FC236}">
                <a16:creationId xmlns:a16="http://schemas.microsoft.com/office/drawing/2014/main" id="{6A15B2E6-1D69-4129-94E4-ABB278674910}"/>
              </a:ext>
            </a:extLst>
          </p:cNvPr>
          <p:cNvCxnSpPr/>
          <p:nvPr/>
        </p:nvCxnSpPr>
        <p:spPr>
          <a:xfrm flipV="1">
            <a:off x="159977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23" name="iṣlïďe">
            <a:extLst>
              <a:ext uri="{FF2B5EF4-FFF2-40B4-BE49-F238E27FC236}">
                <a16:creationId xmlns:a16="http://schemas.microsoft.com/office/drawing/2014/main" id="{83AC331E-9B41-45F7-9919-49D3D90F7414}"/>
              </a:ext>
            </a:extLst>
          </p:cNvPr>
          <p:cNvCxnSpPr/>
          <p:nvPr/>
        </p:nvCxnSpPr>
        <p:spPr>
          <a:xfrm flipV="1">
            <a:off x="1713605"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24" name="iśḻíďê">
            <a:extLst>
              <a:ext uri="{FF2B5EF4-FFF2-40B4-BE49-F238E27FC236}">
                <a16:creationId xmlns:a16="http://schemas.microsoft.com/office/drawing/2014/main" id="{B7B038A6-59C6-4738-BFED-B71C7E19036A}"/>
              </a:ext>
            </a:extLst>
          </p:cNvPr>
          <p:cNvCxnSpPr/>
          <p:nvPr/>
        </p:nvCxnSpPr>
        <p:spPr>
          <a:xfrm flipV="1">
            <a:off x="1827433"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25" name="îsḷidè">
            <a:extLst>
              <a:ext uri="{FF2B5EF4-FFF2-40B4-BE49-F238E27FC236}">
                <a16:creationId xmlns:a16="http://schemas.microsoft.com/office/drawing/2014/main" id="{5F5520B5-F689-4A70-ACFD-579828BF1FFC}"/>
              </a:ext>
            </a:extLst>
          </p:cNvPr>
          <p:cNvCxnSpPr/>
          <p:nvPr/>
        </p:nvCxnSpPr>
        <p:spPr>
          <a:xfrm flipV="1">
            <a:off x="194126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26" name="íŝľïďe">
            <a:extLst>
              <a:ext uri="{FF2B5EF4-FFF2-40B4-BE49-F238E27FC236}">
                <a16:creationId xmlns:a16="http://schemas.microsoft.com/office/drawing/2014/main" id="{4891C79E-3900-49EE-B8EF-67517AE6B216}"/>
              </a:ext>
            </a:extLst>
          </p:cNvPr>
          <p:cNvCxnSpPr/>
          <p:nvPr/>
        </p:nvCxnSpPr>
        <p:spPr>
          <a:xfrm flipV="1">
            <a:off x="205509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27" name="ï$ḻîḑé">
            <a:extLst>
              <a:ext uri="{FF2B5EF4-FFF2-40B4-BE49-F238E27FC236}">
                <a16:creationId xmlns:a16="http://schemas.microsoft.com/office/drawing/2014/main" id="{6BFC28B0-4FF5-4005-8B48-9E346CC93398}"/>
              </a:ext>
            </a:extLst>
          </p:cNvPr>
          <p:cNvCxnSpPr/>
          <p:nvPr/>
        </p:nvCxnSpPr>
        <p:spPr>
          <a:xfrm flipV="1">
            <a:off x="2168920"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28" name="iṡľíḑé">
            <a:extLst>
              <a:ext uri="{FF2B5EF4-FFF2-40B4-BE49-F238E27FC236}">
                <a16:creationId xmlns:a16="http://schemas.microsoft.com/office/drawing/2014/main" id="{05EF0194-C971-448E-B63A-59ABB77537B4}"/>
              </a:ext>
            </a:extLst>
          </p:cNvPr>
          <p:cNvCxnSpPr/>
          <p:nvPr/>
        </p:nvCxnSpPr>
        <p:spPr>
          <a:xfrm flipV="1">
            <a:off x="228274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29" name="îşḻíḓè">
            <a:extLst>
              <a:ext uri="{FF2B5EF4-FFF2-40B4-BE49-F238E27FC236}">
                <a16:creationId xmlns:a16="http://schemas.microsoft.com/office/drawing/2014/main" id="{4CA4FC82-341D-4194-9BBD-8B793F7D9CB4}"/>
              </a:ext>
            </a:extLst>
          </p:cNvPr>
          <p:cNvCxnSpPr/>
          <p:nvPr/>
        </p:nvCxnSpPr>
        <p:spPr>
          <a:xfrm flipV="1">
            <a:off x="2396576"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30" name="îṧ1ïḍé">
            <a:extLst>
              <a:ext uri="{FF2B5EF4-FFF2-40B4-BE49-F238E27FC236}">
                <a16:creationId xmlns:a16="http://schemas.microsoft.com/office/drawing/2014/main" id="{2DE533EA-D800-4508-9589-9B27489AF80E}"/>
              </a:ext>
            </a:extLst>
          </p:cNvPr>
          <p:cNvCxnSpPr/>
          <p:nvPr/>
        </p:nvCxnSpPr>
        <p:spPr>
          <a:xfrm flipV="1">
            <a:off x="251040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31" name="îṥḻîďe">
            <a:extLst>
              <a:ext uri="{FF2B5EF4-FFF2-40B4-BE49-F238E27FC236}">
                <a16:creationId xmlns:a16="http://schemas.microsoft.com/office/drawing/2014/main" id="{7CE92455-A376-483D-8017-8ECF16188D8A}"/>
              </a:ext>
            </a:extLst>
          </p:cNvPr>
          <p:cNvCxnSpPr/>
          <p:nvPr/>
        </p:nvCxnSpPr>
        <p:spPr>
          <a:xfrm flipV="1">
            <a:off x="2624233"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32" name="íṡḷiďé">
            <a:extLst>
              <a:ext uri="{FF2B5EF4-FFF2-40B4-BE49-F238E27FC236}">
                <a16:creationId xmlns:a16="http://schemas.microsoft.com/office/drawing/2014/main" id="{20BDBD19-ADC9-41CD-83FC-3D3110975DF1}"/>
              </a:ext>
            </a:extLst>
          </p:cNvPr>
          <p:cNvCxnSpPr/>
          <p:nvPr/>
        </p:nvCxnSpPr>
        <p:spPr>
          <a:xfrm flipV="1">
            <a:off x="273806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33" name="iṣḷiḋè">
            <a:extLst>
              <a:ext uri="{FF2B5EF4-FFF2-40B4-BE49-F238E27FC236}">
                <a16:creationId xmlns:a16="http://schemas.microsoft.com/office/drawing/2014/main" id="{6B5A97EC-2383-4FB4-A823-8ABBD5C773F8}"/>
              </a:ext>
            </a:extLst>
          </p:cNvPr>
          <p:cNvCxnSpPr/>
          <p:nvPr/>
        </p:nvCxnSpPr>
        <p:spPr>
          <a:xfrm flipV="1">
            <a:off x="2851889"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34" name="í$ļiḑe">
            <a:extLst>
              <a:ext uri="{FF2B5EF4-FFF2-40B4-BE49-F238E27FC236}">
                <a16:creationId xmlns:a16="http://schemas.microsoft.com/office/drawing/2014/main" id="{6C5066B8-EF9D-46E9-9BD7-89944200C5E1}"/>
              </a:ext>
            </a:extLst>
          </p:cNvPr>
          <p:cNvCxnSpPr/>
          <p:nvPr/>
        </p:nvCxnSpPr>
        <p:spPr>
          <a:xfrm flipV="1">
            <a:off x="2965718"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35" name="ísḻiḋe">
            <a:extLst>
              <a:ext uri="{FF2B5EF4-FFF2-40B4-BE49-F238E27FC236}">
                <a16:creationId xmlns:a16="http://schemas.microsoft.com/office/drawing/2014/main" id="{B8E80E4F-3D89-441B-9BD0-A62226311BE0}"/>
              </a:ext>
            </a:extLst>
          </p:cNvPr>
          <p:cNvCxnSpPr/>
          <p:nvPr/>
        </p:nvCxnSpPr>
        <p:spPr>
          <a:xfrm flipV="1">
            <a:off x="307954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36" name="ïSḷíḓe">
            <a:extLst>
              <a:ext uri="{FF2B5EF4-FFF2-40B4-BE49-F238E27FC236}">
                <a16:creationId xmlns:a16="http://schemas.microsoft.com/office/drawing/2014/main" id="{2E41F7CD-BD0B-4221-821E-32413F2761DC}"/>
              </a:ext>
            </a:extLst>
          </p:cNvPr>
          <p:cNvCxnSpPr/>
          <p:nvPr/>
        </p:nvCxnSpPr>
        <p:spPr>
          <a:xfrm flipV="1">
            <a:off x="3193375"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37" name="ïṥļide">
            <a:extLst>
              <a:ext uri="{FF2B5EF4-FFF2-40B4-BE49-F238E27FC236}">
                <a16:creationId xmlns:a16="http://schemas.microsoft.com/office/drawing/2014/main" id="{F6CC99C2-3E79-4CAB-A72A-D5B3F97D5B86}"/>
              </a:ext>
            </a:extLst>
          </p:cNvPr>
          <p:cNvCxnSpPr/>
          <p:nvPr/>
        </p:nvCxnSpPr>
        <p:spPr>
          <a:xfrm flipV="1">
            <a:off x="3307203"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38" name="ïṣḻíde">
            <a:extLst>
              <a:ext uri="{FF2B5EF4-FFF2-40B4-BE49-F238E27FC236}">
                <a16:creationId xmlns:a16="http://schemas.microsoft.com/office/drawing/2014/main" id="{B59F7EBF-602A-47D2-808D-D88016FFB818}"/>
              </a:ext>
            </a:extLst>
          </p:cNvPr>
          <p:cNvCxnSpPr/>
          <p:nvPr/>
        </p:nvCxnSpPr>
        <p:spPr>
          <a:xfrm flipV="1">
            <a:off x="342103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39" name="îṣľîḋe">
            <a:extLst>
              <a:ext uri="{FF2B5EF4-FFF2-40B4-BE49-F238E27FC236}">
                <a16:creationId xmlns:a16="http://schemas.microsoft.com/office/drawing/2014/main" id="{93A7A3AA-4C74-497F-B407-CA2447258861}"/>
              </a:ext>
            </a:extLst>
          </p:cNvPr>
          <p:cNvCxnSpPr/>
          <p:nvPr/>
        </p:nvCxnSpPr>
        <p:spPr>
          <a:xfrm flipV="1">
            <a:off x="3534860"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40" name="ïṥ1ïḋê">
            <a:extLst>
              <a:ext uri="{FF2B5EF4-FFF2-40B4-BE49-F238E27FC236}">
                <a16:creationId xmlns:a16="http://schemas.microsoft.com/office/drawing/2014/main" id="{6377F289-BB5C-4A15-B892-E1BC5A63740B}"/>
              </a:ext>
            </a:extLst>
          </p:cNvPr>
          <p:cNvCxnSpPr/>
          <p:nvPr/>
        </p:nvCxnSpPr>
        <p:spPr>
          <a:xfrm flipV="1">
            <a:off x="3648688"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41" name="íś1îdê">
            <a:extLst>
              <a:ext uri="{FF2B5EF4-FFF2-40B4-BE49-F238E27FC236}">
                <a16:creationId xmlns:a16="http://schemas.microsoft.com/office/drawing/2014/main" id="{435F38CD-DAC7-40FF-ADC9-3F2623441C30}"/>
              </a:ext>
            </a:extLst>
          </p:cNvPr>
          <p:cNvCxnSpPr/>
          <p:nvPr/>
        </p:nvCxnSpPr>
        <p:spPr>
          <a:xfrm flipV="1">
            <a:off x="376251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42" name="ïṧḷîḋé">
            <a:extLst>
              <a:ext uri="{FF2B5EF4-FFF2-40B4-BE49-F238E27FC236}">
                <a16:creationId xmlns:a16="http://schemas.microsoft.com/office/drawing/2014/main" id="{CE11C778-AB21-448E-93B5-A4FE207FCB2C}"/>
              </a:ext>
            </a:extLst>
          </p:cNvPr>
          <p:cNvCxnSpPr/>
          <p:nvPr/>
        </p:nvCxnSpPr>
        <p:spPr>
          <a:xfrm flipV="1">
            <a:off x="387634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43" name="ï$líḍê">
            <a:extLst>
              <a:ext uri="{FF2B5EF4-FFF2-40B4-BE49-F238E27FC236}">
                <a16:creationId xmlns:a16="http://schemas.microsoft.com/office/drawing/2014/main" id="{6EDF3C73-22A6-4D62-83C4-974EEEF35D38}"/>
              </a:ext>
            </a:extLst>
          </p:cNvPr>
          <p:cNvCxnSpPr/>
          <p:nvPr/>
        </p:nvCxnSpPr>
        <p:spPr>
          <a:xfrm flipV="1">
            <a:off x="399017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44" name="isḻïḍé">
            <a:extLst>
              <a:ext uri="{FF2B5EF4-FFF2-40B4-BE49-F238E27FC236}">
                <a16:creationId xmlns:a16="http://schemas.microsoft.com/office/drawing/2014/main" id="{66A281A5-82E2-4DE0-AD51-6E27D3967C44}"/>
              </a:ext>
            </a:extLst>
          </p:cNvPr>
          <p:cNvCxnSpPr/>
          <p:nvPr/>
        </p:nvCxnSpPr>
        <p:spPr>
          <a:xfrm flipV="1">
            <a:off x="4104003"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45" name="îśḷîḍè">
            <a:extLst>
              <a:ext uri="{FF2B5EF4-FFF2-40B4-BE49-F238E27FC236}">
                <a16:creationId xmlns:a16="http://schemas.microsoft.com/office/drawing/2014/main" id="{1AE7BA49-BA27-466A-A209-C6DC2E0E3E5E}"/>
              </a:ext>
            </a:extLst>
          </p:cNvPr>
          <p:cNvCxnSpPr/>
          <p:nvPr/>
        </p:nvCxnSpPr>
        <p:spPr>
          <a:xfrm flipV="1">
            <a:off x="421783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46" name="isľïďé">
            <a:extLst>
              <a:ext uri="{FF2B5EF4-FFF2-40B4-BE49-F238E27FC236}">
                <a16:creationId xmlns:a16="http://schemas.microsoft.com/office/drawing/2014/main" id="{ADB1210E-1E15-4925-94F6-8C74339FB20C}"/>
              </a:ext>
            </a:extLst>
          </p:cNvPr>
          <p:cNvCxnSpPr/>
          <p:nvPr/>
        </p:nvCxnSpPr>
        <p:spPr>
          <a:xfrm flipV="1">
            <a:off x="4331660"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47" name="isľiḍè">
            <a:extLst>
              <a:ext uri="{FF2B5EF4-FFF2-40B4-BE49-F238E27FC236}">
                <a16:creationId xmlns:a16="http://schemas.microsoft.com/office/drawing/2014/main" id="{A98A9C43-8953-4871-8FB4-EDA9C591A8BB}"/>
              </a:ext>
            </a:extLst>
          </p:cNvPr>
          <p:cNvCxnSpPr/>
          <p:nvPr/>
        </p:nvCxnSpPr>
        <p:spPr>
          <a:xfrm flipV="1">
            <a:off x="444548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48" name="ísľîḓe">
            <a:extLst>
              <a:ext uri="{FF2B5EF4-FFF2-40B4-BE49-F238E27FC236}">
                <a16:creationId xmlns:a16="http://schemas.microsoft.com/office/drawing/2014/main" id="{38A8F834-BCBB-4606-9269-6CCAC3B96258}"/>
              </a:ext>
            </a:extLst>
          </p:cNvPr>
          <p:cNvCxnSpPr/>
          <p:nvPr/>
        </p:nvCxnSpPr>
        <p:spPr>
          <a:xfrm flipV="1">
            <a:off x="4559316"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49" name="ïṡ1iḑe">
            <a:extLst>
              <a:ext uri="{FF2B5EF4-FFF2-40B4-BE49-F238E27FC236}">
                <a16:creationId xmlns:a16="http://schemas.microsoft.com/office/drawing/2014/main" id="{170391EA-BBD8-45C4-A99A-32C2B018606F}"/>
              </a:ext>
            </a:extLst>
          </p:cNvPr>
          <p:cNvCxnSpPr/>
          <p:nvPr/>
        </p:nvCxnSpPr>
        <p:spPr>
          <a:xfrm flipV="1">
            <a:off x="467314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50" name="ïṡḻîdê">
            <a:extLst>
              <a:ext uri="{FF2B5EF4-FFF2-40B4-BE49-F238E27FC236}">
                <a16:creationId xmlns:a16="http://schemas.microsoft.com/office/drawing/2014/main" id="{A7F00522-59C9-48EB-9F11-D2B562B6D0A3}"/>
              </a:ext>
            </a:extLst>
          </p:cNvPr>
          <p:cNvCxnSpPr/>
          <p:nvPr/>
        </p:nvCxnSpPr>
        <p:spPr>
          <a:xfrm flipV="1">
            <a:off x="478697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51" name="i$lîḑe">
            <a:extLst>
              <a:ext uri="{FF2B5EF4-FFF2-40B4-BE49-F238E27FC236}">
                <a16:creationId xmlns:a16="http://schemas.microsoft.com/office/drawing/2014/main" id="{2DF1BBC7-D84C-41AE-A05F-94DE20DF8CC2}"/>
              </a:ext>
            </a:extLst>
          </p:cNvPr>
          <p:cNvCxnSpPr/>
          <p:nvPr/>
        </p:nvCxnSpPr>
        <p:spPr>
          <a:xfrm flipV="1">
            <a:off x="490080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52" name="íslîḍè">
            <a:extLst>
              <a:ext uri="{FF2B5EF4-FFF2-40B4-BE49-F238E27FC236}">
                <a16:creationId xmlns:a16="http://schemas.microsoft.com/office/drawing/2014/main" id="{A23A53B3-63FD-4548-84B2-BEEC118585D1}"/>
              </a:ext>
            </a:extLst>
          </p:cNvPr>
          <p:cNvCxnSpPr/>
          <p:nvPr/>
        </p:nvCxnSpPr>
        <p:spPr>
          <a:xfrm flipV="1">
            <a:off x="5014630"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53" name="íSļîḑe">
            <a:extLst>
              <a:ext uri="{FF2B5EF4-FFF2-40B4-BE49-F238E27FC236}">
                <a16:creationId xmlns:a16="http://schemas.microsoft.com/office/drawing/2014/main" id="{89730C03-BA6E-43DB-8A97-3858F2F79479}"/>
              </a:ext>
            </a:extLst>
          </p:cNvPr>
          <p:cNvCxnSpPr/>
          <p:nvPr/>
        </p:nvCxnSpPr>
        <p:spPr>
          <a:xfrm flipV="1">
            <a:off x="5128458"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54" name="išļîḓe">
            <a:extLst>
              <a:ext uri="{FF2B5EF4-FFF2-40B4-BE49-F238E27FC236}">
                <a16:creationId xmlns:a16="http://schemas.microsoft.com/office/drawing/2014/main" id="{DF34D3DD-D136-4A56-BA66-E610238A7CE9}"/>
              </a:ext>
            </a:extLst>
          </p:cNvPr>
          <p:cNvCxnSpPr/>
          <p:nvPr/>
        </p:nvCxnSpPr>
        <p:spPr>
          <a:xfrm flipV="1">
            <a:off x="524228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55" name="işľíďé">
            <a:extLst>
              <a:ext uri="{FF2B5EF4-FFF2-40B4-BE49-F238E27FC236}">
                <a16:creationId xmlns:a16="http://schemas.microsoft.com/office/drawing/2014/main" id="{474F99EF-FBA5-4117-AEB1-92EB6E88C13B}"/>
              </a:ext>
            </a:extLst>
          </p:cNvPr>
          <p:cNvCxnSpPr/>
          <p:nvPr/>
        </p:nvCxnSpPr>
        <p:spPr>
          <a:xfrm flipV="1">
            <a:off x="5356115"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56" name="îṩḻîďè">
            <a:extLst>
              <a:ext uri="{FF2B5EF4-FFF2-40B4-BE49-F238E27FC236}">
                <a16:creationId xmlns:a16="http://schemas.microsoft.com/office/drawing/2014/main" id="{60CE5C0D-9711-4ABB-B877-1C9F12F88FFD}"/>
              </a:ext>
            </a:extLst>
          </p:cNvPr>
          <p:cNvCxnSpPr/>
          <p:nvPr/>
        </p:nvCxnSpPr>
        <p:spPr>
          <a:xfrm flipV="1">
            <a:off x="5469943"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57" name="iṧļíḍé">
            <a:extLst>
              <a:ext uri="{FF2B5EF4-FFF2-40B4-BE49-F238E27FC236}">
                <a16:creationId xmlns:a16="http://schemas.microsoft.com/office/drawing/2014/main" id="{0F87B0EA-0888-4A7C-86E5-3BE10469429D}"/>
              </a:ext>
            </a:extLst>
          </p:cNvPr>
          <p:cNvCxnSpPr/>
          <p:nvPr/>
        </p:nvCxnSpPr>
        <p:spPr>
          <a:xfrm flipV="1">
            <a:off x="558377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58" name="ïṩḻïḑé">
            <a:extLst>
              <a:ext uri="{FF2B5EF4-FFF2-40B4-BE49-F238E27FC236}">
                <a16:creationId xmlns:a16="http://schemas.microsoft.com/office/drawing/2014/main" id="{E995ED6A-7186-4FF8-83F2-C29763A77F10}"/>
              </a:ext>
            </a:extLst>
          </p:cNvPr>
          <p:cNvCxnSpPr/>
          <p:nvPr/>
        </p:nvCxnSpPr>
        <p:spPr>
          <a:xfrm flipV="1">
            <a:off x="569760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59" name="íśḻîḋe">
            <a:extLst>
              <a:ext uri="{FF2B5EF4-FFF2-40B4-BE49-F238E27FC236}">
                <a16:creationId xmlns:a16="http://schemas.microsoft.com/office/drawing/2014/main" id="{264E5771-7092-44A3-BC65-77E85639D13C}"/>
              </a:ext>
            </a:extLst>
          </p:cNvPr>
          <p:cNvCxnSpPr/>
          <p:nvPr/>
        </p:nvCxnSpPr>
        <p:spPr>
          <a:xfrm flipV="1">
            <a:off x="5811430"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60" name="íṩļiḍé">
            <a:extLst>
              <a:ext uri="{FF2B5EF4-FFF2-40B4-BE49-F238E27FC236}">
                <a16:creationId xmlns:a16="http://schemas.microsoft.com/office/drawing/2014/main" id="{6CC3CB9E-99B9-4E6C-B757-819FBF400E78}"/>
              </a:ext>
            </a:extLst>
          </p:cNvPr>
          <p:cNvCxnSpPr/>
          <p:nvPr/>
        </p:nvCxnSpPr>
        <p:spPr>
          <a:xfrm flipV="1">
            <a:off x="5925258"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61" name="îslïḓe">
            <a:extLst>
              <a:ext uri="{FF2B5EF4-FFF2-40B4-BE49-F238E27FC236}">
                <a16:creationId xmlns:a16="http://schemas.microsoft.com/office/drawing/2014/main" id="{C97C592A-E2DD-4E5C-AC2E-A97901206EA8}"/>
              </a:ext>
            </a:extLst>
          </p:cNvPr>
          <p:cNvCxnSpPr/>
          <p:nvPr/>
        </p:nvCxnSpPr>
        <p:spPr>
          <a:xfrm flipV="1">
            <a:off x="6039086"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62" name="íš1íḍé">
            <a:extLst>
              <a:ext uri="{FF2B5EF4-FFF2-40B4-BE49-F238E27FC236}">
                <a16:creationId xmlns:a16="http://schemas.microsoft.com/office/drawing/2014/main" id="{29FCDE14-C47D-44D6-87F8-33B084A2682F}"/>
              </a:ext>
            </a:extLst>
          </p:cNvPr>
          <p:cNvCxnSpPr/>
          <p:nvPr/>
        </p:nvCxnSpPr>
        <p:spPr>
          <a:xfrm flipV="1">
            <a:off x="615291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63" name="îşļïďè">
            <a:extLst>
              <a:ext uri="{FF2B5EF4-FFF2-40B4-BE49-F238E27FC236}">
                <a16:creationId xmlns:a16="http://schemas.microsoft.com/office/drawing/2014/main" id="{A312C0D3-9CA8-425D-ABC6-6EDB4D1529BE}"/>
              </a:ext>
            </a:extLst>
          </p:cNvPr>
          <p:cNvCxnSpPr/>
          <p:nvPr/>
        </p:nvCxnSpPr>
        <p:spPr>
          <a:xfrm flipV="1">
            <a:off x="6266743"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64" name="iṡľïḓé">
            <a:extLst>
              <a:ext uri="{FF2B5EF4-FFF2-40B4-BE49-F238E27FC236}">
                <a16:creationId xmlns:a16="http://schemas.microsoft.com/office/drawing/2014/main" id="{C551CE2A-9592-465F-81B0-177451E39EB3}"/>
              </a:ext>
            </a:extLst>
          </p:cNvPr>
          <p:cNvCxnSpPr/>
          <p:nvPr/>
        </p:nvCxnSpPr>
        <p:spPr>
          <a:xfrm flipV="1">
            <a:off x="638057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65" name="îS1ïḋè">
            <a:extLst>
              <a:ext uri="{FF2B5EF4-FFF2-40B4-BE49-F238E27FC236}">
                <a16:creationId xmlns:a16="http://schemas.microsoft.com/office/drawing/2014/main" id="{D83308A6-C0D6-4699-B31B-807322FDD1AC}"/>
              </a:ext>
            </a:extLst>
          </p:cNvPr>
          <p:cNvCxnSpPr/>
          <p:nvPr/>
        </p:nvCxnSpPr>
        <p:spPr>
          <a:xfrm flipV="1">
            <a:off x="6494399"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66" name="ïşľiḓe">
            <a:extLst>
              <a:ext uri="{FF2B5EF4-FFF2-40B4-BE49-F238E27FC236}">
                <a16:creationId xmlns:a16="http://schemas.microsoft.com/office/drawing/2014/main" id="{F53F3F57-BE39-44E6-B50C-A6C40ADC778B}"/>
              </a:ext>
            </a:extLst>
          </p:cNvPr>
          <p:cNvCxnSpPr/>
          <p:nvPr/>
        </p:nvCxnSpPr>
        <p:spPr>
          <a:xfrm flipV="1">
            <a:off x="6608228"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67" name="íSļïḍé">
            <a:extLst>
              <a:ext uri="{FF2B5EF4-FFF2-40B4-BE49-F238E27FC236}">
                <a16:creationId xmlns:a16="http://schemas.microsoft.com/office/drawing/2014/main" id="{4800D87C-03A2-47CC-A5B7-D93A8FCAC521}"/>
              </a:ext>
            </a:extLst>
          </p:cNvPr>
          <p:cNvCxnSpPr/>
          <p:nvPr/>
        </p:nvCxnSpPr>
        <p:spPr>
          <a:xfrm flipV="1">
            <a:off x="672205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68" name="îSḻidè">
            <a:extLst>
              <a:ext uri="{FF2B5EF4-FFF2-40B4-BE49-F238E27FC236}">
                <a16:creationId xmlns:a16="http://schemas.microsoft.com/office/drawing/2014/main" id="{FAA60E6B-CFC7-4FE7-9452-DA440BF17B98}"/>
              </a:ext>
            </a:extLst>
          </p:cNvPr>
          <p:cNvCxnSpPr/>
          <p:nvPr/>
        </p:nvCxnSpPr>
        <p:spPr>
          <a:xfrm flipV="1">
            <a:off x="6835885"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69" name="îśļide">
            <a:extLst>
              <a:ext uri="{FF2B5EF4-FFF2-40B4-BE49-F238E27FC236}">
                <a16:creationId xmlns:a16="http://schemas.microsoft.com/office/drawing/2014/main" id="{3BC8878C-C7CC-4F49-8E32-352EED7634B5}"/>
              </a:ext>
            </a:extLst>
          </p:cNvPr>
          <p:cNvCxnSpPr/>
          <p:nvPr/>
        </p:nvCxnSpPr>
        <p:spPr>
          <a:xfrm flipV="1">
            <a:off x="694971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70" name="iŝlîdé">
            <a:extLst>
              <a:ext uri="{FF2B5EF4-FFF2-40B4-BE49-F238E27FC236}">
                <a16:creationId xmlns:a16="http://schemas.microsoft.com/office/drawing/2014/main" id="{327342CD-8719-4389-888C-0A170CC2D10A}"/>
              </a:ext>
            </a:extLst>
          </p:cNvPr>
          <p:cNvCxnSpPr/>
          <p:nvPr/>
        </p:nvCxnSpPr>
        <p:spPr>
          <a:xfrm flipV="1">
            <a:off x="706354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71" name="ïṥļîḑè">
            <a:extLst>
              <a:ext uri="{FF2B5EF4-FFF2-40B4-BE49-F238E27FC236}">
                <a16:creationId xmlns:a16="http://schemas.microsoft.com/office/drawing/2014/main" id="{2817F04B-51AA-4E2A-9808-985D0C99C712}"/>
              </a:ext>
            </a:extLst>
          </p:cNvPr>
          <p:cNvCxnSpPr/>
          <p:nvPr/>
        </p:nvCxnSpPr>
        <p:spPr>
          <a:xfrm flipV="1">
            <a:off x="7177370"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72" name="íṥlíḑê">
            <a:extLst>
              <a:ext uri="{FF2B5EF4-FFF2-40B4-BE49-F238E27FC236}">
                <a16:creationId xmlns:a16="http://schemas.microsoft.com/office/drawing/2014/main" id="{DE34A86F-7FBC-4897-9049-1D13F42FB959}"/>
              </a:ext>
            </a:extLst>
          </p:cNvPr>
          <p:cNvCxnSpPr/>
          <p:nvPr/>
        </p:nvCxnSpPr>
        <p:spPr>
          <a:xfrm flipV="1">
            <a:off x="7291198"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73" name="îśḻîḋé">
            <a:extLst>
              <a:ext uri="{FF2B5EF4-FFF2-40B4-BE49-F238E27FC236}">
                <a16:creationId xmlns:a16="http://schemas.microsoft.com/office/drawing/2014/main" id="{4B8E00A1-11C0-428C-A135-703FD0FC738B}"/>
              </a:ext>
            </a:extLst>
          </p:cNvPr>
          <p:cNvCxnSpPr/>
          <p:nvPr/>
        </p:nvCxnSpPr>
        <p:spPr>
          <a:xfrm flipV="1">
            <a:off x="740502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74" name="ïṩḻïdê">
            <a:extLst>
              <a:ext uri="{FF2B5EF4-FFF2-40B4-BE49-F238E27FC236}">
                <a16:creationId xmlns:a16="http://schemas.microsoft.com/office/drawing/2014/main" id="{49E95A34-E744-4D74-8475-DB2893414C97}"/>
              </a:ext>
            </a:extLst>
          </p:cNvPr>
          <p:cNvCxnSpPr/>
          <p:nvPr/>
        </p:nvCxnSpPr>
        <p:spPr>
          <a:xfrm flipV="1">
            <a:off x="7518855"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75" name="ïṥḻíḓê">
            <a:extLst>
              <a:ext uri="{FF2B5EF4-FFF2-40B4-BE49-F238E27FC236}">
                <a16:creationId xmlns:a16="http://schemas.microsoft.com/office/drawing/2014/main" id="{3FD920F9-3852-4148-97DD-B9D571600B15}"/>
              </a:ext>
            </a:extLst>
          </p:cNvPr>
          <p:cNvCxnSpPr/>
          <p:nvPr/>
        </p:nvCxnSpPr>
        <p:spPr>
          <a:xfrm flipV="1">
            <a:off x="763268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76" name="ïṧḻïďê">
            <a:extLst>
              <a:ext uri="{FF2B5EF4-FFF2-40B4-BE49-F238E27FC236}">
                <a16:creationId xmlns:a16="http://schemas.microsoft.com/office/drawing/2014/main" id="{EF6494C3-5247-435F-97FB-01D2A9246A35}"/>
              </a:ext>
            </a:extLst>
          </p:cNvPr>
          <p:cNvCxnSpPr/>
          <p:nvPr/>
        </p:nvCxnSpPr>
        <p:spPr>
          <a:xfrm flipV="1">
            <a:off x="7746513"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77" name="işľíḓé">
            <a:extLst>
              <a:ext uri="{FF2B5EF4-FFF2-40B4-BE49-F238E27FC236}">
                <a16:creationId xmlns:a16="http://schemas.microsoft.com/office/drawing/2014/main" id="{769D3497-5BB2-4145-8821-0B172794E3AD}"/>
              </a:ext>
            </a:extLst>
          </p:cNvPr>
          <p:cNvCxnSpPr/>
          <p:nvPr/>
        </p:nvCxnSpPr>
        <p:spPr>
          <a:xfrm flipV="1">
            <a:off x="786034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78" name="iṡļïḑê">
            <a:extLst>
              <a:ext uri="{FF2B5EF4-FFF2-40B4-BE49-F238E27FC236}">
                <a16:creationId xmlns:a16="http://schemas.microsoft.com/office/drawing/2014/main" id="{31302E7C-B4FE-49D2-9A0D-67089BB4D3E2}"/>
              </a:ext>
            </a:extLst>
          </p:cNvPr>
          <p:cNvCxnSpPr/>
          <p:nvPr/>
        </p:nvCxnSpPr>
        <p:spPr>
          <a:xfrm flipV="1">
            <a:off x="7974170"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79" name="iṥľîḓé">
            <a:extLst>
              <a:ext uri="{FF2B5EF4-FFF2-40B4-BE49-F238E27FC236}">
                <a16:creationId xmlns:a16="http://schemas.microsoft.com/office/drawing/2014/main" id="{9399C075-0550-4CCB-8AC1-A0D68B71C95E}"/>
              </a:ext>
            </a:extLst>
          </p:cNvPr>
          <p:cNvCxnSpPr/>
          <p:nvPr/>
        </p:nvCxnSpPr>
        <p:spPr>
          <a:xfrm flipV="1">
            <a:off x="808799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80" name="ïsľîḓe">
            <a:extLst>
              <a:ext uri="{FF2B5EF4-FFF2-40B4-BE49-F238E27FC236}">
                <a16:creationId xmlns:a16="http://schemas.microsoft.com/office/drawing/2014/main" id="{0F331B80-C406-4BCD-9124-8D1D24ABED21}"/>
              </a:ext>
            </a:extLst>
          </p:cNvPr>
          <p:cNvCxnSpPr/>
          <p:nvPr/>
        </p:nvCxnSpPr>
        <p:spPr>
          <a:xfrm flipV="1">
            <a:off x="8201826"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81" name="îşḷiḍê">
            <a:extLst>
              <a:ext uri="{FF2B5EF4-FFF2-40B4-BE49-F238E27FC236}">
                <a16:creationId xmlns:a16="http://schemas.microsoft.com/office/drawing/2014/main" id="{9F7990FA-2A5D-45D5-93D7-EA8B25B47C31}"/>
              </a:ext>
            </a:extLst>
          </p:cNvPr>
          <p:cNvCxnSpPr/>
          <p:nvPr/>
        </p:nvCxnSpPr>
        <p:spPr>
          <a:xfrm flipV="1">
            <a:off x="831565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82" name="ïŝliḑè">
            <a:extLst>
              <a:ext uri="{FF2B5EF4-FFF2-40B4-BE49-F238E27FC236}">
                <a16:creationId xmlns:a16="http://schemas.microsoft.com/office/drawing/2014/main" id="{9108A534-C5CB-4646-88FB-B65E9BA68856}"/>
              </a:ext>
            </a:extLst>
          </p:cNvPr>
          <p:cNvCxnSpPr/>
          <p:nvPr/>
        </p:nvCxnSpPr>
        <p:spPr>
          <a:xfrm flipV="1">
            <a:off x="842948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83" name="íṡḷíḑê">
            <a:extLst>
              <a:ext uri="{FF2B5EF4-FFF2-40B4-BE49-F238E27FC236}">
                <a16:creationId xmlns:a16="http://schemas.microsoft.com/office/drawing/2014/main" id="{5EEC88F1-B802-49D6-B88B-49B667801443}"/>
              </a:ext>
            </a:extLst>
          </p:cNvPr>
          <p:cNvCxnSpPr/>
          <p:nvPr/>
        </p:nvCxnSpPr>
        <p:spPr>
          <a:xfrm flipV="1">
            <a:off x="8543312"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84" name="íSḻiḋè">
            <a:extLst>
              <a:ext uri="{FF2B5EF4-FFF2-40B4-BE49-F238E27FC236}">
                <a16:creationId xmlns:a16="http://schemas.microsoft.com/office/drawing/2014/main" id="{CEA31517-24D7-4676-8935-54C910E2ECA7}"/>
              </a:ext>
            </a:extLst>
          </p:cNvPr>
          <p:cNvCxnSpPr/>
          <p:nvPr/>
        </p:nvCxnSpPr>
        <p:spPr>
          <a:xfrm flipV="1">
            <a:off x="8657140"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85" name="îś1idê">
            <a:extLst>
              <a:ext uri="{FF2B5EF4-FFF2-40B4-BE49-F238E27FC236}">
                <a16:creationId xmlns:a16="http://schemas.microsoft.com/office/drawing/2014/main" id="{6C348AC1-408C-4B68-B510-47618B0C44EC}"/>
              </a:ext>
            </a:extLst>
          </p:cNvPr>
          <p:cNvCxnSpPr/>
          <p:nvPr/>
        </p:nvCxnSpPr>
        <p:spPr>
          <a:xfrm flipV="1">
            <a:off x="8770968"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86" name="íṩlíḓê">
            <a:extLst>
              <a:ext uri="{FF2B5EF4-FFF2-40B4-BE49-F238E27FC236}">
                <a16:creationId xmlns:a16="http://schemas.microsoft.com/office/drawing/2014/main" id="{AFB86CE5-E3AC-42C1-8D55-8CD104A10AAD}"/>
              </a:ext>
            </a:extLst>
          </p:cNvPr>
          <p:cNvCxnSpPr/>
          <p:nvPr/>
        </p:nvCxnSpPr>
        <p:spPr>
          <a:xfrm flipV="1">
            <a:off x="888479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87" name="ïšḻïḓê">
            <a:extLst>
              <a:ext uri="{FF2B5EF4-FFF2-40B4-BE49-F238E27FC236}">
                <a16:creationId xmlns:a16="http://schemas.microsoft.com/office/drawing/2014/main" id="{340FAA92-9A9B-4CEE-96F1-17BD1D45AC05}"/>
              </a:ext>
            </a:extLst>
          </p:cNvPr>
          <p:cNvCxnSpPr/>
          <p:nvPr/>
        </p:nvCxnSpPr>
        <p:spPr>
          <a:xfrm flipV="1">
            <a:off x="8998625"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88" name="íSḻiḋè">
            <a:extLst>
              <a:ext uri="{FF2B5EF4-FFF2-40B4-BE49-F238E27FC236}">
                <a16:creationId xmlns:a16="http://schemas.microsoft.com/office/drawing/2014/main" id="{9F5F4F8C-64E7-4C81-90F9-BC5F97957834}"/>
              </a:ext>
            </a:extLst>
          </p:cNvPr>
          <p:cNvCxnSpPr/>
          <p:nvPr/>
        </p:nvCxnSpPr>
        <p:spPr>
          <a:xfrm flipV="1">
            <a:off x="9112453"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89" name="ïṡļîḋé">
            <a:extLst>
              <a:ext uri="{FF2B5EF4-FFF2-40B4-BE49-F238E27FC236}">
                <a16:creationId xmlns:a16="http://schemas.microsoft.com/office/drawing/2014/main" id="{98E53898-C3EE-4A6C-8352-24E777C53056}"/>
              </a:ext>
            </a:extLst>
          </p:cNvPr>
          <p:cNvCxnSpPr/>
          <p:nvPr/>
        </p:nvCxnSpPr>
        <p:spPr>
          <a:xfrm flipV="1">
            <a:off x="922628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90" name="iṩḷíḑe">
            <a:extLst>
              <a:ext uri="{FF2B5EF4-FFF2-40B4-BE49-F238E27FC236}">
                <a16:creationId xmlns:a16="http://schemas.microsoft.com/office/drawing/2014/main" id="{42D563D9-010D-4C1B-BA0A-EE65388FB9C2}"/>
              </a:ext>
            </a:extLst>
          </p:cNvPr>
          <p:cNvCxnSpPr/>
          <p:nvPr/>
        </p:nvCxnSpPr>
        <p:spPr>
          <a:xfrm flipV="1">
            <a:off x="934011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91" name="ïŝļíḑe">
            <a:extLst>
              <a:ext uri="{FF2B5EF4-FFF2-40B4-BE49-F238E27FC236}">
                <a16:creationId xmlns:a16="http://schemas.microsoft.com/office/drawing/2014/main" id="{6F59E726-9D20-46CA-B7ED-5B47CA19EC3F}"/>
              </a:ext>
            </a:extLst>
          </p:cNvPr>
          <p:cNvCxnSpPr/>
          <p:nvPr/>
        </p:nvCxnSpPr>
        <p:spPr>
          <a:xfrm flipV="1">
            <a:off x="9453940"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92" name="iSļïḓé">
            <a:extLst>
              <a:ext uri="{FF2B5EF4-FFF2-40B4-BE49-F238E27FC236}">
                <a16:creationId xmlns:a16="http://schemas.microsoft.com/office/drawing/2014/main" id="{DE62E9A8-80CC-4F1D-B424-583FB35274CF}"/>
              </a:ext>
            </a:extLst>
          </p:cNvPr>
          <p:cNvCxnSpPr/>
          <p:nvPr/>
        </p:nvCxnSpPr>
        <p:spPr>
          <a:xfrm flipV="1">
            <a:off x="9567768"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93" name="ïṩlïḓè">
            <a:extLst>
              <a:ext uri="{FF2B5EF4-FFF2-40B4-BE49-F238E27FC236}">
                <a16:creationId xmlns:a16="http://schemas.microsoft.com/office/drawing/2014/main" id="{EE4664DB-A7E9-48DB-9E4F-5AFF6E688AAD}"/>
              </a:ext>
            </a:extLst>
          </p:cNvPr>
          <p:cNvCxnSpPr/>
          <p:nvPr/>
        </p:nvCxnSpPr>
        <p:spPr>
          <a:xfrm flipV="1">
            <a:off x="9681596"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94" name="íṥ1îḋê">
            <a:extLst>
              <a:ext uri="{FF2B5EF4-FFF2-40B4-BE49-F238E27FC236}">
                <a16:creationId xmlns:a16="http://schemas.microsoft.com/office/drawing/2014/main" id="{77379D5A-93BB-46A2-A90C-F4D40C246BD3}"/>
              </a:ext>
            </a:extLst>
          </p:cNvPr>
          <p:cNvCxnSpPr/>
          <p:nvPr/>
        </p:nvCxnSpPr>
        <p:spPr>
          <a:xfrm flipV="1">
            <a:off x="979542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95" name="íṧ1îdè">
            <a:extLst>
              <a:ext uri="{FF2B5EF4-FFF2-40B4-BE49-F238E27FC236}">
                <a16:creationId xmlns:a16="http://schemas.microsoft.com/office/drawing/2014/main" id="{B5C0A491-7B91-4EE1-9EAD-243B2095AAA6}"/>
              </a:ext>
            </a:extLst>
          </p:cNvPr>
          <p:cNvCxnSpPr/>
          <p:nvPr/>
        </p:nvCxnSpPr>
        <p:spPr>
          <a:xfrm flipV="1">
            <a:off x="9909253"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96" name="iślîde">
            <a:extLst>
              <a:ext uri="{FF2B5EF4-FFF2-40B4-BE49-F238E27FC236}">
                <a16:creationId xmlns:a16="http://schemas.microsoft.com/office/drawing/2014/main" id="{CABF0672-AA3B-4B9C-86DC-94545AF56F56}"/>
              </a:ext>
            </a:extLst>
          </p:cNvPr>
          <p:cNvCxnSpPr/>
          <p:nvPr/>
        </p:nvCxnSpPr>
        <p:spPr>
          <a:xfrm flipV="1">
            <a:off x="1002308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97" name="íSľïďe">
            <a:extLst>
              <a:ext uri="{FF2B5EF4-FFF2-40B4-BE49-F238E27FC236}">
                <a16:creationId xmlns:a16="http://schemas.microsoft.com/office/drawing/2014/main" id="{72DDD24A-A1AD-44A2-86E8-38322519F752}"/>
              </a:ext>
            </a:extLst>
          </p:cNvPr>
          <p:cNvCxnSpPr/>
          <p:nvPr/>
        </p:nvCxnSpPr>
        <p:spPr>
          <a:xfrm flipV="1">
            <a:off x="10136909"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98" name="ïSḷïḓê">
            <a:extLst>
              <a:ext uri="{FF2B5EF4-FFF2-40B4-BE49-F238E27FC236}">
                <a16:creationId xmlns:a16="http://schemas.microsoft.com/office/drawing/2014/main" id="{53CCBC2D-7976-4706-98B0-B462BF2F30CF}"/>
              </a:ext>
            </a:extLst>
          </p:cNvPr>
          <p:cNvCxnSpPr/>
          <p:nvPr/>
        </p:nvCxnSpPr>
        <p:spPr>
          <a:xfrm flipV="1">
            <a:off x="10250738"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99" name="íśḷíde">
            <a:extLst>
              <a:ext uri="{FF2B5EF4-FFF2-40B4-BE49-F238E27FC236}">
                <a16:creationId xmlns:a16="http://schemas.microsoft.com/office/drawing/2014/main" id="{F550DC4C-21D4-48A0-907A-E4D1AE7298EC}"/>
              </a:ext>
            </a:extLst>
          </p:cNvPr>
          <p:cNvCxnSpPr/>
          <p:nvPr/>
        </p:nvCxnSpPr>
        <p:spPr>
          <a:xfrm flipV="1">
            <a:off x="1036456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0" name="iSľïḋê">
            <a:extLst>
              <a:ext uri="{FF2B5EF4-FFF2-40B4-BE49-F238E27FC236}">
                <a16:creationId xmlns:a16="http://schemas.microsoft.com/office/drawing/2014/main" id="{6E3FAEFC-7C8A-4DFD-B176-F98F4469CD73}"/>
              </a:ext>
            </a:extLst>
          </p:cNvPr>
          <p:cNvCxnSpPr/>
          <p:nvPr/>
        </p:nvCxnSpPr>
        <p:spPr>
          <a:xfrm flipV="1">
            <a:off x="10478395"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1" name="iṥ1iḓè">
            <a:extLst>
              <a:ext uri="{FF2B5EF4-FFF2-40B4-BE49-F238E27FC236}">
                <a16:creationId xmlns:a16="http://schemas.microsoft.com/office/drawing/2014/main" id="{A65FBB33-9525-43A0-A9B8-00D3611EE104}"/>
              </a:ext>
            </a:extLst>
          </p:cNvPr>
          <p:cNvCxnSpPr/>
          <p:nvPr/>
        </p:nvCxnSpPr>
        <p:spPr>
          <a:xfrm flipV="1">
            <a:off x="1059222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2" name="ísľiḑé">
            <a:extLst>
              <a:ext uri="{FF2B5EF4-FFF2-40B4-BE49-F238E27FC236}">
                <a16:creationId xmlns:a16="http://schemas.microsoft.com/office/drawing/2014/main" id="{9CD13A0A-0DE3-4C4D-B940-09F167BEE090}"/>
              </a:ext>
            </a:extLst>
          </p:cNvPr>
          <p:cNvCxnSpPr/>
          <p:nvPr/>
        </p:nvCxnSpPr>
        <p:spPr>
          <a:xfrm flipV="1">
            <a:off x="1070605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3" name="ïṥḷïďè">
            <a:extLst>
              <a:ext uri="{FF2B5EF4-FFF2-40B4-BE49-F238E27FC236}">
                <a16:creationId xmlns:a16="http://schemas.microsoft.com/office/drawing/2014/main" id="{83EE1DB9-40DB-4148-AB3A-D7DBFECC0020}"/>
              </a:ext>
            </a:extLst>
          </p:cNvPr>
          <p:cNvCxnSpPr/>
          <p:nvPr/>
        </p:nvCxnSpPr>
        <p:spPr>
          <a:xfrm flipV="1">
            <a:off x="10819880"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4" name="iṩḻídé">
            <a:extLst>
              <a:ext uri="{FF2B5EF4-FFF2-40B4-BE49-F238E27FC236}">
                <a16:creationId xmlns:a16="http://schemas.microsoft.com/office/drawing/2014/main" id="{BC7009C2-6D80-46CC-9B39-F10915ED9356}"/>
              </a:ext>
            </a:extLst>
          </p:cNvPr>
          <p:cNvCxnSpPr/>
          <p:nvPr/>
        </p:nvCxnSpPr>
        <p:spPr>
          <a:xfrm flipV="1">
            <a:off x="10933708"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5" name="îŝ1iḑê">
            <a:extLst>
              <a:ext uri="{FF2B5EF4-FFF2-40B4-BE49-F238E27FC236}">
                <a16:creationId xmlns:a16="http://schemas.microsoft.com/office/drawing/2014/main" id="{401ADD25-3CAD-41F3-BC0F-7D437DEFBE89}"/>
              </a:ext>
            </a:extLst>
          </p:cNvPr>
          <p:cNvCxnSpPr/>
          <p:nvPr/>
        </p:nvCxnSpPr>
        <p:spPr>
          <a:xfrm flipV="1">
            <a:off x="11047538"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6" name="îṥḻíḓè">
            <a:extLst>
              <a:ext uri="{FF2B5EF4-FFF2-40B4-BE49-F238E27FC236}">
                <a16:creationId xmlns:a16="http://schemas.microsoft.com/office/drawing/2014/main" id="{814D5F64-788C-4B2E-9E97-4E51E82C9D52}"/>
              </a:ext>
            </a:extLst>
          </p:cNvPr>
          <p:cNvCxnSpPr/>
          <p:nvPr/>
        </p:nvCxnSpPr>
        <p:spPr>
          <a:xfrm flipV="1">
            <a:off x="11161367"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7" name="iṥlíḍé">
            <a:extLst>
              <a:ext uri="{FF2B5EF4-FFF2-40B4-BE49-F238E27FC236}">
                <a16:creationId xmlns:a16="http://schemas.microsoft.com/office/drawing/2014/main" id="{0CA68128-E5CB-4D2D-9AD4-90DBF6DB345A}"/>
              </a:ext>
            </a:extLst>
          </p:cNvPr>
          <p:cNvCxnSpPr/>
          <p:nvPr/>
        </p:nvCxnSpPr>
        <p:spPr>
          <a:xfrm flipV="1">
            <a:off x="11275194"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8" name="íśḷiḍé">
            <a:extLst>
              <a:ext uri="{FF2B5EF4-FFF2-40B4-BE49-F238E27FC236}">
                <a16:creationId xmlns:a16="http://schemas.microsoft.com/office/drawing/2014/main" id="{D4AC7756-3574-49B4-B08F-F7714B19BC1D}"/>
              </a:ext>
            </a:extLst>
          </p:cNvPr>
          <p:cNvCxnSpPr/>
          <p:nvPr/>
        </p:nvCxnSpPr>
        <p:spPr>
          <a:xfrm flipV="1">
            <a:off x="11389023"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9" name="íś1iḓé">
            <a:extLst>
              <a:ext uri="{FF2B5EF4-FFF2-40B4-BE49-F238E27FC236}">
                <a16:creationId xmlns:a16="http://schemas.microsoft.com/office/drawing/2014/main" id="{13BD4B5E-64AE-40C0-8117-89295C6A8935}"/>
              </a:ext>
            </a:extLst>
          </p:cNvPr>
          <p:cNvCxnSpPr/>
          <p:nvPr/>
        </p:nvCxnSpPr>
        <p:spPr>
          <a:xfrm flipV="1">
            <a:off x="11502851" y="5757759"/>
            <a:ext cx="0" cy="38904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nvGrpSpPr>
          <p:cNvPr id="810" name="ïšľíḑe">
            <a:extLst>
              <a:ext uri="{FF2B5EF4-FFF2-40B4-BE49-F238E27FC236}">
                <a16:creationId xmlns:a16="http://schemas.microsoft.com/office/drawing/2014/main" id="{F4067950-928A-4D08-BC7B-CA970F761439}"/>
              </a:ext>
            </a:extLst>
          </p:cNvPr>
          <p:cNvGrpSpPr/>
          <p:nvPr/>
        </p:nvGrpSpPr>
        <p:grpSpPr>
          <a:xfrm>
            <a:off x="8212549" y="1547007"/>
            <a:ext cx="2493502" cy="4210752"/>
            <a:chOff x="8212549" y="1547007"/>
            <a:chExt cx="2493502" cy="4210752"/>
          </a:xfrm>
        </p:grpSpPr>
        <p:sp>
          <p:nvSpPr>
            <p:cNvPr id="829" name="íśļíḍe">
              <a:extLst>
                <a:ext uri="{FF2B5EF4-FFF2-40B4-BE49-F238E27FC236}">
                  <a16:creationId xmlns:a16="http://schemas.microsoft.com/office/drawing/2014/main" id="{E470F136-F886-4047-B949-5001FA488BCD}"/>
                </a:ext>
              </a:extLst>
            </p:cNvPr>
            <p:cNvSpPr/>
            <p:nvPr/>
          </p:nvSpPr>
          <p:spPr>
            <a:xfrm flipH="1">
              <a:off x="8212549" y="1547007"/>
              <a:ext cx="2493502" cy="4210752"/>
            </a:xfrm>
            <a:custGeom>
              <a:avLst/>
              <a:gdLst/>
              <a:ahLst/>
              <a:cxnLst>
                <a:cxn ang="0">
                  <a:pos x="wd2" y="hd2"/>
                </a:cxn>
                <a:cxn ang="5400000">
                  <a:pos x="wd2" y="hd2"/>
                </a:cxn>
                <a:cxn ang="10800000">
                  <a:pos x="wd2" y="hd2"/>
                </a:cxn>
                <a:cxn ang="16200000">
                  <a:pos x="wd2" y="hd2"/>
                </a:cxn>
              </a:cxnLst>
              <a:rect l="0" t="0" r="r" b="b"/>
              <a:pathLst>
                <a:path w="21494" h="21522" extrusionOk="0">
                  <a:moveTo>
                    <a:pt x="4004" y="12687"/>
                  </a:moveTo>
                  <a:cubicBezTo>
                    <a:pt x="4460" y="12796"/>
                    <a:pt x="4885" y="12946"/>
                    <a:pt x="5264" y="13130"/>
                  </a:cubicBezTo>
                  <a:cubicBezTo>
                    <a:pt x="6171" y="13571"/>
                    <a:pt x="6786" y="14196"/>
                    <a:pt x="7740" y="14607"/>
                  </a:cubicBezTo>
                  <a:cubicBezTo>
                    <a:pt x="8204" y="14806"/>
                    <a:pt x="8732" y="14947"/>
                    <a:pt x="9292" y="15021"/>
                  </a:cubicBezTo>
                  <a:cubicBezTo>
                    <a:pt x="9675" y="15000"/>
                    <a:pt x="10061" y="15012"/>
                    <a:pt x="10438" y="15056"/>
                  </a:cubicBezTo>
                  <a:cubicBezTo>
                    <a:pt x="10605" y="15076"/>
                    <a:pt x="10771" y="15102"/>
                    <a:pt x="10923" y="15148"/>
                  </a:cubicBezTo>
                  <a:cubicBezTo>
                    <a:pt x="11074" y="15194"/>
                    <a:pt x="11206" y="15259"/>
                    <a:pt x="11310" y="15338"/>
                  </a:cubicBezTo>
                  <a:cubicBezTo>
                    <a:pt x="11318" y="15436"/>
                    <a:pt x="11308" y="15534"/>
                    <a:pt x="11282" y="15631"/>
                  </a:cubicBezTo>
                  <a:cubicBezTo>
                    <a:pt x="11223" y="15847"/>
                    <a:pt x="11082" y="16051"/>
                    <a:pt x="10988" y="16263"/>
                  </a:cubicBezTo>
                  <a:cubicBezTo>
                    <a:pt x="10829" y="16622"/>
                    <a:pt x="10807" y="17001"/>
                    <a:pt x="10607" y="17356"/>
                  </a:cubicBezTo>
                  <a:cubicBezTo>
                    <a:pt x="10393" y="17739"/>
                    <a:pt x="9986" y="18073"/>
                    <a:pt x="9442" y="18314"/>
                  </a:cubicBezTo>
                  <a:cubicBezTo>
                    <a:pt x="9262" y="18380"/>
                    <a:pt x="9031" y="18372"/>
                    <a:pt x="8867" y="18292"/>
                  </a:cubicBezTo>
                  <a:cubicBezTo>
                    <a:pt x="8732" y="18227"/>
                    <a:pt x="8666" y="18124"/>
                    <a:pt x="8695" y="18022"/>
                  </a:cubicBezTo>
                  <a:cubicBezTo>
                    <a:pt x="8819" y="17913"/>
                    <a:pt x="8917" y="17795"/>
                    <a:pt x="8986" y="17673"/>
                  </a:cubicBezTo>
                  <a:cubicBezTo>
                    <a:pt x="9093" y="17485"/>
                    <a:pt x="9134" y="17285"/>
                    <a:pt x="9101" y="17085"/>
                  </a:cubicBezTo>
                  <a:cubicBezTo>
                    <a:pt x="9039" y="16705"/>
                    <a:pt x="8718" y="16358"/>
                    <a:pt x="8214" y="16122"/>
                  </a:cubicBezTo>
                  <a:lnTo>
                    <a:pt x="8214" y="15876"/>
                  </a:lnTo>
                  <a:cubicBezTo>
                    <a:pt x="7936" y="15726"/>
                    <a:pt x="7639" y="15589"/>
                    <a:pt x="7325" y="15466"/>
                  </a:cubicBezTo>
                  <a:cubicBezTo>
                    <a:pt x="6019" y="14952"/>
                    <a:pt x="4486" y="14701"/>
                    <a:pt x="3063" y="14314"/>
                  </a:cubicBezTo>
                  <a:cubicBezTo>
                    <a:pt x="2201" y="14080"/>
                    <a:pt x="1380" y="13796"/>
                    <a:pt x="612" y="13466"/>
                  </a:cubicBezTo>
                  <a:cubicBezTo>
                    <a:pt x="130" y="13288"/>
                    <a:pt x="-101" y="12945"/>
                    <a:pt x="42" y="12619"/>
                  </a:cubicBezTo>
                  <a:cubicBezTo>
                    <a:pt x="107" y="12470"/>
                    <a:pt x="245" y="12340"/>
                    <a:pt x="397" y="12221"/>
                  </a:cubicBezTo>
                  <a:cubicBezTo>
                    <a:pt x="543" y="12105"/>
                    <a:pt x="707" y="11996"/>
                    <a:pt x="887" y="11895"/>
                  </a:cubicBezTo>
                  <a:cubicBezTo>
                    <a:pt x="1564" y="11503"/>
                    <a:pt x="2312" y="11157"/>
                    <a:pt x="3118" y="10864"/>
                  </a:cubicBezTo>
                  <a:cubicBezTo>
                    <a:pt x="3958" y="10557"/>
                    <a:pt x="4855" y="10310"/>
                    <a:pt x="5791" y="10126"/>
                  </a:cubicBezTo>
                  <a:cubicBezTo>
                    <a:pt x="6047" y="10085"/>
                    <a:pt x="6262" y="9983"/>
                    <a:pt x="6384" y="9844"/>
                  </a:cubicBezTo>
                  <a:cubicBezTo>
                    <a:pt x="6519" y="9691"/>
                    <a:pt x="6528" y="9510"/>
                    <a:pt x="6410" y="9353"/>
                  </a:cubicBezTo>
                  <a:cubicBezTo>
                    <a:pt x="6107" y="8941"/>
                    <a:pt x="5861" y="8516"/>
                    <a:pt x="5672" y="8081"/>
                  </a:cubicBezTo>
                  <a:cubicBezTo>
                    <a:pt x="5488" y="7654"/>
                    <a:pt x="5359" y="7220"/>
                    <a:pt x="5288" y="6782"/>
                  </a:cubicBezTo>
                  <a:cubicBezTo>
                    <a:pt x="5114" y="6551"/>
                    <a:pt x="4887" y="6336"/>
                    <a:pt x="4613" y="6142"/>
                  </a:cubicBezTo>
                  <a:cubicBezTo>
                    <a:pt x="4209" y="5856"/>
                    <a:pt x="3712" y="5623"/>
                    <a:pt x="3287" y="5347"/>
                  </a:cubicBezTo>
                  <a:cubicBezTo>
                    <a:pt x="2961" y="5136"/>
                    <a:pt x="2681" y="4901"/>
                    <a:pt x="2452" y="4648"/>
                  </a:cubicBezTo>
                  <a:cubicBezTo>
                    <a:pt x="2324" y="4562"/>
                    <a:pt x="2301" y="4437"/>
                    <a:pt x="2395" y="4336"/>
                  </a:cubicBezTo>
                  <a:cubicBezTo>
                    <a:pt x="2451" y="4276"/>
                    <a:pt x="2544" y="4231"/>
                    <a:pt x="2655" y="4211"/>
                  </a:cubicBezTo>
                  <a:cubicBezTo>
                    <a:pt x="2619" y="4156"/>
                    <a:pt x="2624" y="4094"/>
                    <a:pt x="2669" y="4040"/>
                  </a:cubicBezTo>
                  <a:cubicBezTo>
                    <a:pt x="2735" y="3963"/>
                    <a:pt x="2873" y="3916"/>
                    <a:pt x="3020" y="3922"/>
                  </a:cubicBezTo>
                  <a:cubicBezTo>
                    <a:pt x="3065" y="3848"/>
                    <a:pt x="3167" y="3792"/>
                    <a:pt x="3294" y="3771"/>
                  </a:cubicBezTo>
                  <a:cubicBezTo>
                    <a:pt x="3407" y="3752"/>
                    <a:pt x="3529" y="3763"/>
                    <a:pt x="3628" y="3801"/>
                  </a:cubicBezTo>
                  <a:lnTo>
                    <a:pt x="3691" y="3516"/>
                  </a:lnTo>
                  <a:cubicBezTo>
                    <a:pt x="3691" y="3482"/>
                    <a:pt x="3729" y="3453"/>
                    <a:pt x="3782" y="3444"/>
                  </a:cubicBezTo>
                  <a:cubicBezTo>
                    <a:pt x="3882" y="3426"/>
                    <a:pt x="3978" y="3477"/>
                    <a:pt x="3961" y="3538"/>
                  </a:cubicBezTo>
                  <a:cubicBezTo>
                    <a:pt x="3961" y="3626"/>
                    <a:pt x="3977" y="3714"/>
                    <a:pt x="4009" y="3801"/>
                  </a:cubicBezTo>
                  <a:cubicBezTo>
                    <a:pt x="4040" y="3882"/>
                    <a:pt x="4084" y="3961"/>
                    <a:pt x="4143" y="4037"/>
                  </a:cubicBezTo>
                  <a:cubicBezTo>
                    <a:pt x="4238" y="4182"/>
                    <a:pt x="4280" y="4338"/>
                    <a:pt x="4265" y="4493"/>
                  </a:cubicBezTo>
                  <a:cubicBezTo>
                    <a:pt x="4254" y="4613"/>
                    <a:pt x="4209" y="4731"/>
                    <a:pt x="4133" y="4842"/>
                  </a:cubicBezTo>
                  <a:cubicBezTo>
                    <a:pt x="4164" y="4994"/>
                    <a:pt x="4261" y="5139"/>
                    <a:pt x="4413" y="5263"/>
                  </a:cubicBezTo>
                  <a:cubicBezTo>
                    <a:pt x="4575" y="5395"/>
                    <a:pt x="4795" y="5499"/>
                    <a:pt x="5050" y="5563"/>
                  </a:cubicBezTo>
                  <a:cubicBezTo>
                    <a:pt x="5126" y="5431"/>
                    <a:pt x="5190" y="5298"/>
                    <a:pt x="5242" y="5163"/>
                  </a:cubicBezTo>
                  <a:cubicBezTo>
                    <a:pt x="5320" y="4958"/>
                    <a:pt x="5372" y="4747"/>
                    <a:pt x="5533" y="4560"/>
                  </a:cubicBezTo>
                  <a:cubicBezTo>
                    <a:pt x="5697" y="4367"/>
                    <a:pt x="5970" y="4209"/>
                    <a:pt x="6123" y="4013"/>
                  </a:cubicBezTo>
                  <a:cubicBezTo>
                    <a:pt x="6269" y="3826"/>
                    <a:pt x="6298" y="3623"/>
                    <a:pt x="6305" y="3416"/>
                  </a:cubicBezTo>
                  <a:cubicBezTo>
                    <a:pt x="6314" y="3160"/>
                    <a:pt x="6235" y="2884"/>
                    <a:pt x="5855" y="2794"/>
                  </a:cubicBezTo>
                  <a:cubicBezTo>
                    <a:pt x="5562" y="2725"/>
                    <a:pt x="5129" y="2792"/>
                    <a:pt x="5025" y="2600"/>
                  </a:cubicBezTo>
                  <a:cubicBezTo>
                    <a:pt x="4973" y="2504"/>
                    <a:pt x="5082" y="2412"/>
                    <a:pt x="5140" y="2317"/>
                  </a:cubicBezTo>
                  <a:cubicBezTo>
                    <a:pt x="5191" y="2236"/>
                    <a:pt x="5201" y="2148"/>
                    <a:pt x="5205" y="2061"/>
                  </a:cubicBezTo>
                  <a:cubicBezTo>
                    <a:pt x="5207" y="1997"/>
                    <a:pt x="5206" y="1932"/>
                    <a:pt x="5200" y="1867"/>
                  </a:cubicBezTo>
                  <a:lnTo>
                    <a:pt x="4878" y="1830"/>
                  </a:lnTo>
                  <a:cubicBezTo>
                    <a:pt x="4787" y="1850"/>
                    <a:pt x="4690" y="1813"/>
                    <a:pt x="4683" y="1756"/>
                  </a:cubicBezTo>
                  <a:cubicBezTo>
                    <a:pt x="4678" y="1717"/>
                    <a:pt x="4719" y="1686"/>
                    <a:pt x="4760" y="1657"/>
                  </a:cubicBezTo>
                  <a:cubicBezTo>
                    <a:pt x="4878" y="1576"/>
                    <a:pt x="5014" y="1504"/>
                    <a:pt x="5112" y="1414"/>
                  </a:cubicBezTo>
                  <a:cubicBezTo>
                    <a:pt x="5221" y="1313"/>
                    <a:pt x="5276" y="1194"/>
                    <a:pt x="5269" y="1075"/>
                  </a:cubicBezTo>
                  <a:cubicBezTo>
                    <a:pt x="5273" y="1012"/>
                    <a:pt x="5290" y="951"/>
                    <a:pt x="5319" y="891"/>
                  </a:cubicBezTo>
                  <a:cubicBezTo>
                    <a:pt x="5409" y="710"/>
                    <a:pt x="5605" y="556"/>
                    <a:pt x="5837" y="426"/>
                  </a:cubicBezTo>
                  <a:cubicBezTo>
                    <a:pt x="6399" y="111"/>
                    <a:pt x="7160" y="-65"/>
                    <a:pt x="7916" y="23"/>
                  </a:cubicBezTo>
                  <a:cubicBezTo>
                    <a:pt x="8336" y="72"/>
                    <a:pt x="8717" y="202"/>
                    <a:pt x="8998" y="393"/>
                  </a:cubicBezTo>
                  <a:cubicBezTo>
                    <a:pt x="9389" y="649"/>
                    <a:pt x="9588" y="987"/>
                    <a:pt x="9550" y="1332"/>
                  </a:cubicBezTo>
                  <a:cubicBezTo>
                    <a:pt x="9516" y="1640"/>
                    <a:pt x="9293" y="1930"/>
                    <a:pt x="8923" y="2147"/>
                  </a:cubicBezTo>
                  <a:cubicBezTo>
                    <a:pt x="8821" y="2221"/>
                    <a:pt x="8730" y="2296"/>
                    <a:pt x="8646" y="2372"/>
                  </a:cubicBezTo>
                  <a:cubicBezTo>
                    <a:pt x="8544" y="2465"/>
                    <a:pt x="8444" y="2572"/>
                    <a:pt x="8494" y="2687"/>
                  </a:cubicBezTo>
                  <a:cubicBezTo>
                    <a:pt x="8537" y="2786"/>
                    <a:pt x="8690" y="2855"/>
                    <a:pt x="8862" y="2852"/>
                  </a:cubicBezTo>
                  <a:cubicBezTo>
                    <a:pt x="9175" y="2916"/>
                    <a:pt x="9471" y="3005"/>
                    <a:pt x="9744" y="3116"/>
                  </a:cubicBezTo>
                  <a:cubicBezTo>
                    <a:pt x="10002" y="3222"/>
                    <a:pt x="10236" y="3347"/>
                    <a:pt x="10440" y="3488"/>
                  </a:cubicBezTo>
                  <a:cubicBezTo>
                    <a:pt x="11018" y="3567"/>
                    <a:pt x="11583" y="3678"/>
                    <a:pt x="12126" y="3820"/>
                  </a:cubicBezTo>
                  <a:cubicBezTo>
                    <a:pt x="12668" y="3962"/>
                    <a:pt x="13186" y="4134"/>
                    <a:pt x="13673" y="4334"/>
                  </a:cubicBezTo>
                  <a:cubicBezTo>
                    <a:pt x="13831" y="4366"/>
                    <a:pt x="13953" y="4442"/>
                    <a:pt x="13999" y="4537"/>
                  </a:cubicBezTo>
                  <a:cubicBezTo>
                    <a:pt x="14026" y="4593"/>
                    <a:pt x="14025" y="4651"/>
                    <a:pt x="14018" y="4707"/>
                  </a:cubicBezTo>
                  <a:cubicBezTo>
                    <a:pt x="14010" y="4781"/>
                    <a:pt x="13994" y="4855"/>
                    <a:pt x="13968" y="4929"/>
                  </a:cubicBezTo>
                  <a:cubicBezTo>
                    <a:pt x="13891" y="5394"/>
                    <a:pt x="13610" y="5840"/>
                    <a:pt x="13152" y="6222"/>
                  </a:cubicBezTo>
                  <a:cubicBezTo>
                    <a:pt x="12773" y="6537"/>
                    <a:pt x="12283" y="6799"/>
                    <a:pt x="11905" y="7115"/>
                  </a:cubicBezTo>
                  <a:cubicBezTo>
                    <a:pt x="11686" y="7298"/>
                    <a:pt x="11507" y="7496"/>
                    <a:pt x="11373" y="7706"/>
                  </a:cubicBezTo>
                  <a:cubicBezTo>
                    <a:pt x="11394" y="7847"/>
                    <a:pt x="11432" y="7984"/>
                    <a:pt x="11486" y="8118"/>
                  </a:cubicBezTo>
                  <a:cubicBezTo>
                    <a:pt x="11545" y="8264"/>
                    <a:pt x="11622" y="8431"/>
                    <a:pt x="11444" y="8554"/>
                  </a:cubicBezTo>
                  <a:cubicBezTo>
                    <a:pt x="11352" y="8617"/>
                    <a:pt x="11206" y="8643"/>
                    <a:pt x="11071" y="8621"/>
                  </a:cubicBezTo>
                  <a:lnTo>
                    <a:pt x="10115" y="8585"/>
                  </a:lnTo>
                  <a:cubicBezTo>
                    <a:pt x="10220" y="8700"/>
                    <a:pt x="10346" y="8808"/>
                    <a:pt x="10491" y="8906"/>
                  </a:cubicBezTo>
                  <a:cubicBezTo>
                    <a:pt x="10688" y="9041"/>
                    <a:pt x="10918" y="9157"/>
                    <a:pt x="11109" y="9294"/>
                  </a:cubicBezTo>
                  <a:cubicBezTo>
                    <a:pt x="11448" y="9539"/>
                    <a:pt x="11648" y="9841"/>
                    <a:pt x="11722" y="10159"/>
                  </a:cubicBezTo>
                  <a:cubicBezTo>
                    <a:pt x="11777" y="10395"/>
                    <a:pt x="11760" y="10634"/>
                    <a:pt x="11758" y="10871"/>
                  </a:cubicBezTo>
                  <a:cubicBezTo>
                    <a:pt x="11756" y="11053"/>
                    <a:pt x="11762" y="11235"/>
                    <a:pt x="11777" y="11416"/>
                  </a:cubicBezTo>
                  <a:cubicBezTo>
                    <a:pt x="12340" y="11891"/>
                    <a:pt x="12780" y="12413"/>
                    <a:pt x="13082" y="12965"/>
                  </a:cubicBezTo>
                  <a:cubicBezTo>
                    <a:pt x="13223" y="13223"/>
                    <a:pt x="13333" y="13488"/>
                    <a:pt x="13489" y="13743"/>
                  </a:cubicBezTo>
                  <a:cubicBezTo>
                    <a:pt x="13624" y="13964"/>
                    <a:pt x="13792" y="14177"/>
                    <a:pt x="13991" y="14380"/>
                  </a:cubicBezTo>
                  <a:cubicBezTo>
                    <a:pt x="14161" y="14497"/>
                    <a:pt x="14347" y="14606"/>
                    <a:pt x="14547" y="14705"/>
                  </a:cubicBezTo>
                  <a:cubicBezTo>
                    <a:pt x="15028" y="14944"/>
                    <a:pt x="15584" y="15125"/>
                    <a:pt x="16044" y="15378"/>
                  </a:cubicBezTo>
                  <a:cubicBezTo>
                    <a:pt x="16903" y="15850"/>
                    <a:pt x="17343" y="16508"/>
                    <a:pt x="17904" y="17106"/>
                  </a:cubicBezTo>
                  <a:cubicBezTo>
                    <a:pt x="18448" y="17687"/>
                    <a:pt x="19120" y="18226"/>
                    <a:pt x="19905" y="18708"/>
                  </a:cubicBezTo>
                  <a:lnTo>
                    <a:pt x="20113" y="18684"/>
                  </a:lnTo>
                  <a:cubicBezTo>
                    <a:pt x="20411" y="18724"/>
                    <a:pt x="20693" y="18798"/>
                    <a:pt x="20943" y="18902"/>
                  </a:cubicBezTo>
                  <a:cubicBezTo>
                    <a:pt x="21155" y="18991"/>
                    <a:pt x="21340" y="19100"/>
                    <a:pt x="21491" y="19225"/>
                  </a:cubicBezTo>
                  <a:cubicBezTo>
                    <a:pt x="21499" y="19300"/>
                    <a:pt x="21492" y="19376"/>
                    <a:pt x="21470" y="19451"/>
                  </a:cubicBezTo>
                  <a:cubicBezTo>
                    <a:pt x="21375" y="19772"/>
                    <a:pt x="21026" y="20036"/>
                    <a:pt x="20768" y="20322"/>
                  </a:cubicBezTo>
                  <a:cubicBezTo>
                    <a:pt x="20493" y="20627"/>
                    <a:pt x="20321" y="20961"/>
                    <a:pt x="20262" y="21305"/>
                  </a:cubicBezTo>
                  <a:cubicBezTo>
                    <a:pt x="20193" y="21363"/>
                    <a:pt x="20105" y="21411"/>
                    <a:pt x="20003" y="21447"/>
                  </a:cubicBezTo>
                  <a:cubicBezTo>
                    <a:pt x="19825" y="21511"/>
                    <a:pt x="19615" y="21535"/>
                    <a:pt x="19410" y="21516"/>
                  </a:cubicBezTo>
                  <a:lnTo>
                    <a:pt x="18262" y="21516"/>
                  </a:lnTo>
                  <a:cubicBezTo>
                    <a:pt x="18068" y="21517"/>
                    <a:pt x="17934" y="21401"/>
                    <a:pt x="18008" y="21294"/>
                  </a:cubicBezTo>
                  <a:cubicBezTo>
                    <a:pt x="18116" y="21139"/>
                    <a:pt x="18481" y="21192"/>
                    <a:pt x="18696" y="21104"/>
                  </a:cubicBezTo>
                  <a:cubicBezTo>
                    <a:pt x="18811" y="21058"/>
                    <a:pt x="18872" y="20976"/>
                    <a:pt x="18854" y="20894"/>
                  </a:cubicBezTo>
                  <a:cubicBezTo>
                    <a:pt x="18864" y="20744"/>
                    <a:pt x="18863" y="20594"/>
                    <a:pt x="18849" y="20444"/>
                  </a:cubicBezTo>
                  <a:cubicBezTo>
                    <a:pt x="18837" y="20312"/>
                    <a:pt x="18816" y="20179"/>
                    <a:pt x="18785" y="20048"/>
                  </a:cubicBezTo>
                  <a:cubicBezTo>
                    <a:pt x="18816" y="19956"/>
                    <a:pt x="18774" y="19861"/>
                    <a:pt x="18671" y="19791"/>
                  </a:cubicBezTo>
                  <a:cubicBezTo>
                    <a:pt x="18604" y="19745"/>
                    <a:pt x="18515" y="19712"/>
                    <a:pt x="18416" y="19697"/>
                  </a:cubicBezTo>
                  <a:lnTo>
                    <a:pt x="18440" y="19529"/>
                  </a:lnTo>
                  <a:lnTo>
                    <a:pt x="18732" y="19489"/>
                  </a:lnTo>
                  <a:cubicBezTo>
                    <a:pt x="18484" y="19147"/>
                    <a:pt x="18173" y="18822"/>
                    <a:pt x="17804" y="18522"/>
                  </a:cubicBezTo>
                  <a:cubicBezTo>
                    <a:pt x="17050" y="17908"/>
                    <a:pt x="16079" y="17410"/>
                    <a:pt x="15094" y="16934"/>
                  </a:cubicBezTo>
                  <a:cubicBezTo>
                    <a:pt x="14486" y="16640"/>
                    <a:pt x="13867" y="16351"/>
                    <a:pt x="13285" y="16039"/>
                  </a:cubicBezTo>
                  <a:cubicBezTo>
                    <a:pt x="12941" y="15855"/>
                    <a:pt x="12610" y="15662"/>
                    <a:pt x="12293" y="15462"/>
                  </a:cubicBezTo>
                  <a:cubicBezTo>
                    <a:pt x="12011" y="15206"/>
                    <a:pt x="11705" y="14959"/>
                    <a:pt x="11375" y="14724"/>
                  </a:cubicBezTo>
                  <a:cubicBezTo>
                    <a:pt x="10907" y="14391"/>
                    <a:pt x="10394" y="14082"/>
                    <a:pt x="9935" y="13744"/>
                  </a:cubicBezTo>
                  <a:cubicBezTo>
                    <a:pt x="9166" y="13179"/>
                    <a:pt x="8558" y="12543"/>
                    <a:pt x="8136" y="11862"/>
                  </a:cubicBezTo>
                  <a:cubicBezTo>
                    <a:pt x="7626" y="12072"/>
                    <a:pt x="7053" y="12223"/>
                    <a:pt x="6448" y="12308"/>
                  </a:cubicBezTo>
                  <a:cubicBezTo>
                    <a:pt x="5804" y="12397"/>
                    <a:pt x="5131" y="12409"/>
                    <a:pt x="4510" y="12544"/>
                  </a:cubicBezTo>
                  <a:cubicBezTo>
                    <a:pt x="4334" y="12583"/>
                    <a:pt x="4165" y="12630"/>
                    <a:pt x="4004" y="12687"/>
                  </a:cubicBezTo>
                  <a:close/>
                </a:path>
              </a:pathLst>
            </a:custGeom>
            <a:solidFill>
              <a:schemeClr val="accent1"/>
            </a:solidFill>
            <a:ln w="127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sz="2400"/>
              </a:pPr>
              <a:endParaRPr sz="2667"/>
            </a:p>
          </p:txBody>
        </p:sp>
        <p:sp>
          <p:nvSpPr>
            <p:cNvPr id="830" name="ïṩḷíḑè">
              <a:extLst>
                <a:ext uri="{FF2B5EF4-FFF2-40B4-BE49-F238E27FC236}">
                  <a16:creationId xmlns:a16="http://schemas.microsoft.com/office/drawing/2014/main" id="{78F226D4-6603-4A71-8E55-0B53A1C02949}"/>
                </a:ext>
              </a:extLst>
            </p:cNvPr>
            <p:cNvSpPr/>
            <p:nvPr/>
          </p:nvSpPr>
          <p:spPr>
            <a:xfrm flipH="1">
              <a:off x="9337505" y="2480692"/>
              <a:ext cx="247477" cy="541799"/>
            </a:xfrm>
            <a:custGeom>
              <a:avLst/>
              <a:gdLst/>
              <a:ahLst/>
              <a:cxnLst>
                <a:cxn ang="0">
                  <a:pos x="wd2" y="hd2"/>
                </a:cxn>
                <a:cxn ang="5400000">
                  <a:pos x="wd2" y="hd2"/>
                </a:cxn>
                <a:cxn ang="10800000">
                  <a:pos x="wd2" y="hd2"/>
                </a:cxn>
                <a:cxn ang="16200000">
                  <a:pos x="wd2" y="hd2"/>
                </a:cxn>
              </a:cxnLst>
              <a:rect l="0" t="0" r="r" b="b"/>
              <a:pathLst>
                <a:path w="21600" h="21563" extrusionOk="0">
                  <a:moveTo>
                    <a:pt x="11869" y="0"/>
                  </a:moveTo>
                  <a:cubicBezTo>
                    <a:pt x="13157" y="393"/>
                    <a:pt x="14566" y="697"/>
                    <a:pt x="16050" y="900"/>
                  </a:cubicBezTo>
                  <a:cubicBezTo>
                    <a:pt x="17848" y="1146"/>
                    <a:pt x="19728" y="1243"/>
                    <a:pt x="21600" y="1185"/>
                  </a:cubicBezTo>
                  <a:cubicBezTo>
                    <a:pt x="20962" y="2216"/>
                    <a:pt x="20458" y="3264"/>
                    <a:pt x="20091" y="4323"/>
                  </a:cubicBezTo>
                  <a:cubicBezTo>
                    <a:pt x="19276" y="6669"/>
                    <a:pt x="19135" y="9068"/>
                    <a:pt x="17903" y="11387"/>
                  </a:cubicBezTo>
                  <a:cubicBezTo>
                    <a:pt x="16799" y="13465"/>
                    <a:pt x="14849" y="15419"/>
                    <a:pt x="12866" y="17355"/>
                  </a:cubicBezTo>
                  <a:cubicBezTo>
                    <a:pt x="11629" y="18562"/>
                    <a:pt x="10375" y="19766"/>
                    <a:pt x="9106" y="20966"/>
                  </a:cubicBezTo>
                  <a:cubicBezTo>
                    <a:pt x="7691" y="21300"/>
                    <a:pt x="6142" y="21498"/>
                    <a:pt x="4553" y="21550"/>
                  </a:cubicBezTo>
                  <a:cubicBezTo>
                    <a:pt x="3012" y="21600"/>
                    <a:pt x="1465" y="21511"/>
                    <a:pt x="0" y="21287"/>
                  </a:cubicBezTo>
                  <a:cubicBezTo>
                    <a:pt x="829" y="17760"/>
                    <a:pt x="2188" y="14264"/>
                    <a:pt x="4068" y="10822"/>
                  </a:cubicBezTo>
                  <a:cubicBezTo>
                    <a:pt x="6083" y="7132"/>
                    <a:pt x="8690" y="3515"/>
                    <a:pt x="11869" y="0"/>
                  </a:cubicBezTo>
                  <a:close/>
                </a:path>
              </a:pathLst>
            </a:custGeom>
            <a:solidFill>
              <a:schemeClr val="bg1"/>
            </a:solidFill>
            <a:ln w="127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sz="2400"/>
              </a:pPr>
              <a:endParaRPr sz="2667"/>
            </a:p>
          </p:txBody>
        </p:sp>
      </p:grpSp>
      <p:sp>
        <p:nvSpPr>
          <p:cNvPr id="811" name="iṧ1íďê">
            <a:extLst>
              <a:ext uri="{FF2B5EF4-FFF2-40B4-BE49-F238E27FC236}">
                <a16:creationId xmlns:a16="http://schemas.microsoft.com/office/drawing/2014/main" id="{B4FDC8BF-E020-411C-B7D4-8FD96D870DCA}"/>
              </a:ext>
            </a:extLst>
          </p:cNvPr>
          <p:cNvSpPr/>
          <p:nvPr/>
        </p:nvSpPr>
        <p:spPr bwMode="auto">
          <a:xfrm>
            <a:off x="1258026" y="1902684"/>
            <a:ext cx="2732145" cy="686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ct val="0"/>
              </a:spcBef>
            </a:pPr>
            <a:r>
              <a:rPr lang="en-US" altLang="zh-CN" sz="1200" dirty="0"/>
              <a:t>Copy paste fonts</a:t>
            </a:r>
            <a:r>
              <a:rPr lang="en-US" altLang="zh-CN" sz="1200"/>
              <a:t>. </a:t>
            </a:r>
            <a:r>
              <a:rPr lang="en-US" altLang="zh-CN" sz="100"/>
              <a:t> </a:t>
            </a:r>
            <a:r>
              <a:rPr lang="en-US" altLang="zh-CN" sz="1200"/>
              <a:t>Choose </a:t>
            </a:r>
            <a:r>
              <a:rPr lang="en-US" altLang="zh-CN" sz="1200" dirty="0"/>
              <a:t>the only option to retain text……</a:t>
            </a:r>
          </a:p>
        </p:txBody>
      </p:sp>
      <p:sp>
        <p:nvSpPr>
          <p:cNvPr id="812" name="iṥlíḓè">
            <a:extLst>
              <a:ext uri="{FF2B5EF4-FFF2-40B4-BE49-F238E27FC236}">
                <a16:creationId xmlns:a16="http://schemas.microsoft.com/office/drawing/2014/main" id="{84E6C646-ABE2-4BE1-B85D-062AD7855E4A}"/>
              </a:ext>
            </a:extLst>
          </p:cNvPr>
          <p:cNvSpPr/>
          <p:nvPr/>
        </p:nvSpPr>
        <p:spPr>
          <a:xfrm>
            <a:off x="673100" y="1977875"/>
            <a:ext cx="535793" cy="53579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13" name="ïṣḻiḑê">
            <a:extLst>
              <a:ext uri="{FF2B5EF4-FFF2-40B4-BE49-F238E27FC236}">
                <a16:creationId xmlns:a16="http://schemas.microsoft.com/office/drawing/2014/main" id="{956E07EE-E1C9-4AB0-BB19-C73C44A599F9}"/>
              </a:ext>
            </a:extLst>
          </p:cNvPr>
          <p:cNvSpPr/>
          <p:nvPr/>
        </p:nvSpPr>
        <p:spPr>
          <a:xfrm>
            <a:off x="783078" y="2072669"/>
            <a:ext cx="315835" cy="346204"/>
          </a:xfrm>
          <a:custGeom>
            <a:avLst/>
            <a:gdLst>
              <a:gd name="connsiteX0" fmla="*/ 247650 w 495300"/>
              <a:gd name="connsiteY0" fmla="*/ 0 h 542925"/>
              <a:gd name="connsiteX1" fmla="*/ 495300 w 495300"/>
              <a:gd name="connsiteY1" fmla="*/ 247650 h 542925"/>
              <a:gd name="connsiteX2" fmla="*/ 322707 w 495300"/>
              <a:gd name="connsiteY2" fmla="*/ 483775 h 542925"/>
              <a:gd name="connsiteX3" fmla="*/ 345853 w 495300"/>
              <a:gd name="connsiteY3" fmla="*/ 523875 h 542925"/>
              <a:gd name="connsiteX4" fmla="*/ 419100 w 495300"/>
              <a:gd name="connsiteY4" fmla="*/ 523875 h 542925"/>
              <a:gd name="connsiteX5" fmla="*/ 419100 w 495300"/>
              <a:gd name="connsiteY5" fmla="*/ 542925 h 542925"/>
              <a:gd name="connsiteX6" fmla="*/ 76200 w 495300"/>
              <a:gd name="connsiteY6" fmla="*/ 542925 h 542925"/>
              <a:gd name="connsiteX7" fmla="*/ 76200 w 495300"/>
              <a:gd name="connsiteY7" fmla="*/ 523875 h 542925"/>
              <a:gd name="connsiteX8" fmla="*/ 149447 w 495300"/>
              <a:gd name="connsiteY8" fmla="*/ 523875 h 542925"/>
              <a:gd name="connsiteX9" fmla="*/ 172593 w 495300"/>
              <a:gd name="connsiteY9" fmla="*/ 483775 h 542925"/>
              <a:gd name="connsiteX10" fmla="*/ 0 w 495300"/>
              <a:gd name="connsiteY10" fmla="*/ 247650 h 542925"/>
              <a:gd name="connsiteX11" fmla="*/ 247650 w 495300"/>
              <a:gd name="connsiteY11" fmla="*/ 0 h 542925"/>
              <a:gd name="connsiteX12" fmla="*/ 191643 w 495300"/>
              <a:gd name="connsiteY12" fmla="*/ 488918 h 542925"/>
              <a:gd name="connsiteX13" fmla="*/ 171450 w 495300"/>
              <a:gd name="connsiteY13" fmla="*/ 523875 h 542925"/>
              <a:gd name="connsiteX14" fmla="*/ 323850 w 495300"/>
              <a:gd name="connsiteY14" fmla="*/ 523875 h 542925"/>
              <a:gd name="connsiteX15" fmla="*/ 303657 w 495300"/>
              <a:gd name="connsiteY15" fmla="*/ 488918 h 542925"/>
              <a:gd name="connsiteX16" fmla="*/ 247650 w 495300"/>
              <a:gd name="connsiteY16" fmla="*/ 495300 h 542925"/>
              <a:gd name="connsiteX17" fmla="*/ 191643 w 495300"/>
              <a:gd name="connsiteY17" fmla="*/ 488918 h 542925"/>
              <a:gd name="connsiteX18" fmla="*/ 247650 w 495300"/>
              <a:gd name="connsiteY18" fmla="*/ 142875 h 542925"/>
              <a:gd name="connsiteX19" fmla="*/ 142875 w 495300"/>
              <a:gd name="connsiteY19" fmla="*/ 247650 h 542925"/>
              <a:gd name="connsiteX20" fmla="*/ 247650 w 495300"/>
              <a:gd name="connsiteY20" fmla="*/ 352425 h 542925"/>
              <a:gd name="connsiteX21" fmla="*/ 352425 w 495300"/>
              <a:gd name="connsiteY21" fmla="*/ 247650 h 542925"/>
              <a:gd name="connsiteX22" fmla="*/ 247650 w 495300"/>
              <a:gd name="connsiteY22" fmla="*/ 142875 h 542925"/>
              <a:gd name="connsiteX23" fmla="*/ 366713 w 495300"/>
              <a:gd name="connsiteY23" fmla="*/ 114300 h 542925"/>
              <a:gd name="connsiteX24" fmla="*/ 352425 w 495300"/>
              <a:gd name="connsiteY24" fmla="*/ 128588 h 542925"/>
              <a:gd name="connsiteX25" fmla="*/ 366713 w 495300"/>
              <a:gd name="connsiteY25" fmla="*/ 142875 h 542925"/>
              <a:gd name="connsiteX26" fmla="*/ 381000 w 495300"/>
              <a:gd name="connsiteY26" fmla="*/ 128588 h 542925"/>
              <a:gd name="connsiteX27" fmla="*/ 366713 w 495300"/>
              <a:gd name="connsiteY27" fmla="*/ 11430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7650" y="0"/>
                </a:moveTo>
                <a:cubicBezTo>
                  <a:pt x="384429" y="0"/>
                  <a:pt x="495300" y="110871"/>
                  <a:pt x="495300" y="247650"/>
                </a:cubicBezTo>
                <a:cubicBezTo>
                  <a:pt x="495300" y="358235"/>
                  <a:pt x="422815" y="451961"/>
                  <a:pt x="322707" y="483775"/>
                </a:cubicBezTo>
                <a:lnTo>
                  <a:pt x="345853" y="523875"/>
                </a:lnTo>
                <a:lnTo>
                  <a:pt x="419100" y="523875"/>
                </a:lnTo>
                <a:lnTo>
                  <a:pt x="419100" y="542925"/>
                </a:lnTo>
                <a:lnTo>
                  <a:pt x="76200" y="542925"/>
                </a:lnTo>
                <a:lnTo>
                  <a:pt x="76200" y="523875"/>
                </a:lnTo>
                <a:lnTo>
                  <a:pt x="149447" y="523875"/>
                </a:lnTo>
                <a:lnTo>
                  <a:pt x="172593" y="483775"/>
                </a:lnTo>
                <a:cubicBezTo>
                  <a:pt x="72485" y="451961"/>
                  <a:pt x="0" y="358235"/>
                  <a:pt x="0" y="247650"/>
                </a:cubicBezTo>
                <a:cubicBezTo>
                  <a:pt x="0" y="110871"/>
                  <a:pt x="110871" y="0"/>
                  <a:pt x="247650" y="0"/>
                </a:cubicBezTo>
                <a:close/>
                <a:moveTo>
                  <a:pt x="191643" y="488918"/>
                </a:moveTo>
                <a:lnTo>
                  <a:pt x="171450" y="523875"/>
                </a:lnTo>
                <a:lnTo>
                  <a:pt x="323850" y="523875"/>
                </a:lnTo>
                <a:lnTo>
                  <a:pt x="303657" y="488918"/>
                </a:lnTo>
                <a:cubicBezTo>
                  <a:pt x="285655" y="493109"/>
                  <a:pt x="266891" y="495300"/>
                  <a:pt x="247650" y="495300"/>
                </a:cubicBezTo>
                <a:cubicBezTo>
                  <a:pt x="228409" y="495300"/>
                  <a:pt x="209645" y="493109"/>
                  <a:pt x="191643" y="488918"/>
                </a:cubicBezTo>
                <a:close/>
                <a:moveTo>
                  <a:pt x="247650" y="142875"/>
                </a:moveTo>
                <a:cubicBezTo>
                  <a:pt x="189738" y="142875"/>
                  <a:pt x="142875" y="189738"/>
                  <a:pt x="142875" y="247650"/>
                </a:cubicBezTo>
                <a:cubicBezTo>
                  <a:pt x="142875" y="305562"/>
                  <a:pt x="189738" y="352425"/>
                  <a:pt x="247650" y="352425"/>
                </a:cubicBezTo>
                <a:cubicBezTo>
                  <a:pt x="305562" y="352425"/>
                  <a:pt x="352425" y="305562"/>
                  <a:pt x="352425" y="247650"/>
                </a:cubicBezTo>
                <a:cubicBezTo>
                  <a:pt x="352425" y="189738"/>
                  <a:pt x="305562" y="142875"/>
                  <a:pt x="247650" y="142875"/>
                </a:cubicBezTo>
                <a:close/>
                <a:moveTo>
                  <a:pt x="366713" y="114300"/>
                </a:moveTo>
                <a:cubicBezTo>
                  <a:pt x="358807" y="114300"/>
                  <a:pt x="352425" y="120682"/>
                  <a:pt x="352425" y="128588"/>
                </a:cubicBezTo>
                <a:cubicBezTo>
                  <a:pt x="352425" y="136493"/>
                  <a:pt x="358807" y="142875"/>
                  <a:pt x="366713" y="142875"/>
                </a:cubicBezTo>
                <a:cubicBezTo>
                  <a:pt x="374618" y="142875"/>
                  <a:pt x="381000" y="136493"/>
                  <a:pt x="381000" y="128588"/>
                </a:cubicBezTo>
                <a:cubicBezTo>
                  <a:pt x="381000" y="120682"/>
                  <a:pt x="374618" y="114300"/>
                  <a:pt x="366713" y="1143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14" name="ïšḻide">
            <a:extLst>
              <a:ext uri="{FF2B5EF4-FFF2-40B4-BE49-F238E27FC236}">
                <a16:creationId xmlns:a16="http://schemas.microsoft.com/office/drawing/2014/main" id="{BD3B3DCE-A64B-4A1D-A826-6F27FAF12A7F}"/>
              </a:ext>
            </a:extLst>
          </p:cNvPr>
          <p:cNvSpPr/>
          <p:nvPr/>
        </p:nvSpPr>
        <p:spPr bwMode="auto">
          <a:xfrm>
            <a:off x="4877909" y="1902684"/>
            <a:ext cx="2732145" cy="686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ct val="0"/>
              </a:spcBef>
            </a:pPr>
            <a:r>
              <a:rPr lang="en-US" altLang="zh-CN" sz="1200" dirty="0"/>
              <a:t>Copy paste fonts</a:t>
            </a:r>
            <a:r>
              <a:rPr lang="en-US" altLang="zh-CN" sz="1200"/>
              <a:t>. </a:t>
            </a:r>
            <a:r>
              <a:rPr lang="en-US" altLang="zh-CN" sz="100"/>
              <a:t> </a:t>
            </a:r>
            <a:r>
              <a:rPr lang="en-US" altLang="zh-CN" sz="1200"/>
              <a:t>Choose </a:t>
            </a:r>
            <a:r>
              <a:rPr lang="en-US" altLang="zh-CN" sz="1200" dirty="0"/>
              <a:t>the only option to retain text……</a:t>
            </a:r>
          </a:p>
        </p:txBody>
      </p:sp>
      <p:sp>
        <p:nvSpPr>
          <p:cNvPr id="815" name="išḻîḋe">
            <a:extLst>
              <a:ext uri="{FF2B5EF4-FFF2-40B4-BE49-F238E27FC236}">
                <a16:creationId xmlns:a16="http://schemas.microsoft.com/office/drawing/2014/main" id="{C854AD3E-926E-4828-97E0-73276611BE32}"/>
              </a:ext>
            </a:extLst>
          </p:cNvPr>
          <p:cNvSpPr/>
          <p:nvPr/>
        </p:nvSpPr>
        <p:spPr>
          <a:xfrm>
            <a:off x="4292983" y="1977875"/>
            <a:ext cx="535793" cy="53579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16" name="ïSḷîdê">
            <a:extLst>
              <a:ext uri="{FF2B5EF4-FFF2-40B4-BE49-F238E27FC236}">
                <a16:creationId xmlns:a16="http://schemas.microsoft.com/office/drawing/2014/main" id="{BF255799-4D07-45B9-AF14-7833FD93B1C5}"/>
              </a:ext>
            </a:extLst>
          </p:cNvPr>
          <p:cNvSpPr/>
          <p:nvPr/>
        </p:nvSpPr>
        <p:spPr>
          <a:xfrm>
            <a:off x="4399907" y="2072669"/>
            <a:ext cx="321942" cy="346204"/>
          </a:xfrm>
          <a:custGeom>
            <a:avLst/>
            <a:gdLst>
              <a:gd name="connsiteX0" fmla="*/ 8038 w 487162"/>
              <a:gd name="connsiteY0" fmla="*/ 513398 h 523875"/>
              <a:gd name="connsiteX1" fmla="*/ 7467 w 487162"/>
              <a:gd name="connsiteY1" fmla="*/ 512731 h 523875"/>
              <a:gd name="connsiteX2" fmla="*/ 7467 w 487162"/>
              <a:gd name="connsiteY2" fmla="*/ 512731 h 523875"/>
              <a:gd name="connsiteX3" fmla="*/ 6991 w 487162"/>
              <a:gd name="connsiteY3" fmla="*/ 512064 h 523875"/>
              <a:gd name="connsiteX4" fmla="*/ 4990 w 487162"/>
              <a:gd name="connsiteY4" fmla="*/ 509016 h 523875"/>
              <a:gd name="connsiteX5" fmla="*/ 4990 w 487162"/>
              <a:gd name="connsiteY5" fmla="*/ 509016 h 523875"/>
              <a:gd name="connsiteX6" fmla="*/ 4514 w 487162"/>
              <a:gd name="connsiteY6" fmla="*/ 508254 h 523875"/>
              <a:gd name="connsiteX7" fmla="*/ 3752 w 487162"/>
              <a:gd name="connsiteY7" fmla="*/ 506730 h 523875"/>
              <a:gd name="connsiteX8" fmla="*/ 3085 w 487162"/>
              <a:gd name="connsiteY8" fmla="*/ 505111 h 523875"/>
              <a:gd name="connsiteX9" fmla="*/ 2990 w 487162"/>
              <a:gd name="connsiteY9" fmla="*/ 504920 h 523875"/>
              <a:gd name="connsiteX10" fmla="*/ 2895 w 487162"/>
              <a:gd name="connsiteY10" fmla="*/ 504635 h 523875"/>
              <a:gd name="connsiteX11" fmla="*/ 2895 w 487162"/>
              <a:gd name="connsiteY11" fmla="*/ 504444 h 523875"/>
              <a:gd name="connsiteX12" fmla="*/ 2228 w 487162"/>
              <a:gd name="connsiteY12" fmla="*/ 502444 h 523875"/>
              <a:gd name="connsiteX13" fmla="*/ 1847 w 487162"/>
              <a:gd name="connsiteY13" fmla="*/ 501110 h 523875"/>
              <a:gd name="connsiteX14" fmla="*/ 1371 w 487162"/>
              <a:gd name="connsiteY14" fmla="*/ 499205 h 523875"/>
              <a:gd name="connsiteX15" fmla="*/ 514 w 487162"/>
              <a:gd name="connsiteY15" fmla="*/ 494919 h 523875"/>
              <a:gd name="connsiteX16" fmla="*/ 228 w 487162"/>
              <a:gd name="connsiteY16" fmla="*/ 492443 h 523875"/>
              <a:gd name="connsiteX17" fmla="*/ 37 w 487162"/>
              <a:gd name="connsiteY17" fmla="*/ 485870 h 523875"/>
              <a:gd name="connsiteX18" fmla="*/ 4609 w 487162"/>
              <a:gd name="connsiteY18" fmla="*/ 467582 h 523875"/>
              <a:gd name="connsiteX19" fmla="*/ 154247 w 487162"/>
              <a:gd name="connsiteY19" fmla="*/ 150876 h 523875"/>
              <a:gd name="connsiteX20" fmla="*/ 157867 w 487162"/>
              <a:gd name="connsiteY20" fmla="*/ 134588 h 523875"/>
              <a:gd name="connsiteX21" fmla="*/ 157867 w 487162"/>
              <a:gd name="connsiteY21" fmla="*/ 19050 h 523875"/>
              <a:gd name="connsiteX22" fmla="*/ 119767 w 487162"/>
              <a:gd name="connsiteY22" fmla="*/ 19050 h 523875"/>
              <a:gd name="connsiteX23" fmla="*/ 119767 w 487162"/>
              <a:gd name="connsiteY23" fmla="*/ 0 h 523875"/>
              <a:gd name="connsiteX24" fmla="*/ 367417 w 487162"/>
              <a:gd name="connsiteY24" fmla="*/ 0 h 523875"/>
              <a:gd name="connsiteX25" fmla="*/ 367417 w 487162"/>
              <a:gd name="connsiteY25" fmla="*/ 19050 h 523875"/>
              <a:gd name="connsiteX26" fmla="*/ 329317 w 487162"/>
              <a:gd name="connsiteY26" fmla="*/ 19050 h 523875"/>
              <a:gd name="connsiteX27" fmla="*/ 329317 w 487162"/>
              <a:gd name="connsiteY27" fmla="*/ 134684 h 523875"/>
              <a:gd name="connsiteX28" fmla="*/ 332936 w 487162"/>
              <a:gd name="connsiteY28" fmla="*/ 150971 h 523875"/>
              <a:gd name="connsiteX29" fmla="*/ 482574 w 487162"/>
              <a:gd name="connsiteY29" fmla="*/ 467678 h 523875"/>
              <a:gd name="connsiteX30" fmla="*/ 484098 w 487162"/>
              <a:gd name="connsiteY30" fmla="*/ 504920 h 523875"/>
              <a:gd name="connsiteX31" fmla="*/ 484003 w 487162"/>
              <a:gd name="connsiteY31" fmla="*/ 505111 h 523875"/>
              <a:gd name="connsiteX32" fmla="*/ 483431 w 487162"/>
              <a:gd name="connsiteY32" fmla="*/ 506540 h 523875"/>
              <a:gd name="connsiteX33" fmla="*/ 458571 w 487162"/>
              <a:gd name="connsiteY33" fmla="*/ 523780 h 523875"/>
              <a:gd name="connsiteX34" fmla="*/ 456666 w 487162"/>
              <a:gd name="connsiteY34" fmla="*/ 523875 h 523875"/>
              <a:gd name="connsiteX35" fmla="*/ 30422 w 487162"/>
              <a:gd name="connsiteY35" fmla="*/ 523875 h 523875"/>
              <a:gd name="connsiteX36" fmla="*/ 28612 w 487162"/>
              <a:gd name="connsiteY36" fmla="*/ 523780 h 523875"/>
              <a:gd name="connsiteX37" fmla="*/ 26136 w 487162"/>
              <a:gd name="connsiteY37" fmla="*/ 523494 h 523875"/>
              <a:gd name="connsiteX38" fmla="*/ 22326 w 487162"/>
              <a:gd name="connsiteY38" fmla="*/ 522637 h 523875"/>
              <a:gd name="connsiteX39" fmla="*/ 22326 w 487162"/>
              <a:gd name="connsiteY39" fmla="*/ 522637 h 523875"/>
              <a:gd name="connsiteX40" fmla="*/ 16801 w 487162"/>
              <a:gd name="connsiteY40" fmla="*/ 520351 h 523875"/>
              <a:gd name="connsiteX41" fmla="*/ 15373 w 487162"/>
              <a:gd name="connsiteY41" fmla="*/ 519589 h 523875"/>
              <a:gd name="connsiteX42" fmla="*/ 14420 w 487162"/>
              <a:gd name="connsiteY42" fmla="*/ 519017 h 523875"/>
              <a:gd name="connsiteX43" fmla="*/ 9467 w 487162"/>
              <a:gd name="connsiteY43" fmla="*/ 514922 h 523875"/>
              <a:gd name="connsiteX44" fmla="*/ 8038 w 487162"/>
              <a:gd name="connsiteY44" fmla="*/ 513398 h 523875"/>
              <a:gd name="connsiteX45" fmla="*/ 8038 w 487162"/>
              <a:gd name="connsiteY45" fmla="*/ 513398 h 523875"/>
              <a:gd name="connsiteX46" fmla="*/ 254641 w 487162"/>
              <a:gd name="connsiteY46" fmla="*/ 404146 h 523875"/>
              <a:gd name="connsiteX47" fmla="*/ 251783 w 487162"/>
              <a:gd name="connsiteY47" fmla="*/ 405956 h 523875"/>
              <a:gd name="connsiteX48" fmla="*/ 246259 w 487162"/>
              <a:gd name="connsiteY48" fmla="*/ 409670 h 523875"/>
              <a:gd name="connsiteX49" fmla="*/ 54425 w 487162"/>
              <a:gd name="connsiteY49" fmla="*/ 416243 h 523875"/>
              <a:gd name="connsiteX50" fmla="*/ 50615 w 487162"/>
              <a:gd name="connsiteY50" fmla="*/ 414719 h 523875"/>
              <a:gd name="connsiteX51" fmla="*/ 21754 w 487162"/>
              <a:gd name="connsiteY51" fmla="*/ 475774 h 523875"/>
              <a:gd name="connsiteX52" fmla="*/ 20897 w 487162"/>
              <a:gd name="connsiteY52" fmla="*/ 477679 h 523875"/>
              <a:gd name="connsiteX53" fmla="*/ 20802 w 487162"/>
              <a:gd name="connsiteY53" fmla="*/ 498158 h 523875"/>
              <a:gd name="connsiteX54" fmla="*/ 27945 w 487162"/>
              <a:gd name="connsiteY54" fmla="*/ 504444 h 523875"/>
              <a:gd name="connsiteX55" fmla="*/ 29184 w 487162"/>
              <a:gd name="connsiteY55" fmla="*/ 504635 h 523875"/>
              <a:gd name="connsiteX56" fmla="*/ 30327 w 487162"/>
              <a:gd name="connsiteY56" fmla="*/ 504730 h 523875"/>
              <a:gd name="connsiteX57" fmla="*/ 456570 w 487162"/>
              <a:gd name="connsiteY57" fmla="*/ 504730 h 523875"/>
              <a:gd name="connsiteX58" fmla="*/ 457714 w 487162"/>
              <a:gd name="connsiteY58" fmla="*/ 504635 h 523875"/>
              <a:gd name="connsiteX59" fmla="*/ 466095 w 487162"/>
              <a:gd name="connsiteY59" fmla="*/ 498062 h 523875"/>
              <a:gd name="connsiteX60" fmla="*/ 466667 w 487162"/>
              <a:gd name="connsiteY60" fmla="*/ 479584 h 523875"/>
              <a:gd name="connsiteX61" fmla="*/ 466000 w 487162"/>
              <a:gd name="connsiteY61" fmla="*/ 477584 h 523875"/>
              <a:gd name="connsiteX62" fmla="*/ 465143 w 487162"/>
              <a:gd name="connsiteY62" fmla="*/ 475679 h 523875"/>
              <a:gd name="connsiteX63" fmla="*/ 423519 w 487162"/>
              <a:gd name="connsiteY63" fmla="*/ 387477 h 523875"/>
              <a:gd name="connsiteX64" fmla="*/ 254641 w 487162"/>
              <a:gd name="connsiteY64" fmla="*/ 404146 h 523875"/>
              <a:gd name="connsiteX65" fmla="*/ 305504 w 487162"/>
              <a:gd name="connsiteY65" fmla="*/ 257175 h 523875"/>
              <a:gd name="connsiteX66" fmla="*/ 272167 w 487162"/>
              <a:gd name="connsiteY66" fmla="*/ 290513 h 523875"/>
              <a:gd name="connsiteX67" fmla="*/ 305504 w 487162"/>
              <a:gd name="connsiteY67" fmla="*/ 323850 h 523875"/>
              <a:gd name="connsiteX68" fmla="*/ 338842 w 487162"/>
              <a:gd name="connsiteY68" fmla="*/ 290513 h 523875"/>
              <a:gd name="connsiteX69" fmla="*/ 305504 w 487162"/>
              <a:gd name="connsiteY69" fmla="*/ 2571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038" y="513398"/>
                </a:moveTo>
                <a:lnTo>
                  <a:pt x="7467" y="512731"/>
                </a:lnTo>
                <a:lnTo>
                  <a:pt x="7467" y="512731"/>
                </a:lnTo>
                <a:lnTo>
                  <a:pt x="6991" y="512064"/>
                </a:lnTo>
                <a:cubicBezTo>
                  <a:pt x="6228" y="511112"/>
                  <a:pt x="5657" y="510064"/>
                  <a:pt x="4990" y="509016"/>
                </a:cubicBezTo>
                <a:lnTo>
                  <a:pt x="4990" y="509016"/>
                </a:lnTo>
                <a:lnTo>
                  <a:pt x="4514" y="508254"/>
                </a:lnTo>
                <a:lnTo>
                  <a:pt x="3752" y="506730"/>
                </a:lnTo>
                <a:lnTo>
                  <a:pt x="3085" y="505111"/>
                </a:lnTo>
                <a:lnTo>
                  <a:pt x="2990" y="504920"/>
                </a:lnTo>
                <a:lnTo>
                  <a:pt x="2895" y="504635"/>
                </a:lnTo>
                <a:lnTo>
                  <a:pt x="2895" y="504444"/>
                </a:lnTo>
                <a:lnTo>
                  <a:pt x="2228" y="502444"/>
                </a:lnTo>
                <a:cubicBezTo>
                  <a:pt x="2133" y="501968"/>
                  <a:pt x="1942" y="501587"/>
                  <a:pt x="1847" y="501110"/>
                </a:cubicBezTo>
                <a:cubicBezTo>
                  <a:pt x="1657" y="500444"/>
                  <a:pt x="1466" y="499872"/>
                  <a:pt x="1371" y="499205"/>
                </a:cubicBezTo>
                <a:cubicBezTo>
                  <a:pt x="990" y="497776"/>
                  <a:pt x="799" y="496348"/>
                  <a:pt x="514" y="494919"/>
                </a:cubicBezTo>
                <a:lnTo>
                  <a:pt x="228" y="492443"/>
                </a:lnTo>
                <a:cubicBezTo>
                  <a:pt x="37" y="490252"/>
                  <a:pt x="-58" y="488061"/>
                  <a:pt x="37" y="485870"/>
                </a:cubicBezTo>
                <a:cubicBezTo>
                  <a:pt x="323" y="479584"/>
                  <a:pt x="1847" y="473393"/>
                  <a:pt x="4609" y="467582"/>
                </a:cubicBezTo>
                <a:lnTo>
                  <a:pt x="154247" y="150876"/>
                </a:lnTo>
                <a:cubicBezTo>
                  <a:pt x="156628" y="145828"/>
                  <a:pt x="157867" y="140208"/>
                  <a:pt x="157867" y="134588"/>
                </a:cubicBezTo>
                <a:lnTo>
                  <a:pt x="157867" y="19050"/>
                </a:lnTo>
                <a:lnTo>
                  <a:pt x="119767" y="19050"/>
                </a:lnTo>
                <a:lnTo>
                  <a:pt x="119767" y="0"/>
                </a:lnTo>
                <a:lnTo>
                  <a:pt x="367417" y="0"/>
                </a:lnTo>
                <a:lnTo>
                  <a:pt x="367417" y="19050"/>
                </a:lnTo>
                <a:lnTo>
                  <a:pt x="329317" y="19050"/>
                </a:lnTo>
                <a:lnTo>
                  <a:pt x="329317" y="134684"/>
                </a:lnTo>
                <a:cubicBezTo>
                  <a:pt x="329317" y="140303"/>
                  <a:pt x="330555" y="145828"/>
                  <a:pt x="332936" y="150971"/>
                </a:cubicBezTo>
                <a:lnTo>
                  <a:pt x="482574" y="467678"/>
                </a:lnTo>
                <a:cubicBezTo>
                  <a:pt x="488098" y="479393"/>
                  <a:pt x="488670" y="492824"/>
                  <a:pt x="484098" y="504920"/>
                </a:cubicBezTo>
                <a:lnTo>
                  <a:pt x="484003" y="505111"/>
                </a:lnTo>
                <a:lnTo>
                  <a:pt x="483431" y="506540"/>
                </a:lnTo>
                <a:cubicBezTo>
                  <a:pt x="478954" y="516446"/>
                  <a:pt x="469429" y="523113"/>
                  <a:pt x="458571" y="523780"/>
                </a:cubicBezTo>
                <a:lnTo>
                  <a:pt x="456666" y="523875"/>
                </a:lnTo>
                <a:lnTo>
                  <a:pt x="30422" y="523875"/>
                </a:lnTo>
                <a:lnTo>
                  <a:pt x="28612" y="523780"/>
                </a:lnTo>
                <a:cubicBezTo>
                  <a:pt x="27755" y="523685"/>
                  <a:pt x="26993" y="523685"/>
                  <a:pt x="26136" y="523494"/>
                </a:cubicBezTo>
                <a:cubicBezTo>
                  <a:pt x="24802" y="523304"/>
                  <a:pt x="23564" y="523018"/>
                  <a:pt x="22326" y="522637"/>
                </a:cubicBezTo>
                <a:lnTo>
                  <a:pt x="22326" y="522637"/>
                </a:lnTo>
                <a:cubicBezTo>
                  <a:pt x="20421" y="522065"/>
                  <a:pt x="18516" y="521303"/>
                  <a:pt x="16801" y="520351"/>
                </a:cubicBezTo>
                <a:lnTo>
                  <a:pt x="15373" y="519589"/>
                </a:lnTo>
                <a:cubicBezTo>
                  <a:pt x="15087" y="519398"/>
                  <a:pt x="14801" y="519208"/>
                  <a:pt x="14420" y="519017"/>
                </a:cubicBezTo>
                <a:cubicBezTo>
                  <a:pt x="12610" y="517874"/>
                  <a:pt x="10896" y="516446"/>
                  <a:pt x="9467" y="514922"/>
                </a:cubicBezTo>
                <a:lnTo>
                  <a:pt x="8038" y="513398"/>
                </a:lnTo>
                <a:lnTo>
                  <a:pt x="8038" y="513398"/>
                </a:lnTo>
                <a:close/>
                <a:moveTo>
                  <a:pt x="254641" y="404146"/>
                </a:moveTo>
                <a:lnTo>
                  <a:pt x="251783" y="405956"/>
                </a:lnTo>
                <a:lnTo>
                  <a:pt x="246259" y="409670"/>
                </a:lnTo>
                <a:cubicBezTo>
                  <a:pt x="199015" y="441008"/>
                  <a:pt x="119481" y="441960"/>
                  <a:pt x="54425" y="416243"/>
                </a:cubicBezTo>
                <a:lnTo>
                  <a:pt x="50615" y="414719"/>
                </a:lnTo>
                <a:lnTo>
                  <a:pt x="21754" y="475774"/>
                </a:lnTo>
                <a:lnTo>
                  <a:pt x="20897" y="477679"/>
                </a:lnTo>
                <a:cubicBezTo>
                  <a:pt x="18420" y="484251"/>
                  <a:pt x="18325" y="491490"/>
                  <a:pt x="20802" y="498158"/>
                </a:cubicBezTo>
                <a:cubicBezTo>
                  <a:pt x="22040" y="501396"/>
                  <a:pt x="24707" y="503682"/>
                  <a:pt x="27945" y="504444"/>
                </a:cubicBezTo>
                <a:lnTo>
                  <a:pt x="29184" y="504635"/>
                </a:lnTo>
                <a:lnTo>
                  <a:pt x="30327" y="504730"/>
                </a:lnTo>
                <a:lnTo>
                  <a:pt x="456570" y="504730"/>
                </a:lnTo>
                <a:lnTo>
                  <a:pt x="457714" y="504635"/>
                </a:lnTo>
                <a:cubicBezTo>
                  <a:pt x="461524" y="504254"/>
                  <a:pt x="464762" y="501682"/>
                  <a:pt x="466095" y="498062"/>
                </a:cubicBezTo>
                <a:cubicBezTo>
                  <a:pt x="468382" y="492157"/>
                  <a:pt x="468572" y="485585"/>
                  <a:pt x="466667" y="479584"/>
                </a:cubicBezTo>
                <a:lnTo>
                  <a:pt x="466000" y="477584"/>
                </a:lnTo>
                <a:lnTo>
                  <a:pt x="465143" y="475679"/>
                </a:lnTo>
                <a:lnTo>
                  <a:pt x="423519" y="387477"/>
                </a:lnTo>
                <a:cubicBezTo>
                  <a:pt x="365416" y="373190"/>
                  <a:pt x="295979" y="378714"/>
                  <a:pt x="254641" y="404146"/>
                </a:cubicBezTo>
                <a:close/>
                <a:moveTo>
                  <a:pt x="305504" y="257175"/>
                </a:moveTo>
                <a:cubicBezTo>
                  <a:pt x="287121" y="257175"/>
                  <a:pt x="272167" y="272129"/>
                  <a:pt x="272167" y="290513"/>
                </a:cubicBezTo>
                <a:cubicBezTo>
                  <a:pt x="272167" y="308896"/>
                  <a:pt x="287121" y="323850"/>
                  <a:pt x="305504" y="323850"/>
                </a:cubicBezTo>
                <a:cubicBezTo>
                  <a:pt x="323887" y="323850"/>
                  <a:pt x="338842" y="308896"/>
                  <a:pt x="338842" y="290513"/>
                </a:cubicBezTo>
                <a:cubicBezTo>
                  <a:pt x="338842" y="272129"/>
                  <a:pt x="323887" y="257175"/>
                  <a:pt x="305504" y="25717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17" name="îṣḻîḋe">
            <a:extLst>
              <a:ext uri="{FF2B5EF4-FFF2-40B4-BE49-F238E27FC236}">
                <a16:creationId xmlns:a16="http://schemas.microsoft.com/office/drawing/2014/main" id="{63FD7294-4F14-4A2F-B505-99D76EC7A346}"/>
              </a:ext>
            </a:extLst>
          </p:cNvPr>
          <p:cNvSpPr/>
          <p:nvPr/>
        </p:nvSpPr>
        <p:spPr bwMode="auto">
          <a:xfrm>
            <a:off x="1258026" y="2950023"/>
            <a:ext cx="2732145" cy="686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ct val="0"/>
              </a:spcBef>
            </a:pPr>
            <a:r>
              <a:rPr lang="en-US" altLang="zh-CN" sz="1200" dirty="0"/>
              <a:t>Copy paste fonts</a:t>
            </a:r>
            <a:r>
              <a:rPr lang="en-US" altLang="zh-CN" sz="1200"/>
              <a:t>. </a:t>
            </a:r>
            <a:r>
              <a:rPr lang="en-US" altLang="zh-CN" sz="100"/>
              <a:t> </a:t>
            </a:r>
            <a:r>
              <a:rPr lang="en-US" altLang="zh-CN" sz="1200"/>
              <a:t>Choose </a:t>
            </a:r>
            <a:r>
              <a:rPr lang="en-US" altLang="zh-CN" sz="1200" dirty="0"/>
              <a:t>the only option to retain text……</a:t>
            </a:r>
          </a:p>
        </p:txBody>
      </p:sp>
      <p:sp>
        <p:nvSpPr>
          <p:cNvPr id="818" name="ïṧļiḑê">
            <a:extLst>
              <a:ext uri="{FF2B5EF4-FFF2-40B4-BE49-F238E27FC236}">
                <a16:creationId xmlns:a16="http://schemas.microsoft.com/office/drawing/2014/main" id="{FAE436E1-A749-4ABE-B84E-F8A1FEB24F44}"/>
              </a:ext>
            </a:extLst>
          </p:cNvPr>
          <p:cNvSpPr/>
          <p:nvPr/>
        </p:nvSpPr>
        <p:spPr>
          <a:xfrm>
            <a:off x="673100" y="3025214"/>
            <a:ext cx="535793" cy="53579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19" name="iŝḻïḍé">
            <a:extLst>
              <a:ext uri="{FF2B5EF4-FFF2-40B4-BE49-F238E27FC236}">
                <a16:creationId xmlns:a16="http://schemas.microsoft.com/office/drawing/2014/main" id="{5DB29673-F542-4F73-B54D-F175E1E4E793}"/>
              </a:ext>
            </a:extLst>
          </p:cNvPr>
          <p:cNvSpPr/>
          <p:nvPr/>
        </p:nvSpPr>
        <p:spPr>
          <a:xfrm>
            <a:off x="767894" y="3135462"/>
            <a:ext cx="346204" cy="315293"/>
          </a:xfrm>
          <a:custGeom>
            <a:avLst/>
            <a:gdLst>
              <a:gd name="connsiteX0" fmla="*/ 123825 w 533400"/>
              <a:gd name="connsiteY0" fmla="*/ 228600 h 485775"/>
              <a:gd name="connsiteX1" fmla="*/ 123825 w 533400"/>
              <a:gd name="connsiteY1" fmla="*/ 276225 h 485775"/>
              <a:gd name="connsiteX2" fmla="*/ 142875 w 533400"/>
              <a:gd name="connsiteY2" fmla="*/ 276225 h 485775"/>
              <a:gd name="connsiteX3" fmla="*/ 142875 w 533400"/>
              <a:gd name="connsiteY3" fmla="*/ 228600 h 485775"/>
              <a:gd name="connsiteX4" fmla="*/ 390525 w 533400"/>
              <a:gd name="connsiteY4" fmla="*/ 228600 h 485775"/>
              <a:gd name="connsiteX5" fmla="*/ 390525 w 533400"/>
              <a:gd name="connsiteY5" fmla="*/ 276225 h 485775"/>
              <a:gd name="connsiteX6" fmla="*/ 409575 w 533400"/>
              <a:gd name="connsiteY6" fmla="*/ 276225 h 485775"/>
              <a:gd name="connsiteX7" fmla="*/ 409575 w 533400"/>
              <a:gd name="connsiteY7" fmla="*/ 228600 h 485775"/>
              <a:gd name="connsiteX8" fmla="*/ 533400 w 533400"/>
              <a:gd name="connsiteY8" fmla="*/ 228600 h 485775"/>
              <a:gd name="connsiteX9" fmla="*/ 533400 w 533400"/>
              <a:gd name="connsiteY9" fmla="*/ 457200 h 485775"/>
              <a:gd name="connsiteX10" fmla="*/ 504825 w 533400"/>
              <a:gd name="connsiteY10" fmla="*/ 485775 h 485775"/>
              <a:gd name="connsiteX11" fmla="*/ 28575 w 533400"/>
              <a:gd name="connsiteY11" fmla="*/ 485775 h 485775"/>
              <a:gd name="connsiteX12" fmla="*/ 0 w 533400"/>
              <a:gd name="connsiteY12" fmla="*/ 457200 h 485775"/>
              <a:gd name="connsiteX13" fmla="*/ 0 w 533400"/>
              <a:gd name="connsiteY13" fmla="*/ 228600 h 485775"/>
              <a:gd name="connsiteX14" fmla="*/ 123825 w 533400"/>
              <a:gd name="connsiteY14" fmla="*/ 228600 h 485775"/>
              <a:gd name="connsiteX15" fmla="*/ 371475 w 533400"/>
              <a:gd name="connsiteY15" fmla="*/ 0 h 485775"/>
              <a:gd name="connsiteX16" fmla="*/ 409575 w 533400"/>
              <a:gd name="connsiteY16" fmla="*/ 36195 h 485775"/>
              <a:gd name="connsiteX17" fmla="*/ 409575 w 533400"/>
              <a:gd name="connsiteY17" fmla="*/ 38100 h 485775"/>
              <a:gd name="connsiteX18" fmla="*/ 409575 w 533400"/>
              <a:gd name="connsiteY18" fmla="*/ 114300 h 485775"/>
              <a:gd name="connsiteX19" fmla="*/ 504825 w 533400"/>
              <a:gd name="connsiteY19" fmla="*/ 114300 h 485775"/>
              <a:gd name="connsiteX20" fmla="*/ 533400 w 533400"/>
              <a:gd name="connsiteY20" fmla="*/ 142875 h 485775"/>
              <a:gd name="connsiteX21" fmla="*/ 533400 w 533400"/>
              <a:gd name="connsiteY21" fmla="*/ 209550 h 485775"/>
              <a:gd name="connsiteX22" fmla="*/ 0 w 533400"/>
              <a:gd name="connsiteY22" fmla="*/ 209550 h 485775"/>
              <a:gd name="connsiteX23" fmla="*/ 0 w 533400"/>
              <a:gd name="connsiteY23" fmla="*/ 142875 h 485775"/>
              <a:gd name="connsiteX24" fmla="*/ 28575 w 533400"/>
              <a:gd name="connsiteY24" fmla="*/ 114300 h 485775"/>
              <a:gd name="connsiteX25" fmla="*/ 123825 w 533400"/>
              <a:gd name="connsiteY25" fmla="*/ 114300 h 485775"/>
              <a:gd name="connsiteX26" fmla="*/ 123825 w 533400"/>
              <a:gd name="connsiteY26" fmla="*/ 38100 h 485775"/>
              <a:gd name="connsiteX27" fmla="*/ 160020 w 533400"/>
              <a:gd name="connsiteY27" fmla="*/ 0 h 485775"/>
              <a:gd name="connsiteX28" fmla="*/ 161925 w 533400"/>
              <a:gd name="connsiteY28" fmla="*/ 0 h 485775"/>
              <a:gd name="connsiteX29" fmla="*/ 371475 w 533400"/>
              <a:gd name="connsiteY29" fmla="*/ 0 h 485775"/>
              <a:gd name="connsiteX30" fmla="*/ 371475 w 533400"/>
              <a:gd name="connsiteY30" fmla="*/ 19050 h 485775"/>
              <a:gd name="connsiteX31" fmla="*/ 161925 w 533400"/>
              <a:gd name="connsiteY31" fmla="*/ 19050 h 485775"/>
              <a:gd name="connsiteX32" fmla="*/ 142970 w 533400"/>
              <a:gd name="connsiteY32" fmla="*/ 36671 h 485775"/>
              <a:gd name="connsiteX33" fmla="*/ 142875 w 533400"/>
              <a:gd name="connsiteY33" fmla="*/ 38100 h 485775"/>
              <a:gd name="connsiteX34" fmla="*/ 142875 w 533400"/>
              <a:gd name="connsiteY34" fmla="*/ 114300 h 485775"/>
              <a:gd name="connsiteX35" fmla="*/ 390525 w 533400"/>
              <a:gd name="connsiteY35" fmla="*/ 114300 h 485775"/>
              <a:gd name="connsiteX36" fmla="*/ 390525 w 533400"/>
              <a:gd name="connsiteY36" fmla="*/ 38100 h 485775"/>
              <a:gd name="connsiteX37" fmla="*/ 374333 w 533400"/>
              <a:gd name="connsiteY37" fmla="*/ 19241 h 485775"/>
              <a:gd name="connsiteX38" fmla="*/ 372904 w 533400"/>
              <a:gd name="connsiteY38" fmla="*/ 19050 h 485775"/>
              <a:gd name="connsiteX39" fmla="*/ 371475 w 533400"/>
              <a:gd name="connsiteY39" fmla="*/ 1905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3825" y="228600"/>
                </a:moveTo>
                <a:lnTo>
                  <a:pt x="123825" y="276225"/>
                </a:lnTo>
                <a:lnTo>
                  <a:pt x="142875" y="276225"/>
                </a:lnTo>
                <a:lnTo>
                  <a:pt x="142875" y="228600"/>
                </a:lnTo>
                <a:lnTo>
                  <a:pt x="390525" y="228600"/>
                </a:lnTo>
                <a:lnTo>
                  <a:pt x="390525" y="276225"/>
                </a:lnTo>
                <a:lnTo>
                  <a:pt x="409575" y="276225"/>
                </a:lnTo>
                <a:lnTo>
                  <a:pt x="409575" y="228600"/>
                </a:lnTo>
                <a:lnTo>
                  <a:pt x="533400" y="228600"/>
                </a:lnTo>
                <a:lnTo>
                  <a:pt x="533400" y="457200"/>
                </a:lnTo>
                <a:cubicBezTo>
                  <a:pt x="533400" y="473012"/>
                  <a:pt x="520637" y="485775"/>
                  <a:pt x="504825" y="485775"/>
                </a:cubicBezTo>
                <a:lnTo>
                  <a:pt x="28575" y="485775"/>
                </a:lnTo>
                <a:cubicBezTo>
                  <a:pt x="12763" y="485775"/>
                  <a:pt x="0" y="473012"/>
                  <a:pt x="0" y="457200"/>
                </a:cubicBezTo>
                <a:lnTo>
                  <a:pt x="0" y="228600"/>
                </a:lnTo>
                <a:lnTo>
                  <a:pt x="123825" y="228600"/>
                </a:lnTo>
                <a:close/>
                <a:moveTo>
                  <a:pt x="371475" y="0"/>
                </a:moveTo>
                <a:cubicBezTo>
                  <a:pt x="391859" y="0"/>
                  <a:pt x="408527" y="16002"/>
                  <a:pt x="409575" y="36195"/>
                </a:cubicBezTo>
                <a:lnTo>
                  <a:pt x="409575" y="38100"/>
                </a:lnTo>
                <a:lnTo>
                  <a:pt x="409575" y="114300"/>
                </a:lnTo>
                <a:lnTo>
                  <a:pt x="504825" y="114300"/>
                </a:lnTo>
                <a:cubicBezTo>
                  <a:pt x="520637" y="114300"/>
                  <a:pt x="533400" y="127064"/>
                  <a:pt x="533400" y="142875"/>
                </a:cubicBezTo>
                <a:lnTo>
                  <a:pt x="533400" y="209550"/>
                </a:lnTo>
                <a:lnTo>
                  <a:pt x="0" y="209550"/>
                </a:lnTo>
                <a:lnTo>
                  <a:pt x="0" y="142875"/>
                </a:lnTo>
                <a:cubicBezTo>
                  <a:pt x="0" y="127064"/>
                  <a:pt x="12763" y="114300"/>
                  <a:pt x="28575" y="114300"/>
                </a:cubicBezTo>
                <a:lnTo>
                  <a:pt x="123825" y="114300"/>
                </a:lnTo>
                <a:lnTo>
                  <a:pt x="123825" y="38100"/>
                </a:lnTo>
                <a:cubicBezTo>
                  <a:pt x="123825" y="17716"/>
                  <a:pt x="139828" y="1048"/>
                  <a:pt x="160020" y="0"/>
                </a:cubicBezTo>
                <a:lnTo>
                  <a:pt x="161925" y="0"/>
                </a:lnTo>
                <a:lnTo>
                  <a:pt x="371475" y="0"/>
                </a:lnTo>
                <a:close/>
                <a:moveTo>
                  <a:pt x="371475" y="19050"/>
                </a:moveTo>
                <a:lnTo>
                  <a:pt x="161925" y="19050"/>
                </a:lnTo>
                <a:cubicBezTo>
                  <a:pt x="151923" y="19050"/>
                  <a:pt x="143637" y="26861"/>
                  <a:pt x="142970" y="36671"/>
                </a:cubicBezTo>
                <a:lnTo>
                  <a:pt x="142875" y="38100"/>
                </a:lnTo>
                <a:lnTo>
                  <a:pt x="142875" y="114300"/>
                </a:lnTo>
                <a:lnTo>
                  <a:pt x="390525" y="114300"/>
                </a:lnTo>
                <a:lnTo>
                  <a:pt x="390525" y="38100"/>
                </a:lnTo>
                <a:cubicBezTo>
                  <a:pt x="390525" y="28575"/>
                  <a:pt x="383477" y="20669"/>
                  <a:pt x="374333" y="19241"/>
                </a:cubicBezTo>
                <a:lnTo>
                  <a:pt x="372904" y="19050"/>
                </a:lnTo>
                <a:lnTo>
                  <a:pt x="371475" y="19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20" name="íSḷïḋê">
            <a:extLst>
              <a:ext uri="{FF2B5EF4-FFF2-40B4-BE49-F238E27FC236}">
                <a16:creationId xmlns:a16="http://schemas.microsoft.com/office/drawing/2014/main" id="{E782E868-C324-44B8-82CF-361222036E30}"/>
              </a:ext>
            </a:extLst>
          </p:cNvPr>
          <p:cNvSpPr/>
          <p:nvPr/>
        </p:nvSpPr>
        <p:spPr bwMode="auto">
          <a:xfrm>
            <a:off x="4877909" y="2950023"/>
            <a:ext cx="2732145" cy="686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ct val="0"/>
              </a:spcBef>
            </a:pPr>
            <a:r>
              <a:rPr lang="en-US" altLang="zh-CN" sz="1200" dirty="0"/>
              <a:t>Copy paste fonts</a:t>
            </a:r>
            <a:r>
              <a:rPr lang="en-US" altLang="zh-CN" sz="1200"/>
              <a:t>. </a:t>
            </a:r>
            <a:r>
              <a:rPr lang="en-US" altLang="zh-CN" sz="100"/>
              <a:t> </a:t>
            </a:r>
            <a:r>
              <a:rPr lang="en-US" altLang="zh-CN" sz="1200"/>
              <a:t>Choose </a:t>
            </a:r>
            <a:r>
              <a:rPr lang="en-US" altLang="zh-CN" sz="1200" dirty="0"/>
              <a:t>the only option to retain text……</a:t>
            </a:r>
          </a:p>
        </p:txBody>
      </p:sp>
      <p:sp>
        <p:nvSpPr>
          <p:cNvPr id="821" name="ïṡliḑé">
            <a:extLst>
              <a:ext uri="{FF2B5EF4-FFF2-40B4-BE49-F238E27FC236}">
                <a16:creationId xmlns:a16="http://schemas.microsoft.com/office/drawing/2014/main" id="{249FF2D6-766E-4B71-A425-F58DB7975D9B}"/>
              </a:ext>
            </a:extLst>
          </p:cNvPr>
          <p:cNvSpPr/>
          <p:nvPr/>
        </p:nvSpPr>
        <p:spPr>
          <a:xfrm>
            <a:off x="4292983" y="3025214"/>
            <a:ext cx="535793" cy="53579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22" name="î$ļïḍê">
            <a:extLst>
              <a:ext uri="{FF2B5EF4-FFF2-40B4-BE49-F238E27FC236}">
                <a16:creationId xmlns:a16="http://schemas.microsoft.com/office/drawing/2014/main" id="{5487EC14-6C5D-4F28-8A61-67C74230B4B5}"/>
              </a:ext>
            </a:extLst>
          </p:cNvPr>
          <p:cNvSpPr/>
          <p:nvPr/>
        </p:nvSpPr>
        <p:spPr>
          <a:xfrm>
            <a:off x="4387777" y="3123099"/>
            <a:ext cx="346204" cy="340021"/>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23" name="ïṡḷïde">
            <a:extLst>
              <a:ext uri="{FF2B5EF4-FFF2-40B4-BE49-F238E27FC236}">
                <a16:creationId xmlns:a16="http://schemas.microsoft.com/office/drawing/2014/main" id="{B02DA8D7-50E6-427D-9674-B06548DD4FD1}"/>
              </a:ext>
            </a:extLst>
          </p:cNvPr>
          <p:cNvSpPr/>
          <p:nvPr/>
        </p:nvSpPr>
        <p:spPr bwMode="auto">
          <a:xfrm>
            <a:off x="1258026" y="3997362"/>
            <a:ext cx="2732145" cy="686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ct val="0"/>
              </a:spcBef>
            </a:pPr>
            <a:r>
              <a:rPr lang="en-US" altLang="zh-CN" sz="1200" dirty="0"/>
              <a:t>Copy paste fonts</a:t>
            </a:r>
            <a:r>
              <a:rPr lang="en-US" altLang="zh-CN" sz="1200"/>
              <a:t>. </a:t>
            </a:r>
            <a:r>
              <a:rPr lang="en-US" altLang="zh-CN" sz="100"/>
              <a:t> </a:t>
            </a:r>
            <a:r>
              <a:rPr lang="en-US" altLang="zh-CN" sz="1200"/>
              <a:t>Choose </a:t>
            </a:r>
            <a:r>
              <a:rPr lang="en-US" altLang="zh-CN" sz="1200" dirty="0"/>
              <a:t>the only option to retain text……</a:t>
            </a:r>
          </a:p>
        </p:txBody>
      </p:sp>
      <p:sp>
        <p:nvSpPr>
          <p:cNvPr id="824" name="îšliḑé">
            <a:extLst>
              <a:ext uri="{FF2B5EF4-FFF2-40B4-BE49-F238E27FC236}">
                <a16:creationId xmlns:a16="http://schemas.microsoft.com/office/drawing/2014/main" id="{729F6E76-4778-4D98-8792-983948FB56E5}"/>
              </a:ext>
            </a:extLst>
          </p:cNvPr>
          <p:cNvSpPr/>
          <p:nvPr/>
        </p:nvSpPr>
        <p:spPr>
          <a:xfrm>
            <a:off x="673100" y="4072553"/>
            <a:ext cx="535793" cy="53579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25" name="išļïḋe">
            <a:extLst>
              <a:ext uri="{FF2B5EF4-FFF2-40B4-BE49-F238E27FC236}">
                <a16:creationId xmlns:a16="http://schemas.microsoft.com/office/drawing/2014/main" id="{E6836ADE-6CB3-4CA2-AE2D-0A3BEB58B91F}"/>
              </a:ext>
            </a:extLst>
          </p:cNvPr>
          <p:cNvSpPr/>
          <p:nvPr/>
        </p:nvSpPr>
        <p:spPr>
          <a:xfrm>
            <a:off x="798804" y="4167346"/>
            <a:ext cx="284382" cy="346204"/>
          </a:xfrm>
          <a:custGeom>
            <a:avLst/>
            <a:gdLst>
              <a:gd name="connsiteX0" fmla="*/ 283464 w 438150"/>
              <a:gd name="connsiteY0" fmla="*/ 0 h 533400"/>
              <a:gd name="connsiteX1" fmla="*/ 285750 w 438150"/>
              <a:gd name="connsiteY1" fmla="*/ 95 h 533400"/>
              <a:gd name="connsiteX2" fmla="*/ 285750 w 438150"/>
              <a:gd name="connsiteY2" fmla="*/ 123825 h 533400"/>
              <a:gd name="connsiteX3" fmla="*/ 285845 w 438150"/>
              <a:gd name="connsiteY3" fmla="*/ 125540 h 533400"/>
              <a:gd name="connsiteX4" fmla="*/ 314325 w 438150"/>
              <a:gd name="connsiteY4" fmla="*/ 152400 h 533400"/>
              <a:gd name="connsiteX5" fmla="*/ 314325 w 438150"/>
              <a:gd name="connsiteY5" fmla="*/ 152400 h 533400"/>
              <a:gd name="connsiteX6" fmla="*/ 438055 w 438150"/>
              <a:gd name="connsiteY6" fmla="*/ 152400 h 533400"/>
              <a:gd name="connsiteX7" fmla="*/ 438150 w 438150"/>
              <a:gd name="connsiteY7" fmla="*/ 154686 h 533400"/>
              <a:gd name="connsiteX8" fmla="*/ 438150 w 438150"/>
              <a:gd name="connsiteY8" fmla="*/ 504825 h 533400"/>
              <a:gd name="connsiteX9" fmla="*/ 409575 w 438150"/>
              <a:gd name="connsiteY9" fmla="*/ 533400 h 533400"/>
              <a:gd name="connsiteX10" fmla="*/ 28575 w 438150"/>
              <a:gd name="connsiteY10" fmla="*/ 533400 h 533400"/>
              <a:gd name="connsiteX11" fmla="*/ 0 w 438150"/>
              <a:gd name="connsiteY11" fmla="*/ 504825 h 533400"/>
              <a:gd name="connsiteX12" fmla="*/ 0 w 438150"/>
              <a:gd name="connsiteY12" fmla="*/ 28575 h 533400"/>
              <a:gd name="connsiteX13" fmla="*/ 28575 w 438150"/>
              <a:gd name="connsiteY13" fmla="*/ 0 h 533400"/>
              <a:gd name="connsiteX14" fmla="*/ 283464 w 438150"/>
              <a:gd name="connsiteY14" fmla="*/ 0 h 533400"/>
              <a:gd name="connsiteX15" fmla="*/ 247650 w 438150"/>
              <a:gd name="connsiteY15" fmla="*/ 200025 h 533400"/>
              <a:gd name="connsiteX16" fmla="*/ 152400 w 438150"/>
              <a:gd name="connsiteY16" fmla="*/ 200025 h 533400"/>
              <a:gd name="connsiteX17" fmla="*/ 152400 w 438150"/>
              <a:gd name="connsiteY17" fmla="*/ 409575 h 533400"/>
              <a:gd name="connsiteX18" fmla="*/ 171450 w 438150"/>
              <a:gd name="connsiteY18" fmla="*/ 409575 h 533400"/>
              <a:gd name="connsiteX19" fmla="*/ 171450 w 438150"/>
              <a:gd name="connsiteY19" fmla="*/ 314325 h 533400"/>
              <a:gd name="connsiteX20" fmla="*/ 247650 w 438150"/>
              <a:gd name="connsiteY20" fmla="*/ 314325 h 533400"/>
              <a:gd name="connsiteX21" fmla="*/ 249746 w 438150"/>
              <a:gd name="connsiteY21" fmla="*/ 314325 h 533400"/>
              <a:gd name="connsiteX22" fmla="*/ 304800 w 438150"/>
              <a:gd name="connsiteY22" fmla="*/ 257175 h 533400"/>
              <a:gd name="connsiteX23" fmla="*/ 247650 w 438150"/>
              <a:gd name="connsiteY23" fmla="*/ 200025 h 533400"/>
              <a:gd name="connsiteX24" fmla="*/ 247650 w 438150"/>
              <a:gd name="connsiteY24" fmla="*/ 200025 h 533400"/>
              <a:gd name="connsiteX25" fmla="*/ 247650 w 438150"/>
              <a:gd name="connsiteY25" fmla="*/ 219075 h 533400"/>
              <a:gd name="connsiteX26" fmla="*/ 285750 w 438150"/>
              <a:gd name="connsiteY26" fmla="*/ 257175 h 533400"/>
              <a:gd name="connsiteX27" fmla="*/ 247650 w 438150"/>
              <a:gd name="connsiteY27" fmla="*/ 295275 h 533400"/>
              <a:gd name="connsiteX28" fmla="*/ 247650 w 438150"/>
              <a:gd name="connsiteY28" fmla="*/ 295275 h 533400"/>
              <a:gd name="connsiteX29" fmla="*/ 171450 w 438150"/>
              <a:gd name="connsiteY29" fmla="*/ 295275 h 533400"/>
              <a:gd name="connsiteX30" fmla="*/ 171450 w 438150"/>
              <a:gd name="connsiteY30" fmla="*/ 219075 h 533400"/>
              <a:gd name="connsiteX31" fmla="*/ 247650 w 438150"/>
              <a:gd name="connsiteY31" fmla="*/ 219075 h 533400"/>
              <a:gd name="connsiteX32" fmla="*/ 428625 w 438150"/>
              <a:gd name="connsiteY32" fmla="*/ 133350 h 533400"/>
              <a:gd name="connsiteX33" fmla="*/ 314325 w 438150"/>
              <a:gd name="connsiteY33" fmla="*/ 133350 h 533400"/>
              <a:gd name="connsiteX34" fmla="*/ 313182 w 438150"/>
              <a:gd name="connsiteY34" fmla="*/ 133255 h 533400"/>
              <a:gd name="connsiteX35" fmla="*/ 304800 w 438150"/>
              <a:gd name="connsiteY35" fmla="*/ 123825 h 533400"/>
              <a:gd name="connsiteX36" fmla="*/ 304800 w 438150"/>
              <a:gd name="connsiteY36" fmla="*/ 123825 h 533400"/>
              <a:gd name="connsiteX37" fmla="*/ 304800 w 438150"/>
              <a:gd name="connsiteY37" fmla="*/ 9525 h 533400"/>
              <a:gd name="connsiteX38" fmla="*/ 428625 w 438150"/>
              <a:gd name="connsiteY38" fmla="*/ 13335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464" y="0"/>
                </a:moveTo>
                <a:cubicBezTo>
                  <a:pt x="284226" y="0"/>
                  <a:pt x="284988" y="0"/>
                  <a:pt x="285750" y="95"/>
                </a:cubicBezTo>
                <a:lnTo>
                  <a:pt x="285750" y="123825"/>
                </a:lnTo>
                <a:lnTo>
                  <a:pt x="285845" y="125540"/>
                </a:lnTo>
                <a:cubicBezTo>
                  <a:pt x="286703" y="140494"/>
                  <a:pt x="299085" y="152400"/>
                  <a:pt x="314325" y="152400"/>
                </a:cubicBezTo>
                <a:lnTo>
                  <a:pt x="314325" y="152400"/>
                </a:lnTo>
                <a:lnTo>
                  <a:pt x="438055" y="152400"/>
                </a:lnTo>
                <a:cubicBezTo>
                  <a:pt x="438150" y="153162"/>
                  <a:pt x="438150" y="153924"/>
                  <a:pt x="438150" y="154686"/>
                </a:cubicBezTo>
                <a:lnTo>
                  <a:pt x="438150" y="504825"/>
                </a:lnTo>
                <a:cubicBezTo>
                  <a:pt x="438150" y="520637"/>
                  <a:pt x="425387" y="533400"/>
                  <a:pt x="409575" y="533400"/>
                </a:cubicBezTo>
                <a:lnTo>
                  <a:pt x="28575" y="533400"/>
                </a:lnTo>
                <a:cubicBezTo>
                  <a:pt x="12764" y="533400"/>
                  <a:pt x="0" y="520637"/>
                  <a:pt x="0" y="504825"/>
                </a:cubicBezTo>
                <a:lnTo>
                  <a:pt x="0" y="28575"/>
                </a:lnTo>
                <a:cubicBezTo>
                  <a:pt x="0" y="12763"/>
                  <a:pt x="12764" y="0"/>
                  <a:pt x="28575" y="0"/>
                </a:cubicBezTo>
                <a:lnTo>
                  <a:pt x="283464" y="0"/>
                </a:lnTo>
                <a:close/>
                <a:moveTo>
                  <a:pt x="247650" y="200025"/>
                </a:moveTo>
                <a:lnTo>
                  <a:pt x="152400" y="200025"/>
                </a:lnTo>
                <a:lnTo>
                  <a:pt x="152400" y="409575"/>
                </a:lnTo>
                <a:lnTo>
                  <a:pt x="171450" y="409575"/>
                </a:lnTo>
                <a:lnTo>
                  <a:pt x="171450" y="314325"/>
                </a:lnTo>
                <a:lnTo>
                  <a:pt x="247650" y="314325"/>
                </a:lnTo>
                <a:lnTo>
                  <a:pt x="249746" y="314325"/>
                </a:lnTo>
                <a:cubicBezTo>
                  <a:pt x="280321" y="313182"/>
                  <a:pt x="304800" y="288036"/>
                  <a:pt x="304800" y="257175"/>
                </a:cubicBezTo>
                <a:cubicBezTo>
                  <a:pt x="304800" y="225647"/>
                  <a:pt x="279178" y="200025"/>
                  <a:pt x="247650" y="200025"/>
                </a:cubicBezTo>
                <a:lnTo>
                  <a:pt x="247650" y="200025"/>
                </a:lnTo>
                <a:close/>
                <a:moveTo>
                  <a:pt x="247650" y="219075"/>
                </a:moveTo>
                <a:cubicBezTo>
                  <a:pt x="268700" y="219075"/>
                  <a:pt x="285750" y="236125"/>
                  <a:pt x="285750" y="257175"/>
                </a:cubicBezTo>
                <a:cubicBezTo>
                  <a:pt x="285750" y="278225"/>
                  <a:pt x="268700" y="295275"/>
                  <a:pt x="247650" y="295275"/>
                </a:cubicBezTo>
                <a:lnTo>
                  <a:pt x="247650" y="295275"/>
                </a:lnTo>
                <a:lnTo>
                  <a:pt x="171450" y="295275"/>
                </a:lnTo>
                <a:lnTo>
                  <a:pt x="171450" y="219075"/>
                </a:lnTo>
                <a:lnTo>
                  <a:pt x="247650" y="219075"/>
                </a:lnTo>
                <a:close/>
                <a:moveTo>
                  <a:pt x="428625" y="133350"/>
                </a:moveTo>
                <a:lnTo>
                  <a:pt x="314325" y="133350"/>
                </a:lnTo>
                <a:lnTo>
                  <a:pt x="313182" y="133255"/>
                </a:lnTo>
                <a:cubicBezTo>
                  <a:pt x="308515" y="132779"/>
                  <a:pt x="304800" y="128683"/>
                  <a:pt x="304800" y="123825"/>
                </a:cubicBezTo>
                <a:lnTo>
                  <a:pt x="304800" y="123825"/>
                </a:lnTo>
                <a:lnTo>
                  <a:pt x="304800" y="9525"/>
                </a:lnTo>
                <a:lnTo>
                  <a:pt x="428625" y="1333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26" name="iṣľïḑê">
            <a:extLst>
              <a:ext uri="{FF2B5EF4-FFF2-40B4-BE49-F238E27FC236}">
                <a16:creationId xmlns:a16="http://schemas.microsoft.com/office/drawing/2014/main" id="{93B857E9-5EE0-4CD2-BCA7-E67BBEEE1B60}"/>
              </a:ext>
            </a:extLst>
          </p:cNvPr>
          <p:cNvSpPr/>
          <p:nvPr/>
        </p:nvSpPr>
        <p:spPr bwMode="auto">
          <a:xfrm>
            <a:off x="4877909" y="3997362"/>
            <a:ext cx="2732145" cy="686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ct val="0"/>
              </a:spcBef>
            </a:pPr>
            <a:r>
              <a:rPr lang="en-US" altLang="zh-CN" sz="1200" dirty="0"/>
              <a:t>Copy paste fonts. Choose the </a:t>
            </a:r>
            <a:r>
              <a:rPr lang="en-US" altLang="zh-CN" sz="1200"/>
              <a:t>only opti</a:t>
            </a:r>
            <a:r>
              <a:rPr lang="en-US" altLang="zh-CN" sz="100"/>
              <a:t> </a:t>
            </a:r>
            <a:r>
              <a:rPr lang="en-US" altLang="zh-CN" sz="1200"/>
              <a:t>on </a:t>
            </a:r>
            <a:r>
              <a:rPr lang="en-US" altLang="zh-CN" sz="1200" dirty="0"/>
              <a:t>to retain text……</a:t>
            </a:r>
          </a:p>
        </p:txBody>
      </p:sp>
      <p:sp>
        <p:nvSpPr>
          <p:cNvPr id="827" name="ïṧ1ïḑè">
            <a:extLst>
              <a:ext uri="{FF2B5EF4-FFF2-40B4-BE49-F238E27FC236}">
                <a16:creationId xmlns:a16="http://schemas.microsoft.com/office/drawing/2014/main" id="{D5148CF0-FD9F-4080-B862-443AAFE30EFA}"/>
              </a:ext>
            </a:extLst>
          </p:cNvPr>
          <p:cNvSpPr/>
          <p:nvPr/>
        </p:nvSpPr>
        <p:spPr>
          <a:xfrm>
            <a:off x="4292983" y="4072553"/>
            <a:ext cx="535793" cy="53579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28" name="í$lïde">
            <a:extLst>
              <a:ext uri="{FF2B5EF4-FFF2-40B4-BE49-F238E27FC236}">
                <a16:creationId xmlns:a16="http://schemas.microsoft.com/office/drawing/2014/main" id="{F5CBCD08-F6CF-4E14-8E7B-9C5C10A51C0C}"/>
              </a:ext>
            </a:extLst>
          </p:cNvPr>
          <p:cNvSpPr/>
          <p:nvPr/>
        </p:nvSpPr>
        <p:spPr>
          <a:xfrm>
            <a:off x="4397219" y="4167347"/>
            <a:ext cx="327319" cy="346203"/>
          </a:xfrm>
          <a:custGeom>
            <a:avLst/>
            <a:gdLst>
              <a:gd name="connsiteX0" fmla="*/ 371475 w 495300"/>
              <a:gd name="connsiteY0" fmla="*/ 0 h 523875"/>
              <a:gd name="connsiteX1" fmla="*/ 400050 w 495300"/>
              <a:gd name="connsiteY1" fmla="*/ 28575 h 523875"/>
              <a:gd name="connsiteX2" fmla="*/ 400050 w 495300"/>
              <a:gd name="connsiteY2" fmla="*/ 133350 h 523875"/>
              <a:gd name="connsiteX3" fmla="*/ 371475 w 495300"/>
              <a:gd name="connsiteY3" fmla="*/ 161925 h 523875"/>
              <a:gd name="connsiteX4" fmla="*/ 257175 w 495300"/>
              <a:gd name="connsiteY4" fmla="*/ 161925 h 523875"/>
              <a:gd name="connsiteX5" fmla="*/ 257175 w 495300"/>
              <a:gd name="connsiteY5" fmla="*/ 285750 h 523875"/>
              <a:gd name="connsiteX6" fmla="*/ 419100 w 495300"/>
              <a:gd name="connsiteY6" fmla="*/ 285750 h 523875"/>
              <a:gd name="connsiteX7" fmla="*/ 457200 w 495300"/>
              <a:gd name="connsiteY7" fmla="*/ 321945 h 523875"/>
              <a:gd name="connsiteX8" fmla="*/ 457200 w 495300"/>
              <a:gd name="connsiteY8" fmla="*/ 323850 h 523875"/>
              <a:gd name="connsiteX9" fmla="*/ 457200 w 495300"/>
              <a:gd name="connsiteY9" fmla="*/ 428625 h 523875"/>
              <a:gd name="connsiteX10" fmla="*/ 476250 w 495300"/>
              <a:gd name="connsiteY10" fmla="*/ 428625 h 523875"/>
              <a:gd name="connsiteX11" fmla="*/ 495300 w 495300"/>
              <a:gd name="connsiteY11" fmla="*/ 447675 h 523875"/>
              <a:gd name="connsiteX12" fmla="*/ 495300 w 495300"/>
              <a:gd name="connsiteY12" fmla="*/ 504825 h 523875"/>
              <a:gd name="connsiteX13" fmla="*/ 476250 w 495300"/>
              <a:gd name="connsiteY13" fmla="*/ 523875 h 523875"/>
              <a:gd name="connsiteX14" fmla="*/ 419100 w 495300"/>
              <a:gd name="connsiteY14" fmla="*/ 523875 h 523875"/>
              <a:gd name="connsiteX15" fmla="*/ 400050 w 495300"/>
              <a:gd name="connsiteY15" fmla="*/ 504825 h 523875"/>
              <a:gd name="connsiteX16" fmla="*/ 400050 w 495300"/>
              <a:gd name="connsiteY16" fmla="*/ 447675 h 523875"/>
              <a:gd name="connsiteX17" fmla="*/ 419100 w 495300"/>
              <a:gd name="connsiteY17" fmla="*/ 428625 h 523875"/>
              <a:gd name="connsiteX18" fmla="*/ 438150 w 495300"/>
              <a:gd name="connsiteY18" fmla="*/ 428625 h 523875"/>
              <a:gd name="connsiteX19" fmla="*/ 438150 w 495300"/>
              <a:gd name="connsiteY19" fmla="*/ 323850 h 523875"/>
              <a:gd name="connsiteX20" fmla="*/ 420529 w 495300"/>
              <a:gd name="connsiteY20" fmla="*/ 304895 h 523875"/>
              <a:gd name="connsiteX21" fmla="*/ 419100 w 495300"/>
              <a:gd name="connsiteY21" fmla="*/ 304800 h 523875"/>
              <a:gd name="connsiteX22" fmla="*/ 257175 w 495300"/>
              <a:gd name="connsiteY22" fmla="*/ 304800 h 523875"/>
              <a:gd name="connsiteX23" fmla="*/ 257175 w 495300"/>
              <a:gd name="connsiteY23" fmla="*/ 428625 h 523875"/>
              <a:gd name="connsiteX24" fmla="*/ 276225 w 495300"/>
              <a:gd name="connsiteY24" fmla="*/ 428625 h 523875"/>
              <a:gd name="connsiteX25" fmla="*/ 295275 w 495300"/>
              <a:gd name="connsiteY25" fmla="*/ 447675 h 523875"/>
              <a:gd name="connsiteX26" fmla="*/ 295275 w 495300"/>
              <a:gd name="connsiteY26" fmla="*/ 504825 h 523875"/>
              <a:gd name="connsiteX27" fmla="*/ 276225 w 495300"/>
              <a:gd name="connsiteY27" fmla="*/ 523875 h 523875"/>
              <a:gd name="connsiteX28" fmla="*/ 219075 w 495300"/>
              <a:gd name="connsiteY28" fmla="*/ 523875 h 523875"/>
              <a:gd name="connsiteX29" fmla="*/ 200025 w 495300"/>
              <a:gd name="connsiteY29" fmla="*/ 504825 h 523875"/>
              <a:gd name="connsiteX30" fmla="*/ 200025 w 495300"/>
              <a:gd name="connsiteY30" fmla="*/ 447675 h 523875"/>
              <a:gd name="connsiteX31" fmla="*/ 219075 w 495300"/>
              <a:gd name="connsiteY31" fmla="*/ 428625 h 523875"/>
              <a:gd name="connsiteX32" fmla="*/ 238125 w 495300"/>
              <a:gd name="connsiteY32" fmla="*/ 428625 h 523875"/>
              <a:gd name="connsiteX33" fmla="*/ 238125 w 495300"/>
              <a:gd name="connsiteY33" fmla="*/ 304800 h 523875"/>
              <a:gd name="connsiteX34" fmla="*/ 76200 w 495300"/>
              <a:gd name="connsiteY34" fmla="*/ 304800 h 523875"/>
              <a:gd name="connsiteX35" fmla="*/ 57245 w 495300"/>
              <a:gd name="connsiteY35" fmla="*/ 322421 h 523875"/>
              <a:gd name="connsiteX36" fmla="*/ 57150 w 495300"/>
              <a:gd name="connsiteY36" fmla="*/ 323850 h 523875"/>
              <a:gd name="connsiteX37" fmla="*/ 57150 w 495300"/>
              <a:gd name="connsiteY37" fmla="*/ 428625 h 523875"/>
              <a:gd name="connsiteX38" fmla="*/ 76200 w 495300"/>
              <a:gd name="connsiteY38" fmla="*/ 428625 h 523875"/>
              <a:gd name="connsiteX39" fmla="*/ 95250 w 495300"/>
              <a:gd name="connsiteY39" fmla="*/ 447675 h 523875"/>
              <a:gd name="connsiteX40" fmla="*/ 95250 w 495300"/>
              <a:gd name="connsiteY40" fmla="*/ 504825 h 523875"/>
              <a:gd name="connsiteX41" fmla="*/ 76200 w 495300"/>
              <a:gd name="connsiteY41" fmla="*/ 523875 h 523875"/>
              <a:gd name="connsiteX42" fmla="*/ 19050 w 495300"/>
              <a:gd name="connsiteY42" fmla="*/ 523875 h 523875"/>
              <a:gd name="connsiteX43" fmla="*/ 0 w 495300"/>
              <a:gd name="connsiteY43" fmla="*/ 504825 h 523875"/>
              <a:gd name="connsiteX44" fmla="*/ 0 w 495300"/>
              <a:gd name="connsiteY44" fmla="*/ 447675 h 523875"/>
              <a:gd name="connsiteX45" fmla="*/ 19050 w 495300"/>
              <a:gd name="connsiteY45" fmla="*/ 428625 h 523875"/>
              <a:gd name="connsiteX46" fmla="*/ 38100 w 495300"/>
              <a:gd name="connsiteY46" fmla="*/ 428625 h 523875"/>
              <a:gd name="connsiteX47" fmla="*/ 38100 w 495300"/>
              <a:gd name="connsiteY47" fmla="*/ 323850 h 523875"/>
              <a:gd name="connsiteX48" fmla="*/ 74295 w 495300"/>
              <a:gd name="connsiteY48" fmla="*/ 285750 h 523875"/>
              <a:gd name="connsiteX49" fmla="*/ 76200 w 495300"/>
              <a:gd name="connsiteY49" fmla="*/ 285750 h 523875"/>
              <a:gd name="connsiteX50" fmla="*/ 238125 w 495300"/>
              <a:gd name="connsiteY50" fmla="*/ 285750 h 523875"/>
              <a:gd name="connsiteX51" fmla="*/ 238125 w 495300"/>
              <a:gd name="connsiteY51" fmla="*/ 161925 h 523875"/>
              <a:gd name="connsiteX52" fmla="*/ 123825 w 495300"/>
              <a:gd name="connsiteY52" fmla="*/ 161925 h 523875"/>
              <a:gd name="connsiteX53" fmla="*/ 95250 w 495300"/>
              <a:gd name="connsiteY53" fmla="*/ 133350 h 523875"/>
              <a:gd name="connsiteX54" fmla="*/ 95250 w 495300"/>
              <a:gd name="connsiteY54" fmla="*/ 28575 h 523875"/>
              <a:gd name="connsiteX55" fmla="*/ 123825 w 495300"/>
              <a:gd name="connsiteY55" fmla="*/ 0 h 523875"/>
              <a:gd name="connsiteX56" fmla="*/ 371475 w 495300"/>
              <a:gd name="connsiteY56" fmla="*/ 0 h 523875"/>
              <a:gd name="connsiteX57" fmla="*/ 147638 w 495300"/>
              <a:gd name="connsiteY57" fmla="*/ 95250 h 523875"/>
              <a:gd name="connsiteX58" fmla="*/ 133350 w 495300"/>
              <a:gd name="connsiteY58" fmla="*/ 109538 h 523875"/>
              <a:gd name="connsiteX59" fmla="*/ 147638 w 495300"/>
              <a:gd name="connsiteY59" fmla="*/ 123825 h 523875"/>
              <a:gd name="connsiteX60" fmla="*/ 161925 w 495300"/>
              <a:gd name="connsiteY60" fmla="*/ 109538 h 523875"/>
              <a:gd name="connsiteX61" fmla="*/ 147638 w 495300"/>
              <a:gd name="connsiteY61" fmla="*/ 9525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475" y="0"/>
                </a:moveTo>
                <a:cubicBezTo>
                  <a:pt x="387287" y="0"/>
                  <a:pt x="400050" y="12763"/>
                  <a:pt x="400050" y="28575"/>
                </a:cubicBezTo>
                <a:lnTo>
                  <a:pt x="400050" y="133350"/>
                </a:lnTo>
                <a:cubicBezTo>
                  <a:pt x="400050" y="149162"/>
                  <a:pt x="387287" y="161925"/>
                  <a:pt x="371475" y="161925"/>
                </a:cubicBezTo>
                <a:lnTo>
                  <a:pt x="257175" y="161925"/>
                </a:lnTo>
                <a:lnTo>
                  <a:pt x="257175" y="285750"/>
                </a:lnTo>
                <a:lnTo>
                  <a:pt x="419100" y="285750"/>
                </a:lnTo>
                <a:cubicBezTo>
                  <a:pt x="439484" y="285750"/>
                  <a:pt x="456152" y="301752"/>
                  <a:pt x="457200" y="321945"/>
                </a:cubicBezTo>
                <a:lnTo>
                  <a:pt x="457200" y="323850"/>
                </a:lnTo>
                <a:lnTo>
                  <a:pt x="457200" y="428625"/>
                </a:lnTo>
                <a:lnTo>
                  <a:pt x="476250" y="428625"/>
                </a:lnTo>
                <a:cubicBezTo>
                  <a:pt x="486728" y="428625"/>
                  <a:pt x="495300" y="437198"/>
                  <a:pt x="495300" y="447675"/>
                </a:cubicBezTo>
                <a:lnTo>
                  <a:pt x="495300" y="504825"/>
                </a:lnTo>
                <a:cubicBezTo>
                  <a:pt x="495300" y="515303"/>
                  <a:pt x="486728" y="523875"/>
                  <a:pt x="476250" y="523875"/>
                </a:cubicBezTo>
                <a:lnTo>
                  <a:pt x="419100" y="523875"/>
                </a:lnTo>
                <a:cubicBezTo>
                  <a:pt x="408622" y="523875"/>
                  <a:pt x="400050" y="515303"/>
                  <a:pt x="400050" y="504825"/>
                </a:cubicBezTo>
                <a:lnTo>
                  <a:pt x="400050" y="447675"/>
                </a:lnTo>
                <a:cubicBezTo>
                  <a:pt x="400050" y="437198"/>
                  <a:pt x="408622" y="428625"/>
                  <a:pt x="419100" y="428625"/>
                </a:cubicBezTo>
                <a:lnTo>
                  <a:pt x="438150" y="428625"/>
                </a:lnTo>
                <a:lnTo>
                  <a:pt x="438150" y="323850"/>
                </a:lnTo>
                <a:cubicBezTo>
                  <a:pt x="438150" y="313849"/>
                  <a:pt x="430339" y="305562"/>
                  <a:pt x="420529" y="304895"/>
                </a:cubicBezTo>
                <a:lnTo>
                  <a:pt x="419100" y="304800"/>
                </a:lnTo>
                <a:lnTo>
                  <a:pt x="257175" y="304800"/>
                </a:lnTo>
                <a:lnTo>
                  <a:pt x="257175" y="428625"/>
                </a:lnTo>
                <a:lnTo>
                  <a:pt x="276225" y="428625"/>
                </a:lnTo>
                <a:cubicBezTo>
                  <a:pt x="286703" y="428625"/>
                  <a:pt x="295275" y="437198"/>
                  <a:pt x="295275" y="447675"/>
                </a:cubicBezTo>
                <a:lnTo>
                  <a:pt x="295275" y="504825"/>
                </a:lnTo>
                <a:cubicBezTo>
                  <a:pt x="295275" y="515303"/>
                  <a:pt x="286703" y="523875"/>
                  <a:pt x="276225" y="523875"/>
                </a:cubicBezTo>
                <a:lnTo>
                  <a:pt x="219075" y="523875"/>
                </a:lnTo>
                <a:cubicBezTo>
                  <a:pt x="208597" y="523875"/>
                  <a:pt x="200025" y="515303"/>
                  <a:pt x="200025" y="504825"/>
                </a:cubicBezTo>
                <a:lnTo>
                  <a:pt x="200025" y="447675"/>
                </a:lnTo>
                <a:cubicBezTo>
                  <a:pt x="200025" y="437198"/>
                  <a:pt x="208597" y="428625"/>
                  <a:pt x="219075" y="428625"/>
                </a:cubicBezTo>
                <a:lnTo>
                  <a:pt x="238125" y="428625"/>
                </a:lnTo>
                <a:lnTo>
                  <a:pt x="238125" y="304800"/>
                </a:lnTo>
                <a:lnTo>
                  <a:pt x="76200" y="304800"/>
                </a:lnTo>
                <a:cubicBezTo>
                  <a:pt x="66199" y="304800"/>
                  <a:pt x="57912" y="312611"/>
                  <a:pt x="57245" y="322421"/>
                </a:cubicBezTo>
                <a:lnTo>
                  <a:pt x="57150" y="323850"/>
                </a:lnTo>
                <a:lnTo>
                  <a:pt x="57150" y="428625"/>
                </a:lnTo>
                <a:lnTo>
                  <a:pt x="76200" y="428625"/>
                </a:lnTo>
                <a:cubicBezTo>
                  <a:pt x="86678" y="428625"/>
                  <a:pt x="95250" y="437198"/>
                  <a:pt x="95250" y="447675"/>
                </a:cubicBezTo>
                <a:lnTo>
                  <a:pt x="95250" y="504825"/>
                </a:lnTo>
                <a:cubicBezTo>
                  <a:pt x="95250" y="515303"/>
                  <a:pt x="86678" y="523875"/>
                  <a:pt x="76200" y="523875"/>
                </a:cubicBezTo>
                <a:lnTo>
                  <a:pt x="19050" y="523875"/>
                </a:lnTo>
                <a:cubicBezTo>
                  <a:pt x="8573" y="523875"/>
                  <a:pt x="0" y="515303"/>
                  <a:pt x="0" y="504825"/>
                </a:cubicBezTo>
                <a:lnTo>
                  <a:pt x="0" y="447675"/>
                </a:lnTo>
                <a:cubicBezTo>
                  <a:pt x="0" y="437198"/>
                  <a:pt x="8573" y="428625"/>
                  <a:pt x="19050" y="428625"/>
                </a:cubicBezTo>
                <a:lnTo>
                  <a:pt x="38100" y="428625"/>
                </a:lnTo>
                <a:lnTo>
                  <a:pt x="38100" y="323850"/>
                </a:lnTo>
                <a:cubicBezTo>
                  <a:pt x="38100" y="303467"/>
                  <a:pt x="54102" y="286798"/>
                  <a:pt x="74295" y="285750"/>
                </a:cubicBezTo>
                <a:lnTo>
                  <a:pt x="76200" y="285750"/>
                </a:lnTo>
                <a:lnTo>
                  <a:pt x="238125" y="285750"/>
                </a:lnTo>
                <a:lnTo>
                  <a:pt x="238125" y="161925"/>
                </a:lnTo>
                <a:lnTo>
                  <a:pt x="123825" y="161925"/>
                </a:lnTo>
                <a:cubicBezTo>
                  <a:pt x="108013" y="161925"/>
                  <a:pt x="95250" y="149162"/>
                  <a:pt x="95250" y="133350"/>
                </a:cubicBezTo>
                <a:lnTo>
                  <a:pt x="95250" y="28575"/>
                </a:lnTo>
                <a:cubicBezTo>
                  <a:pt x="95250" y="12763"/>
                  <a:pt x="108013" y="0"/>
                  <a:pt x="123825" y="0"/>
                </a:cubicBezTo>
                <a:lnTo>
                  <a:pt x="371475" y="0"/>
                </a:lnTo>
                <a:close/>
                <a:moveTo>
                  <a:pt x="147638" y="95250"/>
                </a:moveTo>
                <a:cubicBezTo>
                  <a:pt x="139732" y="95250"/>
                  <a:pt x="133350" y="101632"/>
                  <a:pt x="133350" y="109538"/>
                </a:cubicBezTo>
                <a:cubicBezTo>
                  <a:pt x="133350" y="117443"/>
                  <a:pt x="139732" y="123825"/>
                  <a:pt x="147638" y="123825"/>
                </a:cubicBezTo>
                <a:cubicBezTo>
                  <a:pt x="155543" y="123825"/>
                  <a:pt x="161925" y="117443"/>
                  <a:pt x="161925" y="109538"/>
                </a:cubicBezTo>
                <a:cubicBezTo>
                  <a:pt x="161925" y="101632"/>
                  <a:pt x="155543" y="95250"/>
                  <a:pt x="147638" y="9525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Tree>
    <p:custDataLst>
      <p:tags r:id="rId2"/>
    </p:custDataLst>
    <p:extLst>
      <p:ext uri="{BB962C8B-B14F-4D97-AF65-F5344CB8AC3E}">
        <p14:creationId xmlns:p14="http://schemas.microsoft.com/office/powerpoint/2010/main" val="1876801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îṥḷîḑè"/>
        <p:cNvGrpSpPr/>
        <p:nvPr/>
      </p:nvGrpSpPr>
      <p:grpSpPr>
        <a:xfrm>
          <a:off x="0" y="0"/>
          <a:ext cx="0" cy="0"/>
          <a:chOff x="0" y="0"/>
          <a:chExt cx="0" cy="0"/>
        </a:xfrm>
      </p:grpSpPr>
      <p:grpSp>
        <p:nvGrpSpPr>
          <p:cNvPr id="45" name="íŝḷiḋé">
            <a:extLst>
              <a:ext uri="{FF2B5EF4-FFF2-40B4-BE49-F238E27FC236}">
                <a16:creationId xmlns:a16="http://schemas.microsoft.com/office/drawing/2014/main" id="{3C2F0F09-3D89-4747-B4CE-A26FC1A26CB8}"/>
              </a:ext>
            </a:extLst>
          </p:cNvPr>
          <p:cNvGrpSpPr/>
          <p:nvPr/>
        </p:nvGrpSpPr>
        <p:grpSpPr>
          <a:xfrm>
            <a:off x="47143" y="4026879"/>
            <a:ext cx="12130525" cy="2137152"/>
            <a:chOff x="35399" y="4466341"/>
            <a:chExt cx="9108601" cy="1604749"/>
          </a:xfrm>
        </p:grpSpPr>
        <p:sp>
          <p:nvSpPr>
            <p:cNvPr id="46" name="ïŝľîďe">
              <a:extLst>
                <a:ext uri="{FF2B5EF4-FFF2-40B4-BE49-F238E27FC236}">
                  <a16:creationId xmlns:a16="http://schemas.microsoft.com/office/drawing/2014/main" id="{5515AA1C-2DC3-48F3-AAA3-A8B5EFE49FE1}"/>
                </a:ext>
              </a:extLst>
            </p:cNvPr>
            <p:cNvSpPr/>
            <p:nvPr/>
          </p:nvSpPr>
          <p:spPr bwMode="auto">
            <a:xfrm>
              <a:off x="772875" y="4678733"/>
              <a:ext cx="4359944" cy="1392352"/>
            </a:xfrm>
            <a:custGeom>
              <a:avLst/>
              <a:gdLst>
                <a:gd name="T0" fmla="*/ 1027 w 1478"/>
                <a:gd name="T1" fmla="*/ 471 h 473"/>
                <a:gd name="T2" fmla="*/ 972 w 1478"/>
                <a:gd name="T3" fmla="*/ 473 h 473"/>
                <a:gd name="T4" fmla="*/ 970 w 1478"/>
                <a:gd name="T5" fmla="*/ 473 h 473"/>
                <a:gd name="T6" fmla="*/ 995 w 1478"/>
                <a:gd name="T7" fmla="*/ 117 h 473"/>
                <a:gd name="T8" fmla="*/ 996 w 1478"/>
                <a:gd name="T9" fmla="*/ 105 h 473"/>
                <a:gd name="T10" fmla="*/ 1006 w 1478"/>
                <a:gd name="T11" fmla="*/ 117 h 473"/>
                <a:gd name="T12" fmla="*/ 1010 w 1478"/>
                <a:gd name="T13" fmla="*/ 471 h 473"/>
                <a:gd name="T14" fmla="*/ 1461 w 1478"/>
                <a:gd name="T15" fmla="*/ 105 h 473"/>
                <a:gd name="T16" fmla="*/ 1465 w 1478"/>
                <a:gd name="T17" fmla="*/ 105 h 473"/>
                <a:gd name="T18" fmla="*/ 1475 w 1478"/>
                <a:gd name="T19" fmla="*/ 155 h 473"/>
                <a:gd name="T20" fmla="*/ 1478 w 1478"/>
                <a:gd name="T21" fmla="*/ 473 h 473"/>
                <a:gd name="T22" fmla="*/ 1465 w 1478"/>
                <a:gd name="T23" fmla="*/ 473 h 473"/>
                <a:gd name="T24" fmla="*/ 1423 w 1478"/>
                <a:gd name="T25" fmla="*/ 473 h 473"/>
                <a:gd name="T26" fmla="*/ 1415 w 1478"/>
                <a:gd name="T27" fmla="*/ 207 h 473"/>
                <a:gd name="T28" fmla="*/ 1423 w 1478"/>
                <a:gd name="T29" fmla="*/ 155 h 473"/>
                <a:gd name="T30" fmla="*/ 1427 w 1478"/>
                <a:gd name="T31" fmla="*/ 105 h 473"/>
                <a:gd name="T32" fmla="*/ 1442 w 1478"/>
                <a:gd name="T33" fmla="*/ 23 h 473"/>
                <a:gd name="T34" fmla="*/ 1461 w 1478"/>
                <a:gd name="T35" fmla="*/ 105 h 473"/>
                <a:gd name="T36" fmla="*/ 1285 w 1478"/>
                <a:gd name="T37" fmla="*/ 190 h 473"/>
                <a:gd name="T38" fmla="*/ 1335 w 1478"/>
                <a:gd name="T39" fmla="*/ 473 h 473"/>
                <a:gd name="T40" fmla="*/ 1285 w 1478"/>
                <a:gd name="T41" fmla="*/ 190 h 473"/>
                <a:gd name="T42" fmla="*/ 1176 w 1478"/>
                <a:gd name="T43" fmla="*/ 243 h 473"/>
                <a:gd name="T44" fmla="*/ 1216 w 1478"/>
                <a:gd name="T45" fmla="*/ 473 h 473"/>
                <a:gd name="T46" fmla="*/ 1176 w 1478"/>
                <a:gd name="T47" fmla="*/ 243 h 473"/>
                <a:gd name="T48" fmla="*/ 1083 w 1478"/>
                <a:gd name="T49" fmla="*/ 167 h 473"/>
                <a:gd name="T50" fmla="*/ 1125 w 1478"/>
                <a:gd name="T51" fmla="*/ 473 h 473"/>
                <a:gd name="T52" fmla="*/ 1083 w 1478"/>
                <a:gd name="T53" fmla="*/ 167 h 473"/>
                <a:gd name="T54" fmla="*/ 849 w 1478"/>
                <a:gd name="T55" fmla="*/ 295 h 473"/>
                <a:gd name="T56" fmla="*/ 884 w 1478"/>
                <a:gd name="T57" fmla="*/ 473 h 473"/>
                <a:gd name="T58" fmla="*/ 849 w 1478"/>
                <a:gd name="T59" fmla="*/ 295 h 473"/>
                <a:gd name="T60" fmla="*/ 631 w 1478"/>
                <a:gd name="T61" fmla="*/ 373 h 473"/>
                <a:gd name="T62" fmla="*/ 643 w 1478"/>
                <a:gd name="T63" fmla="*/ 318 h 473"/>
                <a:gd name="T64" fmla="*/ 667 w 1478"/>
                <a:gd name="T65" fmla="*/ 306 h 473"/>
                <a:gd name="T66" fmla="*/ 702 w 1478"/>
                <a:gd name="T67" fmla="*/ 234 h 473"/>
                <a:gd name="T68" fmla="*/ 723 w 1478"/>
                <a:gd name="T69" fmla="*/ 306 h 473"/>
                <a:gd name="T70" fmla="*/ 702 w 1478"/>
                <a:gd name="T71" fmla="*/ 473 h 473"/>
                <a:gd name="T72" fmla="*/ 687 w 1478"/>
                <a:gd name="T73" fmla="*/ 473 h 473"/>
                <a:gd name="T74" fmla="*/ 643 w 1478"/>
                <a:gd name="T75" fmla="*/ 473 h 473"/>
                <a:gd name="T76" fmla="*/ 631 w 1478"/>
                <a:gd name="T77" fmla="*/ 373 h 473"/>
                <a:gd name="T78" fmla="*/ 581 w 1478"/>
                <a:gd name="T79" fmla="*/ 255 h 473"/>
                <a:gd name="T80" fmla="*/ 623 w 1478"/>
                <a:gd name="T81" fmla="*/ 473 h 473"/>
                <a:gd name="T82" fmla="*/ 581 w 1478"/>
                <a:gd name="T83" fmla="*/ 255 h 473"/>
                <a:gd name="T84" fmla="*/ 532 w 1478"/>
                <a:gd name="T85" fmla="*/ 314 h 473"/>
                <a:gd name="T86" fmla="*/ 557 w 1478"/>
                <a:gd name="T87" fmla="*/ 356 h 473"/>
                <a:gd name="T88" fmla="*/ 532 w 1478"/>
                <a:gd name="T89" fmla="*/ 473 h 473"/>
                <a:gd name="T90" fmla="*/ 455 w 1478"/>
                <a:gd name="T91" fmla="*/ 473 h 473"/>
                <a:gd name="T92" fmla="*/ 455 w 1478"/>
                <a:gd name="T93" fmla="*/ 302 h 473"/>
                <a:gd name="T94" fmla="*/ 488 w 1478"/>
                <a:gd name="T95" fmla="*/ 356 h 473"/>
                <a:gd name="T96" fmla="*/ 532 w 1478"/>
                <a:gd name="T97" fmla="*/ 314 h 473"/>
                <a:gd name="T98" fmla="*/ 360 w 1478"/>
                <a:gd name="T99" fmla="*/ 293 h 473"/>
                <a:gd name="T100" fmla="*/ 426 w 1478"/>
                <a:gd name="T101" fmla="*/ 473 h 473"/>
                <a:gd name="T102" fmla="*/ 360 w 1478"/>
                <a:gd name="T103" fmla="*/ 293 h 473"/>
                <a:gd name="T104" fmla="*/ 287 w 1478"/>
                <a:gd name="T105" fmla="*/ 209 h 473"/>
                <a:gd name="T106" fmla="*/ 350 w 1478"/>
                <a:gd name="T107" fmla="*/ 473 h 473"/>
                <a:gd name="T108" fmla="*/ 287 w 1478"/>
                <a:gd name="T109" fmla="*/ 209 h 473"/>
                <a:gd name="T110" fmla="*/ 195 w 1478"/>
                <a:gd name="T111" fmla="*/ 184 h 473"/>
                <a:gd name="T112" fmla="*/ 241 w 1478"/>
                <a:gd name="T113" fmla="*/ 473 h 473"/>
                <a:gd name="T114" fmla="*/ 195 w 1478"/>
                <a:gd name="T115" fmla="*/ 184 h 473"/>
                <a:gd name="T116" fmla="*/ 31 w 1478"/>
                <a:gd name="T117" fmla="*/ 264 h 473"/>
                <a:gd name="T118" fmla="*/ 92 w 1478"/>
                <a:gd name="T119" fmla="*/ 473 h 473"/>
                <a:gd name="T120" fmla="*/ 31 w 1478"/>
                <a:gd name="T121" fmla="*/ 473 h 473"/>
                <a:gd name="T122" fmla="*/ 0 w 1478"/>
                <a:gd name="T123" fmla="*/ 331 h 473"/>
                <a:gd name="T124" fmla="*/ 31 w 1478"/>
                <a:gd name="T125" fmla="*/ 264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8" h="473">
                  <a:moveTo>
                    <a:pt x="1010" y="471"/>
                  </a:moveTo>
                  <a:lnTo>
                    <a:pt x="1027" y="471"/>
                  </a:lnTo>
                  <a:lnTo>
                    <a:pt x="1027" y="473"/>
                  </a:lnTo>
                  <a:lnTo>
                    <a:pt x="972" y="473"/>
                  </a:lnTo>
                  <a:lnTo>
                    <a:pt x="972" y="473"/>
                  </a:lnTo>
                  <a:lnTo>
                    <a:pt x="970" y="473"/>
                  </a:lnTo>
                  <a:lnTo>
                    <a:pt x="970" y="117"/>
                  </a:lnTo>
                  <a:lnTo>
                    <a:pt x="995" y="117"/>
                  </a:lnTo>
                  <a:lnTo>
                    <a:pt x="996" y="75"/>
                  </a:lnTo>
                  <a:lnTo>
                    <a:pt x="996" y="105"/>
                  </a:lnTo>
                  <a:lnTo>
                    <a:pt x="1002" y="105"/>
                  </a:lnTo>
                  <a:lnTo>
                    <a:pt x="1006" y="117"/>
                  </a:lnTo>
                  <a:lnTo>
                    <a:pt x="1010" y="117"/>
                  </a:lnTo>
                  <a:lnTo>
                    <a:pt x="1010" y="471"/>
                  </a:lnTo>
                  <a:lnTo>
                    <a:pt x="1010" y="471"/>
                  </a:lnTo>
                  <a:close/>
                  <a:moveTo>
                    <a:pt x="1461" y="105"/>
                  </a:moveTo>
                  <a:lnTo>
                    <a:pt x="1463" y="0"/>
                  </a:lnTo>
                  <a:lnTo>
                    <a:pt x="1465" y="105"/>
                  </a:lnTo>
                  <a:lnTo>
                    <a:pt x="1475" y="105"/>
                  </a:lnTo>
                  <a:lnTo>
                    <a:pt x="1475" y="155"/>
                  </a:lnTo>
                  <a:lnTo>
                    <a:pt x="1478" y="155"/>
                  </a:lnTo>
                  <a:lnTo>
                    <a:pt x="1478" y="473"/>
                  </a:lnTo>
                  <a:lnTo>
                    <a:pt x="1475" y="473"/>
                  </a:lnTo>
                  <a:lnTo>
                    <a:pt x="1465" y="473"/>
                  </a:lnTo>
                  <a:lnTo>
                    <a:pt x="1427" y="473"/>
                  </a:lnTo>
                  <a:lnTo>
                    <a:pt x="1423" y="473"/>
                  </a:lnTo>
                  <a:lnTo>
                    <a:pt x="1415" y="473"/>
                  </a:lnTo>
                  <a:lnTo>
                    <a:pt x="1415" y="207"/>
                  </a:lnTo>
                  <a:lnTo>
                    <a:pt x="1423" y="207"/>
                  </a:lnTo>
                  <a:lnTo>
                    <a:pt x="1423" y="155"/>
                  </a:lnTo>
                  <a:lnTo>
                    <a:pt x="1427" y="155"/>
                  </a:lnTo>
                  <a:lnTo>
                    <a:pt x="1427" y="105"/>
                  </a:lnTo>
                  <a:lnTo>
                    <a:pt x="1440" y="105"/>
                  </a:lnTo>
                  <a:lnTo>
                    <a:pt x="1442" y="23"/>
                  </a:lnTo>
                  <a:lnTo>
                    <a:pt x="1444" y="105"/>
                  </a:lnTo>
                  <a:lnTo>
                    <a:pt x="1461" y="105"/>
                  </a:lnTo>
                  <a:lnTo>
                    <a:pt x="1461" y="105"/>
                  </a:lnTo>
                  <a:close/>
                  <a:moveTo>
                    <a:pt x="1285" y="190"/>
                  </a:moveTo>
                  <a:lnTo>
                    <a:pt x="1335" y="190"/>
                  </a:lnTo>
                  <a:lnTo>
                    <a:pt x="1335" y="473"/>
                  </a:lnTo>
                  <a:lnTo>
                    <a:pt x="1285" y="473"/>
                  </a:lnTo>
                  <a:lnTo>
                    <a:pt x="1285" y="190"/>
                  </a:lnTo>
                  <a:lnTo>
                    <a:pt x="1285" y="190"/>
                  </a:lnTo>
                  <a:close/>
                  <a:moveTo>
                    <a:pt x="1176" y="243"/>
                  </a:moveTo>
                  <a:lnTo>
                    <a:pt x="1216" y="243"/>
                  </a:lnTo>
                  <a:lnTo>
                    <a:pt x="1216" y="473"/>
                  </a:lnTo>
                  <a:lnTo>
                    <a:pt x="1176" y="473"/>
                  </a:lnTo>
                  <a:lnTo>
                    <a:pt x="1176" y="243"/>
                  </a:lnTo>
                  <a:lnTo>
                    <a:pt x="1176" y="243"/>
                  </a:lnTo>
                  <a:close/>
                  <a:moveTo>
                    <a:pt x="1083" y="167"/>
                  </a:moveTo>
                  <a:lnTo>
                    <a:pt x="1125" y="167"/>
                  </a:lnTo>
                  <a:lnTo>
                    <a:pt x="1125" y="473"/>
                  </a:lnTo>
                  <a:lnTo>
                    <a:pt x="1083" y="473"/>
                  </a:lnTo>
                  <a:lnTo>
                    <a:pt x="1083" y="167"/>
                  </a:lnTo>
                  <a:lnTo>
                    <a:pt x="1083" y="167"/>
                  </a:lnTo>
                  <a:close/>
                  <a:moveTo>
                    <a:pt x="849" y="295"/>
                  </a:moveTo>
                  <a:lnTo>
                    <a:pt x="884" y="295"/>
                  </a:lnTo>
                  <a:lnTo>
                    <a:pt x="884" y="473"/>
                  </a:lnTo>
                  <a:lnTo>
                    <a:pt x="849" y="473"/>
                  </a:lnTo>
                  <a:lnTo>
                    <a:pt x="849" y="295"/>
                  </a:lnTo>
                  <a:lnTo>
                    <a:pt x="849" y="295"/>
                  </a:lnTo>
                  <a:close/>
                  <a:moveTo>
                    <a:pt x="631" y="373"/>
                  </a:moveTo>
                  <a:lnTo>
                    <a:pt x="643" y="373"/>
                  </a:lnTo>
                  <a:lnTo>
                    <a:pt x="643" y="318"/>
                  </a:lnTo>
                  <a:lnTo>
                    <a:pt x="667" y="318"/>
                  </a:lnTo>
                  <a:lnTo>
                    <a:pt x="667" y="306"/>
                  </a:lnTo>
                  <a:lnTo>
                    <a:pt x="667" y="234"/>
                  </a:lnTo>
                  <a:lnTo>
                    <a:pt x="702" y="234"/>
                  </a:lnTo>
                  <a:lnTo>
                    <a:pt x="702" y="306"/>
                  </a:lnTo>
                  <a:lnTo>
                    <a:pt x="723" y="306"/>
                  </a:lnTo>
                  <a:lnTo>
                    <a:pt x="723" y="473"/>
                  </a:lnTo>
                  <a:lnTo>
                    <a:pt x="702" y="473"/>
                  </a:lnTo>
                  <a:lnTo>
                    <a:pt x="698" y="473"/>
                  </a:lnTo>
                  <a:lnTo>
                    <a:pt x="687" y="473"/>
                  </a:lnTo>
                  <a:lnTo>
                    <a:pt x="667" y="473"/>
                  </a:lnTo>
                  <a:lnTo>
                    <a:pt x="643" y="473"/>
                  </a:lnTo>
                  <a:lnTo>
                    <a:pt x="631" y="473"/>
                  </a:lnTo>
                  <a:lnTo>
                    <a:pt x="631" y="373"/>
                  </a:lnTo>
                  <a:lnTo>
                    <a:pt x="631" y="373"/>
                  </a:lnTo>
                  <a:close/>
                  <a:moveTo>
                    <a:pt x="581" y="255"/>
                  </a:moveTo>
                  <a:lnTo>
                    <a:pt x="623" y="255"/>
                  </a:lnTo>
                  <a:lnTo>
                    <a:pt x="623" y="473"/>
                  </a:lnTo>
                  <a:lnTo>
                    <a:pt x="581" y="473"/>
                  </a:lnTo>
                  <a:lnTo>
                    <a:pt x="581" y="255"/>
                  </a:lnTo>
                  <a:lnTo>
                    <a:pt x="581" y="255"/>
                  </a:lnTo>
                  <a:close/>
                  <a:moveTo>
                    <a:pt x="532" y="314"/>
                  </a:moveTo>
                  <a:lnTo>
                    <a:pt x="557" y="314"/>
                  </a:lnTo>
                  <a:lnTo>
                    <a:pt x="557" y="356"/>
                  </a:lnTo>
                  <a:lnTo>
                    <a:pt x="557" y="473"/>
                  </a:lnTo>
                  <a:lnTo>
                    <a:pt x="532" y="473"/>
                  </a:lnTo>
                  <a:lnTo>
                    <a:pt x="488" y="473"/>
                  </a:lnTo>
                  <a:lnTo>
                    <a:pt x="455" y="473"/>
                  </a:lnTo>
                  <a:lnTo>
                    <a:pt x="455" y="356"/>
                  </a:lnTo>
                  <a:lnTo>
                    <a:pt x="455" y="302"/>
                  </a:lnTo>
                  <a:lnTo>
                    <a:pt x="488" y="302"/>
                  </a:lnTo>
                  <a:lnTo>
                    <a:pt x="488" y="356"/>
                  </a:lnTo>
                  <a:lnTo>
                    <a:pt x="532" y="356"/>
                  </a:lnTo>
                  <a:lnTo>
                    <a:pt x="532" y="314"/>
                  </a:lnTo>
                  <a:lnTo>
                    <a:pt x="532" y="314"/>
                  </a:lnTo>
                  <a:close/>
                  <a:moveTo>
                    <a:pt x="360" y="293"/>
                  </a:moveTo>
                  <a:lnTo>
                    <a:pt x="426" y="293"/>
                  </a:lnTo>
                  <a:lnTo>
                    <a:pt x="426" y="473"/>
                  </a:lnTo>
                  <a:lnTo>
                    <a:pt x="360" y="473"/>
                  </a:lnTo>
                  <a:lnTo>
                    <a:pt x="360" y="293"/>
                  </a:lnTo>
                  <a:lnTo>
                    <a:pt x="360" y="293"/>
                  </a:lnTo>
                  <a:close/>
                  <a:moveTo>
                    <a:pt x="287" y="209"/>
                  </a:moveTo>
                  <a:lnTo>
                    <a:pt x="350" y="209"/>
                  </a:lnTo>
                  <a:lnTo>
                    <a:pt x="350" y="473"/>
                  </a:lnTo>
                  <a:lnTo>
                    <a:pt x="287" y="473"/>
                  </a:lnTo>
                  <a:lnTo>
                    <a:pt x="287" y="209"/>
                  </a:lnTo>
                  <a:lnTo>
                    <a:pt x="287" y="209"/>
                  </a:lnTo>
                  <a:close/>
                  <a:moveTo>
                    <a:pt x="195" y="184"/>
                  </a:moveTo>
                  <a:lnTo>
                    <a:pt x="241" y="184"/>
                  </a:lnTo>
                  <a:lnTo>
                    <a:pt x="241" y="473"/>
                  </a:lnTo>
                  <a:lnTo>
                    <a:pt x="195" y="473"/>
                  </a:lnTo>
                  <a:lnTo>
                    <a:pt x="195" y="184"/>
                  </a:lnTo>
                  <a:lnTo>
                    <a:pt x="195" y="184"/>
                  </a:lnTo>
                  <a:close/>
                  <a:moveTo>
                    <a:pt x="31" y="264"/>
                  </a:moveTo>
                  <a:lnTo>
                    <a:pt x="92" y="264"/>
                  </a:lnTo>
                  <a:lnTo>
                    <a:pt x="92" y="473"/>
                  </a:lnTo>
                  <a:lnTo>
                    <a:pt x="61" y="473"/>
                  </a:lnTo>
                  <a:lnTo>
                    <a:pt x="31" y="473"/>
                  </a:lnTo>
                  <a:lnTo>
                    <a:pt x="0" y="473"/>
                  </a:lnTo>
                  <a:lnTo>
                    <a:pt x="0" y="331"/>
                  </a:lnTo>
                  <a:lnTo>
                    <a:pt x="31" y="331"/>
                  </a:lnTo>
                  <a:lnTo>
                    <a:pt x="31" y="264"/>
                  </a:lnTo>
                  <a:lnTo>
                    <a:pt x="31" y="264"/>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47" name="iṥḷîḋè">
              <a:extLst>
                <a:ext uri="{FF2B5EF4-FFF2-40B4-BE49-F238E27FC236}">
                  <a16:creationId xmlns:a16="http://schemas.microsoft.com/office/drawing/2014/main" id="{A1BD0CB9-AFD6-4C34-AC3A-6867B4D04C6B}"/>
                </a:ext>
              </a:extLst>
            </p:cNvPr>
            <p:cNvSpPr/>
            <p:nvPr/>
          </p:nvSpPr>
          <p:spPr bwMode="auto">
            <a:xfrm>
              <a:off x="117996" y="5321000"/>
              <a:ext cx="5994189" cy="750090"/>
            </a:xfrm>
            <a:custGeom>
              <a:avLst/>
              <a:gdLst>
                <a:gd name="T0" fmla="*/ 2006 w 2031"/>
                <a:gd name="T1" fmla="*/ 347 h 347"/>
                <a:gd name="T2" fmla="*/ 2031 w 2031"/>
                <a:gd name="T3" fmla="*/ 347 h 347"/>
                <a:gd name="T4" fmla="*/ 2018 w 2031"/>
                <a:gd name="T5" fmla="*/ 306 h 347"/>
                <a:gd name="T6" fmla="*/ 2006 w 2031"/>
                <a:gd name="T7" fmla="*/ 324 h 347"/>
                <a:gd name="T8" fmla="*/ 1972 w 2031"/>
                <a:gd name="T9" fmla="*/ 293 h 347"/>
                <a:gd name="T10" fmla="*/ 1972 w 2031"/>
                <a:gd name="T11" fmla="*/ 347 h 347"/>
                <a:gd name="T12" fmla="*/ 13 w 2031"/>
                <a:gd name="T13" fmla="*/ 176 h 347"/>
                <a:gd name="T14" fmla="*/ 13 w 2031"/>
                <a:gd name="T15" fmla="*/ 347 h 347"/>
                <a:gd name="T16" fmla="*/ 73 w 2031"/>
                <a:gd name="T17" fmla="*/ 176 h 347"/>
                <a:gd name="T18" fmla="*/ 65 w 2031"/>
                <a:gd name="T19" fmla="*/ 159 h 347"/>
                <a:gd name="T20" fmla="*/ 8 w 2031"/>
                <a:gd name="T21" fmla="*/ 159 h 347"/>
                <a:gd name="T22" fmla="*/ 235 w 2031"/>
                <a:gd name="T23" fmla="*/ 347 h 347"/>
                <a:gd name="T24" fmla="*/ 174 w 2031"/>
                <a:gd name="T25" fmla="*/ 347 h 347"/>
                <a:gd name="T26" fmla="*/ 413 w 2031"/>
                <a:gd name="T27" fmla="*/ 129 h 347"/>
                <a:gd name="T28" fmla="*/ 388 w 2031"/>
                <a:gd name="T29" fmla="*/ 134 h 347"/>
                <a:gd name="T30" fmla="*/ 362 w 2031"/>
                <a:gd name="T31" fmla="*/ 347 h 347"/>
                <a:gd name="T32" fmla="*/ 442 w 2031"/>
                <a:gd name="T33" fmla="*/ 347 h 347"/>
                <a:gd name="T34" fmla="*/ 438 w 2031"/>
                <a:gd name="T35" fmla="*/ 150 h 347"/>
                <a:gd name="T36" fmla="*/ 413 w 2031"/>
                <a:gd name="T37" fmla="*/ 134 h 347"/>
                <a:gd name="T38" fmla="*/ 547 w 2031"/>
                <a:gd name="T39" fmla="*/ 138 h 347"/>
                <a:gd name="T40" fmla="*/ 484 w 2031"/>
                <a:gd name="T41" fmla="*/ 347 h 347"/>
                <a:gd name="T42" fmla="*/ 601 w 2031"/>
                <a:gd name="T43" fmla="*/ 220 h 347"/>
                <a:gd name="T44" fmla="*/ 559 w 2031"/>
                <a:gd name="T45" fmla="*/ 205 h 347"/>
                <a:gd name="T46" fmla="*/ 583 w 2031"/>
                <a:gd name="T47" fmla="*/ 347 h 347"/>
                <a:gd name="T48" fmla="*/ 666 w 2031"/>
                <a:gd name="T49" fmla="*/ 347 h 347"/>
                <a:gd name="T50" fmla="*/ 641 w 2031"/>
                <a:gd name="T51" fmla="*/ 347 h 347"/>
                <a:gd name="T52" fmla="*/ 719 w 2031"/>
                <a:gd name="T53" fmla="*/ 347 h 347"/>
                <a:gd name="T54" fmla="*/ 694 w 2031"/>
                <a:gd name="T55" fmla="*/ 347 h 347"/>
                <a:gd name="T56" fmla="*/ 763 w 2031"/>
                <a:gd name="T57" fmla="*/ 347 h 347"/>
                <a:gd name="T58" fmla="*/ 725 w 2031"/>
                <a:gd name="T59" fmla="*/ 347 h 347"/>
                <a:gd name="T60" fmla="*/ 876 w 2031"/>
                <a:gd name="T61" fmla="*/ 347 h 347"/>
                <a:gd name="T62" fmla="*/ 838 w 2031"/>
                <a:gd name="T63" fmla="*/ 347 h 347"/>
                <a:gd name="T64" fmla="*/ 972 w 2031"/>
                <a:gd name="T65" fmla="*/ 347 h 347"/>
                <a:gd name="T66" fmla="*/ 939 w 2031"/>
                <a:gd name="T67" fmla="*/ 347 h 347"/>
                <a:gd name="T68" fmla="*/ 1086 w 2031"/>
                <a:gd name="T69" fmla="*/ 347 h 347"/>
                <a:gd name="T70" fmla="*/ 1012 w 2031"/>
                <a:gd name="T71" fmla="*/ 347 h 347"/>
                <a:gd name="T72" fmla="*/ 1217 w 2031"/>
                <a:gd name="T73" fmla="*/ 347 h 347"/>
                <a:gd name="T74" fmla="*/ 1199 w 2031"/>
                <a:gd name="T75" fmla="*/ 6 h 347"/>
                <a:gd name="T76" fmla="*/ 1142 w 2031"/>
                <a:gd name="T77" fmla="*/ 347 h 347"/>
                <a:gd name="T78" fmla="*/ 1477 w 2031"/>
                <a:gd name="T79" fmla="*/ 289 h 347"/>
                <a:gd name="T80" fmla="*/ 1431 w 2031"/>
                <a:gd name="T81" fmla="*/ 289 h 347"/>
                <a:gd name="T82" fmla="*/ 1480 w 2031"/>
                <a:gd name="T83" fmla="*/ 347 h 347"/>
                <a:gd name="T84" fmla="*/ 1477 w 2031"/>
                <a:gd name="T85" fmla="*/ 289 h 347"/>
                <a:gd name="T86" fmla="*/ 1528 w 2031"/>
                <a:gd name="T87" fmla="*/ 253 h 347"/>
                <a:gd name="T88" fmla="*/ 1502 w 2031"/>
                <a:gd name="T89" fmla="*/ 347 h 347"/>
                <a:gd name="T90" fmla="*/ 1565 w 2031"/>
                <a:gd name="T91" fmla="*/ 285 h 347"/>
                <a:gd name="T92" fmla="*/ 1632 w 2031"/>
                <a:gd name="T93" fmla="*/ 347 h 347"/>
                <a:gd name="T94" fmla="*/ 1628 w 2031"/>
                <a:gd name="T95" fmla="*/ 155 h 347"/>
                <a:gd name="T96" fmla="*/ 1618 w 2031"/>
                <a:gd name="T97" fmla="*/ 155 h 347"/>
                <a:gd name="T98" fmla="*/ 1607 w 2031"/>
                <a:gd name="T99" fmla="*/ 163 h 347"/>
                <a:gd name="T100" fmla="*/ 1601 w 2031"/>
                <a:gd name="T101" fmla="*/ 153 h 347"/>
                <a:gd name="T102" fmla="*/ 1595 w 2031"/>
                <a:gd name="T103" fmla="*/ 163 h 347"/>
                <a:gd name="T104" fmla="*/ 1584 w 2031"/>
                <a:gd name="T105" fmla="*/ 155 h 347"/>
                <a:gd name="T106" fmla="*/ 1574 w 2031"/>
                <a:gd name="T107" fmla="*/ 155 h 347"/>
                <a:gd name="T108" fmla="*/ 1568 w 2031"/>
                <a:gd name="T109" fmla="*/ 347 h 347"/>
                <a:gd name="T110" fmla="*/ 1750 w 2031"/>
                <a:gd name="T111" fmla="*/ 129 h 347"/>
                <a:gd name="T112" fmla="*/ 1683 w 2031"/>
                <a:gd name="T113" fmla="*/ 180 h 347"/>
                <a:gd name="T114" fmla="*/ 1756 w 2031"/>
                <a:gd name="T115" fmla="*/ 180 h 347"/>
                <a:gd name="T116" fmla="*/ 1894 w 2031"/>
                <a:gd name="T117" fmla="*/ 308 h 347"/>
                <a:gd name="T118" fmla="*/ 1873 w 2031"/>
                <a:gd name="T119" fmla="*/ 308 h 347"/>
                <a:gd name="T120" fmla="*/ 1848 w 2031"/>
                <a:gd name="T121" fmla="*/ 285 h 347"/>
                <a:gd name="T122" fmla="*/ 1840 w 2031"/>
                <a:gd name="T123" fmla="*/ 335 h 347"/>
                <a:gd name="T124" fmla="*/ 1894 w 2031"/>
                <a:gd name="T125" fmla="*/ 30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1" h="347">
                  <a:moveTo>
                    <a:pt x="1972" y="347"/>
                  </a:moveTo>
                  <a:lnTo>
                    <a:pt x="2001" y="347"/>
                  </a:lnTo>
                  <a:lnTo>
                    <a:pt x="2006" y="347"/>
                  </a:lnTo>
                  <a:lnTo>
                    <a:pt x="2018" y="347"/>
                  </a:lnTo>
                  <a:lnTo>
                    <a:pt x="2022" y="347"/>
                  </a:lnTo>
                  <a:lnTo>
                    <a:pt x="2031" y="347"/>
                  </a:lnTo>
                  <a:lnTo>
                    <a:pt x="2031" y="314"/>
                  </a:lnTo>
                  <a:lnTo>
                    <a:pt x="2018" y="314"/>
                  </a:lnTo>
                  <a:lnTo>
                    <a:pt x="2018" y="306"/>
                  </a:lnTo>
                  <a:lnTo>
                    <a:pt x="2006" y="306"/>
                  </a:lnTo>
                  <a:lnTo>
                    <a:pt x="2006" y="314"/>
                  </a:lnTo>
                  <a:lnTo>
                    <a:pt x="2006" y="324"/>
                  </a:lnTo>
                  <a:lnTo>
                    <a:pt x="2001" y="324"/>
                  </a:lnTo>
                  <a:lnTo>
                    <a:pt x="2001" y="293"/>
                  </a:lnTo>
                  <a:lnTo>
                    <a:pt x="1972" y="293"/>
                  </a:lnTo>
                  <a:lnTo>
                    <a:pt x="1972" y="324"/>
                  </a:lnTo>
                  <a:lnTo>
                    <a:pt x="1972" y="347"/>
                  </a:lnTo>
                  <a:lnTo>
                    <a:pt x="1972" y="347"/>
                  </a:lnTo>
                  <a:close/>
                  <a:moveTo>
                    <a:pt x="8" y="159"/>
                  </a:moveTo>
                  <a:lnTo>
                    <a:pt x="13" y="159"/>
                  </a:lnTo>
                  <a:lnTo>
                    <a:pt x="13" y="176"/>
                  </a:lnTo>
                  <a:lnTo>
                    <a:pt x="0" y="176"/>
                  </a:lnTo>
                  <a:lnTo>
                    <a:pt x="0" y="347"/>
                  </a:lnTo>
                  <a:lnTo>
                    <a:pt x="13" y="347"/>
                  </a:lnTo>
                  <a:lnTo>
                    <a:pt x="59" y="347"/>
                  </a:lnTo>
                  <a:lnTo>
                    <a:pt x="73" y="347"/>
                  </a:lnTo>
                  <a:lnTo>
                    <a:pt x="73" y="176"/>
                  </a:lnTo>
                  <a:lnTo>
                    <a:pt x="59" y="176"/>
                  </a:lnTo>
                  <a:lnTo>
                    <a:pt x="59" y="159"/>
                  </a:lnTo>
                  <a:lnTo>
                    <a:pt x="65" y="159"/>
                  </a:lnTo>
                  <a:lnTo>
                    <a:pt x="65" y="153"/>
                  </a:lnTo>
                  <a:lnTo>
                    <a:pt x="8" y="153"/>
                  </a:lnTo>
                  <a:lnTo>
                    <a:pt x="8" y="159"/>
                  </a:lnTo>
                  <a:lnTo>
                    <a:pt x="8" y="159"/>
                  </a:lnTo>
                  <a:close/>
                  <a:moveTo>
                    <a:pt x="174" y="347"/>
                  </a:moveTo>
                  <a:lnTo>
                    <a:pt x="235" y="347"/>
                  </a:lnTo>
                  <a:lnTo>
                    <a:pt x="235" y="79"/>
                  </a:lnTo>
                  <a:lnTo>
                    <a:pt x="174" y="79"/>
                  </a:lnTo>
                  <a:lnTo>
                    <a:pt x="174" y="347"/>
                  </a:lnTo>
                  <a:lnTo>
                    <a:pt x="174" y="347"/>
                  </a:lnTo>
                  <a:close/>
                  <a:moveTo>
                    <a:pt x="413" y="134"/>
                  </a:moveTo>
                  <a:lnTo>
                    <a:pt x="413" y="129"/>
                  </a:lnTo>
                  <a:lnTo>
                    <a:pt x="406" y="129"/>
                  </a:lnTo>
                  <a:lnTo>
                    <a:pt x="406" y="134"/>
                  </a:lnTo>
                  <a:lnTo>
                    <a:pt x="388" y="134"/>
                  </a:lnTo>
                  <a:lnTo>
                    <a:pt x="388" y="150"/>
                  </a:lnTo>
                  <a:lnTo>
                    <a:pt x="362" y="150"/>
                  </a:lnTo>
                  <a:lnTo>
                    <a:pt x="362" y="347"/>
                  </a:lnTo>
                  <a:lnTo>
                    <a:pt x="367" y="347"/>
                  </a:lnTo>
                  <a:lnTo>
                    <a:pt x="438" y="347"/>
                  </a:lnTo>
                  <a:lnTo>
                    <a:pt x="442" y="347"/>
                  </a:lnTo>
                  <a:lnTo>
                    <a:pt x="442" y="167"/>
                  </a:lnTo>
                  <a:lnTo>
                    <a:pt x="438" y="167"/>
                  </a:lnTo>
                  <a:lnTo>
                    <a:pt x="438" y="150"/>
                  </a:lnTo>
                  <a:lnTo>
                    <a:pt x="413" y="150"/>
                  </a:lnTo>
                  <a:lnTo>
                    <a:pt x="413" y="134"/>
                  </a:lnTo>
                  <a:lnTo>
                    <a:pt x="413" y="134"/>
                  </a:lnTo>
                  <a:close/>
                  <a:moveTo>
                    <a:pt x="484" y="347"/>
                  </a:moveTo>
                  <a:lnTo>
                    <a:pt x="547" y="347"/>
                  </a:lnTo>
                  <a:lnTo>
                    <a:pt x="547" y="138"/>
                  </a:lnTo>
                  <a:lnTo>
                    <a:pt x="484" y="138"/>
                  </a:lnTo>
                  <a:lnTo>
                    <a:pt x="484" y="347"/>
                  </a:lnTo>
                  <a:lnTo>
                    <a:pt x="484" y="347"/>
                  </a:lnTo>
                  <a:close/>
                  <a:moveTo>
                    <a:pt x="583" y="347"/>
                  </a:moveTo>
                  <a:lnTo>
                    <a:pt x="601" y="347"/>
                  </a:lnTo>
                  <a:lnTo>
                    <a:pt x="601" y="220"/>
                  </a:lnTo>
                  <a:lnTo>
                    <a:pt x="583" y="220"/>
                  </a:lnTo>
                  <a:lnTo>
                    <a:pt x="583" y="205"/>
                  </a:lnTo>
                  <a:lnTo>
                    <a:pt x="559" y="205"/>
                  </a:lnTo>
                  <a:lnTo>
                    <a:pt x="559" y="220"/>
                  </a:lnTo>
                  <a:lnTo>
                    <a:pt x="559" y="347"/>
                  </a:lnTo>
                  <a:lnTo>
                    <a:pt x="583" y="347"/>
                  </a:lnTo>
                  <a:lnTo>
                    <a:pt x="583" y="347"/>
                  </a:lnTo>
                  <a:close/>
                  <a:moveTo>
                    <a:pt x="641" y="347"/>
                  </a:moveTo>
                  <a:lnTo>
                    <a:pt x="666" y="347"/>
                  </a:lnTo>
                  <a:lnTo>
                    <a:pt x="666" y="236"/>
                  </a:lnTo>
                  <a:lnTo>
                    <a:pt x="641" y="236"/>
                  </a:lnTo>
                  <a:lnTo>
                    <a:pt x="641" y="347"/>
                  </a:lnTo>
                  <a:lnTo>
                    <a:pt x="641" y="347"/>
                  </a:lnTo>
                  <a:close/>
                  <a:moveTo>
                    <a:pt x="694" y="347"/>
                  </a:moveTo>
                  <a:lnTo>
                    <a:pt x="719" y="347"/>
                  </a:lnTo>
                  <a:lnTo>
                    <a:pt x="719" y="280"/>
                  </a:lnTo>
                  <a:lnTo>
                    <a:pt x="694" y="280"/>
                  </a:lnTo>
                  <a:lnTo>
                    <a:pt x="694" y="347"/>
                  </a:lnTo>
                  <a:lnTo>
                    <a:pt x="694" y="347"/>
                  </a:lnTo>
                  <a:close/>
                  <a:moveTo>
                    <a:pt x="725" y="347"/>
                  </a:moveTo>
                  <a:lnTo>
                    <a:pt x="763" y="347"/>
                  </a:lnTo>
                  <a:lnTo>
                    <a:pt x="763" y="92"/>
                  </a:lnTo>
                  <a:lnTo>
                    <a:pt x="725" y="92"/>
                  </a:lnTo>
                  <a:lnTo>
                    <a:pt x="725" y="347"/>
                  </a:lnTo>
                  <a:lnTo>
                    <a:pt x="725" y="347"/>
                  </a:lnTo>
                  <a:close/>
                  <a:moveTo>
                    <a:pt x="838" y="347"/>
                  </a:moveTo>
                  <a:lnTo>
                    <a:pt x="876" y="347"/>
                  </a:lnTo>
                  <a:lnTo>
                    <a:pt x="876" y="257"/>
                  </a:lnTo>
                  <a:lnTo>
                    <a:pt x="838" y="257"/>
                  </a:lnTo>
                  <a:lnTo>
                    <a:pt x="838" y="347"/>
                  </a:lnTo>
                  <a:lnTo>
                    <a:pt x="838" y="347"/>
                  </a:lnTo>
                  <a:close/>
                  <a:moveTo>
                    <a:pt x="939" y="347"/>
                  </a:moveTo>
                  <a:lnTo>
                    <a:pt x="972" y="347"/>
                  </a:lnTo>
                  <a:lnTo>
                    <a:pt x="972" y="236"/>
                  </a:lnTo>
                  <a:lnTo>
                    <a:pt x="939" y="236"/>
                  </a:lnTo>
                  <a:lnTo>
                    <a:pt x="939" y="347"/>
                  </a:lnTo>
                  <a:lnTo>
                    <a:pt x="939" y="347"/>
                  </a:lnTo>
                  <a:close/>
                  <a:moveTo>
                    <a:pt x="1012" y="347"/>
                  </a:moveTo>
                  <a:lnTo>
                    <a:pt x="1086" y="347"/>
                  </a:lnTo>
                  <a:lnTo>
                    <a:pt x="1086" y="0"/>
                  </a:lnTo>
                  <a:lnTo>
                    <a:pt x="1012" y="0"/>
                  </a:lnTo>
                  <a:lnTo>
                    <a:pt x="1012" y="347"/>
                  </a:lnTo>
                  <a:lnTo>
                    <a:pt x="1012" y="347"/>
                  </a:lnTo>
                  <a:close/>
                  <a:moveTo>
                    <a:pt x="1199" y="347"/>
                  </a:moveTo>
                  <a:lnTo>
                    <a:pt x="1217" y="347"/>
                  </a:lnTo>
                  <a:lnTo>
                    <a:pt x="1217" y="276"/>
                  </a:lnTo>
                  <a:lnTo>
                    <a:pt x="1199" y="276"/>
                  </a:lnTo>
                  <a:lnTo>
                    <a:pt x="1199" y="6"/>
                  </a:lnTo>
                  <a:lnTo>
                    <a:pt x="1125" y="6"/>
                  </a:lnTo>
                  <a:lnTo>
                    <a:pt x="1125" y="347"/>
                  </a:lnTo>
                  <a:lnTo>
                    <a:pt x="1142" y="347"/>
                  </a:lnTo>
                  <a:lnTo>
                    <a:pt x="1199" y="347"/>
                  </a:lnTo>
                  <a:lnTo>
                    <a:pt x="1199" y="347"/>
                  </a:lnTo>
                  <a:close/>
                  <a:moveTo>
                    <a:pt x="1477" y="289"/>
                  </a:moveTo>
                  <a:lnTo>
                    <a:pt x="1477" y="146"/>
                  </a:lnTo>
                  <a:lnTo>
                    <a:pt x="1431" y="146"/>
                  </a:lnTo>
                  <a:lnTo>
                    <a:pt x="1431" y="289"/>
                  </a:lnTo>
                  <a:lnTo>
                    <a:pt x="1417" y="289"/>
                  </a:lnTo>
                  <a:lnTo>
                    <a:pt x="1417" y="347"/>
                  </a:lnTo>
                  <a:lnTo>
                    <a:pt x="1480" y="347"/>
                  </a:lnTo>
                  <a:lnTo>
                    <a:pt x="1480" y="289"/>
                  </a:lnTo>
                  <a:lnTo>
                    <a:pt x="1477" y="289"/>
                  </a:lnTo>
                  <a:lnTo>
                    <a:pt x="1477" y="289"/>
                  </a:lnTo>
                  <a:close/>
                  <a:moveTo>
                    <a:pt x="1565" y="285"/>
                  </a:moveTo>
                  <a:lnTo>
                    <a:pt x="1565" y="253"/>
                  </a:lnTo>
                  <a:lnTo>
                    <a:pt x="1528" y="253"/>
                  </a:lnTo>
                  <a:lnTo>
                    <a:pt x="1528" y="285"/>
                  </a:lnTo>
                  <a:lnTo>
                    <a:pt x="1502" y="285"/>
                  </a:lnTo>
                  <a:lnTo>
                    <a:pt x="1502" y="347"/>
                  </a:lnTo>
                  <a:lnTo>
                    <a:pt x="1565" y="347"/>
                  </a:lnTo>
                  <a:lnTo>
                    <a:pt x="1565" y="314"/>
                  </a:lnTo>
                  <a:lnTo>
                    <a:pt x="1565" y="285"/>
                  </a:lnTo>
                  <a:lnTo>
                    <a:pt x="1565" y="285"/>
                  </a:lnTo>
                  <a:close/>
                  <a:moveTo>
                    <a:pt x="1568" y="347"/>
                  </a:moveTo>
                  <a:lnTo>
                    <a:pt x="1632" y="347"/>
                  </a:lnTo>
                  <a:lnTo>
                    <a:pt x="1632" y="163"/>
                  </a:lnTo>
                  <a:lnTo>
                    <a:pt x="1628" y="163"/>
                  </a:lnTo>
                  <a:lnTo>
                    <a:pt x="1628" y="155"/>
                  </a:lnTo>
                  <a:lnTo>
                    <a:pt x="1626" y="155"/>
                  </a:lnTo>
                  <a:lnTo>
                    <a:pt x="1622" y="153"/>
                  </a:lnTo>
                  <a:lnTo>
                    <a:pt x="1618" y="155"/>
                  </a:lnTo>
                  <a:lnTo>
                    <a:pt x="1616" y="155"/>
                  </a:lnTo>
                  <a:lnTo>
                    <a:pt x="1616" y="163"/>
                  </a:lnTo>
                  <a:lnTo>
                    <a:pt x="1607" y="163"/>
                  </a:lnTo>
                  <a:lnTo>
                    <a:pt x="1607" y="155"/>
                  </a:lnTo>
                  <a:lnTo>
                    <a:pt x="1605" y="155"/>
                  </a:lnTo>
                  <a:lnTo>
                    <a:pt x="1601" y="153"/>
                  </a:lnTo>
                  <a:lnTo>
                    <a:pt x="1597" y="155"/>
                  </a:lnTo>
                  <a:lnTo>
                    <a:pt x="1595" y="155"/>
                  </a:lnTo>
                  <a:lnTo>
                    <a:pt x="1595" y="163"/>
                  </a:lnTo>
                  <a:lnTo>
                    <a:pt x="1586" y="163"/>
                  </a:lnTo>
                  <a:lnTo>
                    <a:pt x="1586" y="155"/>
                  </a:lnTo>
                  <a:lnTo>
                    <a:pt x="1584" y="155"/>
                  </a:lnTo>
                  <a:lnTo>
                    <a:pt x="1580" y="153"/>
                  </a:lnTo>
                  <a:lnTo>
                    <a:pt x="1576" y="155"/>
                  </a:lnTo>
                  <a:lnTo>
                    <a:pt x="1574" y="155"/>
                  </a:lnTo>
                  <a:lnTo>
                    <a:pt x="1574" y="163"/>
                  </a:lnTo>
                  <a:lnTo>
                    <a:pt x="1568" y="163"/>
                  </a:lnTo>
                  <a:lnTo>
                    <a:pt x="1568" y="347"/>
                  </a:lnTo>
                  <a:lnTo>
                    <a:pt x="1568" y="347"/>
                  </a:lnTo>
                  <a:close/>
                  <a:moveTo>
                    <a:pt x="1750" y="180"/>
                  </a:moveTo>
                  <a:lnTo>
                    <a:pt x="1750" y="129"/>
                  </a:lnTo>
                  <a:lnTo>
                    <a:pt x="1704" y="129"/>
                  </a:lnTo>
                  <a:lnTo>
                    <a:pt x="1704" y="180"/>
                  </a:lnTo>
                  <a:lnTo>
                    <a:pt x="1683" y="180"/>
                  </a:lnTo>
                  <a:lnTo>
                    <a:pt x="1683" y="347"/>
                  </a:lnTo>
                  <a:lnTo>
                    <a:pt x="1756" y="347"/>
                  </a:lnTo>
                  <a:lnTo>
                    <a:pt x="1756" y="180"/>
                  </a:lnTo>
                  <a:lnTo>
                    <a:pt x="1750" y="180"/>
                  </a:lnTo>
                  <a:lnTo>
                    <a:pt x="1750" y="180"/>
                  </a:lnTo>
                  <a:close/>
                  <a:moveTo>
                    <a:pt x="1894" y="308"/>
                  </a:moveTo>
                  <a:lnTo>
                    <a:pt x="1894" y="278"/>
                  </a:lnTo>
                  <a:lnTo>
                    <a:pt x="1873" y="278"/>
                  </a:lnTo>
                  <a:lnTo>
                    <a:pt x="1873" y="308"/>
                  </a:lnTo>
                  <a:lnTo>
                    <a:pt x="1869" y="308"/>
                  </a:lnTo>
                  <a:lnTo>
                    <a:pt x="1869" y="285"/>
                  </a:lnTo>
                  <a:lnTo>
                    <a:pt x="1848" y="285"/>
                  </a:lnTo>
                  <a:lnTo>
                    <a:pt x="1848" y="308"/>
                  </a:lnTo>
                  <a:lnTo>
                    <a:pt x="1840" y="308"/>
                  </a:lnTo>
                  <a:lnTo>
                    <a:pt x="1840" y="335"/>
                  </a:lnTo>
                  <a:lnTo>
                    <a:pt x="1911" y="335"/>
                  </a:lnTo>
                  <a:lnTo>
                    <a:pt x="1911" y="308"/>
                  </a:lnTo>
                  <a:lnTo>
                    <a:pt x="1894" y="308"/>
                  </a:lnTo>
                  <a:lnTo>
                    <a:pt x="1894" y="308"/>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48" name="íŝ1idê">
              <a:extLst>
                <a:ext uri="{FF2B5EF4-FFF2-40B4-BE49-F238E27FC236}">
                  <a16:creationId xmlns:a16="http://schemas.microsoft.com/office/drawing/2014/main" id="{AFB1A53B-FFAB-47AF-889D-C3B05877E954}"/>
                </a:ext>
              </a:extLst>
            </p:cNvPr>
            <p:cNvSpPr/>
            <p:nvPr/>
          </p:nvSpPr>
          <p:spPr bwMode="auto">
            <a:xfrm>
              <a:off x="430686" y="4891127"/>
              <a:ext cx="306789" cy="1162261"/>
            </a:xfrm>
            <a:custGeom>
              <a:avLst/>
              <a:gdLst>
                <a:gd name="T0" fmla="*/ 42 w 105"/>
                <a:gd name="T1" fmla="*/ 17 h 394"/>
                <a:gd name="T2" fmla="*/ 92 w 105"/>
                <a:gd name="T3" fmla="*/ 0 h 394"/>
                <a:gd name="T4" fmla="*/ 102 w 105"/>
                <a:gd name="T5" fmla="*/ 0 h 394"/>
                <a:gd name="T6" fmla="*/ 102 w 105"/>
                <a:gd name="T7" fmla="*/ 29 h 394"/>
                <a:gd name="T8" fmla="*/ 105 w 105"/>
                <a:gd name="T9" fmla="*/ 29 h 394"/>
                <a:gd name="T10" fmla="*/ 105 w 105"/>
                <a:gd name="T11" fmla="*/ 122 h 394"/>
                <a:gd name="T12" fmla="*/ 105 w 105"/>
                <a:gd name="T13" fmla="*/ 155 h 394"/>
                <a:gd name="T14" fmla="*/ 105 w 105"/>
                <a:gd name="T15" fmla="*/ 205 h 394"/>
                <a:gd name="T16" fmla="*/ 105 w 105"/>
                <a:gd name="T17" fmla="*/ 218 h 394"/>
                <a:gd name="T18" fmla="*/ 105 w 105"/>
                <a:gd name="T19" fmla="*/ 298 h 394"/>
                <a:gd name="T20" fmla="*/ 105 w 105"/>
                <a:gd name="T21" fmla="*/ 331 h 394"/>
                <a:gd name="T22" fmla="*/ 105 w 105"/>
                <a:gd name="T23" fmla="*/ 394 h 394"/>
                <a:gd name="T24" fmla="*/ 0 w 105"/>
                <a:gd name="T25" fmla="*/ 394 h 394"/>
                <a:gd name="T26" fmla="*/ 0 w 105"/>
                <a:gd name="T27" fmla="*/ 218 h 394"/>
                <a:gd name="T28" fmla="*/ 10 w 105"/>
                <a:gd name="T29" fmla="*/ 218 h 394"/>
                <a:gd name="T30" fmla="*/ 10 w 105"/>
                <a:gd name="T31" fmla="*/ 155 h 394"/>
                <a:gd name="T32" fmla="*/ 21 w 105"/>
                <a:gd name="T33" fmla="*/ 155 h 394"/>
                <a:gd name="T34" fmla="*/ 21 w 105"/>
                <a:gd name="T35" fmla="*/ 122 h 394"/>
                <a:gd name="T36" fmla="*/ 39 w 105"/>
                <a:gd name="T37" fmla="*/ 122 h 394"/>
                <a:gd name="T38" fmla="*/ 39 w 105"/>
                <a:gd name="T39" fmla="*/ 29 h 394"/>
                <a:gd name="T40" fmla="*/ 42 w 105"/>
                <a:gd name="T41" fmla="*/ 29 h 394"/>
                <a:gd name="T42" fmla="*/ 42 w 105"/>
                <a:gd name="T43" fmla="*/ 17 h 394"/>
                <a:gd name="T44" fmla="*/ 42 w 105"/>
                <a:gd name="T45" fmla="*/ 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394">
                  <a:moveTo>
                    <a:pt x="42" y="17"/>
                  </a:moveTo>
                  <a:lnTo>
                    <a:pt x="92" y="0"/>
                  </a:lnTo>
                  <a:lnTo>
                    <a:pt x="102" y="0"/>
                  </a:lnTo>
                  <a:lnTo>
                    <a:pt x="102" y="29"/>
                  </a:lnTo>
                  <a:lnTo>
                    <a:pt x="105" y="29"/>
                  </a:lnTo>
                  <a:lnTo>
                    <a:pt x="105" y="122"/>
                  </a:lnTo>
                  <a:lnTo>
                    <a:pt x="105" y="155"/>
                  </a:lnTo>
                  <a:lnTo>
                    <a:pt x="105" y="205"/>
                  </a:lnTo>
                  <a:lnTo>
                    <a:pt x="105" y="218"/>
                  </a:lnTo>
                  <a:lnTo>
                    <a:pt x="105" y="298"/>
                  </a:lnTo>
                  <a:lnTo>
                    <a:pt x="105" y="331"/>
                  </a:lnTo>
                  <a:lnTo>
                    <a:pt x="105" y="394"/>
                  </a:lnTo>
                  <a:lnTo>
                    <a:pt x="0" y="394"/>
                  </a:lnTo>
                  <a:lnTo>
                    <a:pt x="0" y="218"/>
                  </a:lnTo>
                  <a:lnTo>
                    <a:pt x="10" y="218"/>
                  </a:lnTo>
                  <a:lnTo>
                    <a:pt x="10" y="155"/>
                  </a:lnTo>
                  <a:lnTo>
                    <a:pt x="21" y="155"/>
                  </a:lnTo>
                  <a:lnTo>
                    <a:pt x="21" y="122"/>
                  </a:lnTo>
                  <a:lnTo>
                    <a:pt x="39" y="122"/>
                  </a:lnTo>
                  <a:lnTo>
                    <a:pt x="39" y="29"/>
                  </a:lnTo>
                  <a:lnTo>
                    <a:pt x="42" y="29"/>
                  </a:lnTo>
                  <a:lnTo>
                    <a:pt x="42" y="17"/>
                  </a:lnTo>
                  <a:lnTo>
                    <a:pt x="42" y="17"/>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49" name="îṣlîḓe">
              <a:extLst>
                <a:ext uri="{FF2B5EF4-FFF2-40B4-BE49-F238E27FC236}">
                  <a16:creationId xmlns:a16="http://schemas.microsoft.com/office/drawing/2014/main" id="{478B3644-8B28-457C-8A31-82C95B98C0FF}"/>
                </a:ext>
              </a:extLst>
            </p:cNvPr>
            <p:cNvSpPr/>
            <p:nvPr/>
          </p:nvSpPr>
          <p:spPr bwMode="auto">
            <a:xfrm>
              <a:off x="908568" y="5251015"/>
              <a:ext cx="1103260" cy="802372"/>
            </a:xfrm>
            <a:custGeom>
              <a:avLst/>
              <a:gdLst>
                <a:gd name="T0" fmla="*/ 109 w 375"/>
                <a:gd name="T1" fmla="*/ 163 h 272"/>
                <a:gd name="T2" fmla="*/ 138 w 375"/>
                <a:gd name="T3" fmla="*/ 151 h 272"/>
                <a:gd name="T4" fmla="*/ 145 w 375"/>
                <a:gd name="T5" fmla="*/ 140 h 272"/>
                <a:gd name="T6" fmla="*/ 147 w 375"/>
                <a:gd name="T7" fmla="*/ 140 h 272"/>
                <a:gd name="T8" fmla="*/ 155 w 375"/>
                <a:gd name="T9" fmla="*/ 151 h 272"/>
                <a:gd name="T10" fmla="*/ 183 w 375"/>
                <a:gd name="T11" fmla="*/ 163 h 272"/>
                <a:gd name="T12" fmla="*/ 183 w 375"/>
                <a:gd name="T13" fmla="*/ 169 h 272"/>
                <a:gd name="T14" fmla="*/ 178 w 375"/>
                <a:gd name="T15" fmla="*/ 169 h 272"/>
                <a:gd name="T16" fmla="*/ 178 w 375"/>
                <a:gd name="T17" fmla="*/ 190 h 272"/>
                <a:gd name="T18" fmla="*/ 358 w 375"/>
                <a:gd name="T19" fmla="*/ 190 h 272"/>
                <a:gd name="T20" fmla="*/ 358 w 375"/>
                <a:gd name="T21" fmla="*/ 199 h 272"/>
                <a:gd name="T22" fmla="*/ 375 w 375"/>
                <a:gd name="T23" fmla="*/ 199 h 272"/>
                <a:gd name="T24" fmla="*/ 375 w 375"/>
                <a:gd name="T25" fmla="*/ 272 h 272"/>
                <a:gd name="T26" fmla="*/ 0 w 375"/>
                <a:gd name="T27" fmla="*/ 272 h 272"/>
                <a:gd name="T28" fmla="*/ 0 w 375"/>
                <a:gd name="T29" fmla="*/ 199 h 272"/>
                <a:gd name="T30" fmla="*/ 17 w 375"/>
                <a:gd name="T31" fmla="*/ 199 h 272"/>
                <a:gd name="T32" fmla="*/ 17 w 375"/>
                <a:gd name="T33" fmla="*/ 190 h 272"/>
                <a:gd name="T34" fmla="*/ 27 w 375"/>
                <a:gd name="T35" fmla="*/ 190 h 272"/>
                <a:gd name="T36" fmla="*/ 27 w 375"/>
                <a:gd name="T37" fmla="*/ 71 h 272"/>
                <a:gd name="T38" fmla="*/ 30 w 375"/>
                <a:gd name="T39" fmla="*/ 71 h 272"/>
                <a:gd name="T40" fmla="*/ 30 w 375"/>
                <a:gd name="T41" fmla="*/ 50 h 272"/>
                <a:gd name="T42" fmla="*/ 34 w 375"/>
                <a:gd name="T43" fmla="*/ 50 h 272"/>
                <a:gd name="T44" fmla="*/ 34 w 375"/>
                <a:gd name="T45" fmla="*/ 27 h 272"/>
                <a:gd name="T46" fmla="*/ 38 w 375"/>
                <a:gd name="T47" fmla="*/ 27 h 272"/>
                <a:gd name="T48" fmla="*/ 38 w 375"/>
                <a:gd name="T49" fmla="*/ 18 h 272"/>
                <a:gd name="T50" fmla="*/ 42 w 375"/>
                <a:gd name="T51" fmla="*/ 18 h 272"/>
                <a:gd name="T52" fmla="*/ 51 w 375"/>
                <a:gd name="T53" fmla="*/ 0 h 272"/>
                <a:gd name="T54" fmla="*/ 55 w 375"/>
                <a:gd name="T55" fmla="*/ 0 h 272"/>
                <a:gd name="T56" fmla="*/ 65 w 375"/>
                <a:gd name="T57" fmla="*/ 18 h 272"/>
                <a:gd name="T58" fmla="*/ 69 w 375"/>
                <a:gd name="T59" fmla="*/ 18 h 272"/>
                <a:gd name="T60" fmla="*/ 69 w 375"/>
                <a:gd name="T61" fmla="*/ 27 h 272"/>
                <a:gd name="T62" fmla="*/ 73 w 375"/>
                <a:gd name="T63" fmla="*/ 27 h 272"/>
                <a:gd name="T64" fmla="*/ 73 w 375"/>
                <a:gd name="T65" fmla="*/ 50 h 272"/>
                <a:gd name="T66" fmla="*/ 76 w 375"/>
                <a:gd name="T67" fmla="*/ 50 h 272"/>
                <a:gd name="T68" fmla="*/ 76 w 375"/>
                <a:gd name="T69" fmla="*/ 71 h 272"/>
                <a:gd name="T70" fmla="*/ 80 w 375"/>
                <a:gd name="T71" fmla="*/ 71 h 272"/>
                <a:gd name="T72" fmla="*/ 80 w 375"/>
                <a:gd name="T73" fmla="*/ 190 h 272"/>
                <a:gd name="T74" fmla="*/ 115 w 375"/>
                <a:gd name="T75" fmla="*/ 190 h 272"/>
                <a:gd name="T76" fmla="*/ 115 w 375"/>
                <a:gd name="T77" fmla="*/ 169 h 272"/>
                <a:gd name="T78" fmla="*/ 109 w 375"/>
                <a:gd name="T79" fmla="*/ 169 h 272"/>
                <a:gd name="T80" fmla="*/ 109 w 375"/>
                <a:gd name="T81" fmla="*/ 163 h 272"/>
                <a:gd name="T82" fmla="*/ 109 w 375"/>
                <a:gd name="T83" fmla="*/ 1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5" h="272">
                  <a:moveTo>
                    <a:pt x="109" y="163"/>
                  </a:moveTo>
                  <a:lnTo>
                    <a:pt x="138" y="151"/>
                  </a:lnTo>
                  <a:lnTo>
                    <a:pt x="145" y="140"/>
                  </a:lnTo>
                  <a:lnTo>
                    <a:pt x="147" y="140"/>
                  </a:lnTo>
                  <a:lnTo>
                    <a:pt x="155" y="151"/>
                  </a:lnTo>
                  <a:lnTo>
                    <a:pt x="183" y="163"/>
                  </a:lnTo>
                  <a:lnTo>
                    <a:pt x="183" y="169"/>
                  </a:lnTo>
                  <a:lnTo>
                    <a:pt x="178" y="169"/>
                  </a:lnTo>
                  <a:lnTo>
                    <a:pt x="178" y="190"/>
                  </a:lnTo>
                  <a:lnTo>
                    <a:pt x="358" y="190"/>
                  </a:lnTo>
                  <a:lnTo>
                    <a:pt x="358" y="199"/>
                  </a:lnTo>
                  <a:lnTo>
                    <a:pt x="375" y="199"/>
                  </a:lnTo>
                  <a:lnTo>
                    <a:pt x="375" y="272"/>
                  </a:lnTo>
                  <a:lnTo>
                    <a:pt x="0" y="272"/>
                  </a:lnTo>
                  <a:lnTo>
                    <a:pt x="0" y="199"/>
                  </a:lnTo>
                  <a:lnTo>
                    <a:pt x="17" y="199"/>
                  </a:lnTo>
                  <a:lnTo>
                    <a:pt x="17" y="190"/>
                  </a:lnTo>
                  <a:lnTo>
                    <a:pt x="27" y="190"/>
                  </a:lnTo>
                  <a:lnTo>
                    <a:pt x="27" y="71"/>
                  </a:lnTo>
                  <a:lnTo>
                    <a:pt x="30" y="71"/>
                  </a:lnTo>
                  <a:lnTo>
                    <a:pt x="30" y="50"/>
                  </a:lnTo>
                  <a:lnTo>
                    <a:pt x="34" y="50"/>
                  </a:lnTo>
                  <a:lnTo>
                    <a:pt x="34" y="27"/>
                  </a:lnTo>
                  <a:lnTo>
                    <a:pt x="38" y="27"/>
                  </a:lnTo>
                  <a:lnTo>
                    <a:pt x="38" y="18"/>
                  </a:lnTo>
                  <a:lnTo>
                    <a:pt x="42" y="18"/>
                  </a:lnTo>
                  <a:lnTo>
                    <a:pt x="51" y="0"/>
                  </a:lnTo>
                  <a:lnTo>
                    <a:pt x="55" y="0"/>
                  </a:lnTo>
                  <a:lnTo>
                    <a:pt x="65" y="18"/>
                  </a:lnTo>
                  <a:lnTo>
                    <a:pt x="69" y="18"/>
                  </a:lnTo>
                  <a:lnTo>
                    <a:pt x="69" y="27"/>
                  </a:lnTo>
                  <a:lnTo>
                    <a:pt x="73" y="27"/>
                  </a:lnTo>
                  <a:lnTo>
                    <a:pt x="73" y="50"/>
                  </a:lnTo>
                  <a:lnTo>
                    <a:pt x="76" y="50"/>
                  </a:lnTo>
                  <a:lnTo>
                    <a:pt x="76" y="71"/>
                  </a:lnTo>
                  <a:lnTo>
                    <a:pt x="80" y="71"/>
                  </a:lnTo>
                  <a:lnTo>
                    <a:pt x="80" y="190"/>
                  </a:lnTo>
                  <a:lnTo>
                    <a:pt x="115" y="190"/>
                  </a:lnTo>
                  <a:lnTo>
                    <a:pt x="115" y="169"/>
                  </a:lnTo>
                  <a:lnTo>
                    <a:pt x="109" y="169"/>
                  </a:lnTo>
                  <a:lnTo>
                    <a:pt x="109" y="163"/>
                  </a:lnTo>
                  <a:lnTo>
                    <a:pt x="109" y="163"/>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0" name="íṡľíḑe">
              <a:extLst>
                <a:ext uri="{FF2B5EF4-FFF2-40B4-BE49-F238E27FC236}">
                  <a16:creationId xmlns:a16="http://schemas.microsoft.com/office/drawing/2014/main" id="{0451BE8B-B154-44C5-9F7F-97335D8E2709}"/>
                </a:ext>
              </a:extLst>
            </p:cNvPr>
            <p:cNvSpPr/>
            <p:nvPr/>
          </p:nvSpPr>
          <p:spPr bwMode="auto">
            <a:xfrm>
              <a:off x="2041328" y="5852794"/>
              <a:ext cx="106196" cy="200593"/>
            </a:xfrm>
            <a:custGeom>
              <a:avLst/>
              <a:gdLst>
                <a:gd name="T0" fmla="*/ 0 w 37"/>
                <a:gd name="T1" fmla="*/ 0 h 67"/>
                <a:gd name="T2" fmla="*/ 37 w 37"/>
                <a:gd name="T3" fmla="*/ 0 h 67"/>
                <a:gd name="T4" fmla="*/ 37 w 37"/>
                <a:gd name="T5" fmla="*/ 67 h 67"/>
                <a:gd name="T6" fmla="*/ 0 w 37"/>
                <a:gd name="T7" fmla="*/ 67 h 67"/>
                <a:gd name="T8" fmla="*/ 0 w 37"/>
                <a:gd name="T9" fmla="*/ 0 h 67"/>
                <a:gd name="T10" fmla="*/ 0 w 37"/>
                <a:gd name="T11" fmla="*/ 0 h 67"/>
              </a:gdLst>
              <a:ahLst/>
              <a:cxnLst>
                <a:cxn ang="0">
                  <a:pos x="T0" y="T1"/>
                </a:cxn>
                <a:cxn ang="0">
                  <a:pos x="T2" y="T3"/>
                </a:cxn>
                <a:cxn ang="0">
                  <a:pos x="T4" y="T5"/>
                </a:cxn>
                <a:cxn ang="0">
                  <a:pos x="T6" y="T7"/>
                </a:cxn>
                <a:cxn ang="0">
                  <a:pos x="T8" y="T9"/>
                </a:cxn>
                <a:cxn ang="0">
                  <a:pos x="T10" y="T11"/>
                </a:cxn>
              </a:cxnLst>
              <a:rect l="0" t="0" r="r" b="b"/>
              <a:pathLst>
                <a:path w="37" h="67">
                  <a:moveTo>
                    <a:pt x="0" y="0"/>
                  </a:moveTo>
                  <a:lnTo>
                    <a:pt x="37" y="0"/>
                  </a:lnTo>
                  <a:lnTo>
                    <a:pt x="37" y="67"/>
                  </a:lnTo>
                  <a:lnTo>
                    <a:pt x="0" y="67"/>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77500" lnSpcReduction="20000"/>
            </a:bodyPr>
            <a:lstStyle/>
            <a:p>
              <a:endParaRPr lang="en-US"/>
            </a:p>
          </p:txBody>
        </p:sp>
        <p:sp>
          <p:nvSpPr>
            <p:cNvPr id="51" name="ïṧļiḍê">
              <a:extLst>
                <a:ext uri="{FF2B5EF4-FFF2-40B4-BE49-F238E27FC236}">
                  <a16:creationId xmlns:a16="http://schemas.microsoft.com/office/drawing/2014/main" id="{5EAB7128-2F95-4242-8708-20B8191D9ED1}"/>
                </a:ext>
              </a:extLst>
            </p:cNvPr>
            <p:cNvSpPr/>
            <p:nvPr/>
          </p:nvSpPr>
          <p:spPr bwMode="auto">
            <a:xfrm>
              <a:off x="2118028" y="5905891"/>
              <a:ext cx="318589" cy="147496"/>
            </a:xfrm>
            <a:custGeom>
              <a:avLst/>
              <a:gdLst>
                <a:gd name="T0" fmla="*/ 63 w 109"/>
                <a:gd name="T1" fmla="*/ 0 h 50"/>
                <a:gd name="T2" fmla="*/ 109 w 109"/>
                <a:gd name="T3" fmla="*/ 0 h 50"/>
                <a:gd name="T4" fmla="*/ 109 w 109"/>
                <a:gd name="T5" fmla="*/ 25 h 50"/>
                <a:gd name="T6" fmla="*/ 109 w 109"/>
                <a:gd name="T7" fmla="*/ 50 h 50"/>
                <a:gd name="T8" fmla="*/ 63 w 109"/>
                <a:gd name="T9" fmla="*/ 50 h 50"/>
                <a:gd name="T10" fmla="*/ 0 w 109"/>
                <a:gd name="T11" fmla="*/ 50 h 50"/>
                <a:gd name="T12" fmla="*/ 0 w 109"/>
                <a:gd name="T13" fmla="*/ 25 h 50"/>
                <a:gd name="T14" fmla="*/ 63 w 109"/>
                <a:gd name="T15" fmla="*/ 25 h 50"/>
                <a:gd name="T16" fmla="*/ 63 w 109"/>
                <a:gd name="T17" fmla="*/ 0 h 50"/>
                <a:gd name="T18" fmla="*/ 63 w 10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0">
                  <a:moveTo>
                    <a:pt x="63" y="0"/>
                  </a:moveTo>
                  <a:lnTo>
                    <a:pt x="109" y="0"/>
                  </a:lnTo>
                  <a:lnTo>
                    <a:pt x="109" y="25"/>
                  </a:lnTo>
                  <a:lnTo>
                    <a:pt x="109" y="50"/>
                  </a:lnTo>
                  <a:lnTo>
                    <a:pt x="63" y="50"/>
                  </a:lnTo>
                  <a:lnTo>
                    <a:pt x="0" y="50"/>
                  </a:lnTo>
                  <a:lnTo>
                    <a:pt x="0" y="25"/>
                  </a:lnTo>
                  <a:lnTo>
                    <a:pt x="63" y="25"/>
                  </a:lnTo>
                  <a:lnTo>
                    <a:pt x="63" y="0"/>
                  </a:lnTo>
                  <a:lnTo>
                    <a:pt x="63"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a:p>
          </p:txBody>
        </p:sp>
        <p:sp>
          <p:nvSpPr>
            <p:cNvPr id="52" name="iṧḷíḋê">
              <a:extLst>
                <a:ext uri="{FF2B5EF4-FFF2-40B4-BE49-F238E27FC236}">
                  <a16:creationId xmlns:a16="http://schemas.microsoft.com/office/drawing/2014/main" id="{BE25D3AD-5DD4-4899-ADC2-8D25A6DDA7DD}"/>
                </a:ext>
              </a:extLst>
            </p:cNvPr>
            <p:cNvSpPr/>
            <p:nvPr/>
          </p:nvSpPr>
          <p:spPr bwMode="auto">
            <a:xfrm>
              <a:off x="2348117" y="5522406"/>
              <a:ext cx="277288" cy="530981"/>
            </a:xfrm>
            <a:custGeom>
              <a:avLst/>
              <a:gdLst>
                <a:gd name="T0" fmla="*/ 30 w 93"/>
                <a:gd name="T1" fmla="*/ 27 h 180"/>
                <a:gd name="T2" fmla="*/ 44 w 93"/>
                <a:gd name="T3" fmla="*/ 0 h 180"/>
                <a:gd name="T4" fmla="*/ 49 w 93"/>
                <a:gd name="T5" fmla="*/ 0 h 180"/>
                <a:gd name="T6" fmla="*/ 63 w 93"/>
                <a:gd name="T7" fmla="*/ 27 h 180"/>
                <a:gd name="T8" fmla="*/ 68 w 93"/>
                <a:gd name="T9" fmla="*/ 27 h 180"/>
                <a:gd name="T10" fmla="*/ 68 w 93"/>
                <a:gd name="T11" fmla="*/ 59 h 180"/>
                <a:gd name="T12" fmla="*/ 93 w 93"/>
                <a:gd name="T13" fmla="*/ 59 h 180"/>
                <a:gd name="T14" fmla="*/ 93 w 93"/>
                <a:gd name="T15" fmla="*/ 180 h 180"/>
                <a:gd name="T16" fmla="*/ 0 w 93"/>
                <a:gd name="T17" fmla="*/ 180 h 180"/>
                <a:gd name="T18" fmla="*/ 0 w 93"/>
                <a:gd name="T19" fmla="*/ 59 h 180"/>
                <a:gd name="T20" fmla="*/ 24 w 93"/>
                <a:gd name="T21" fmla="*/ 59 h 180"/>
                <a:gd name="T22" fmla="*/ 24 w 93"/>
                <a:gd name="T23" fmla="*/ 27 h 180"/>
                <a:gd name="T24" fmla="*/ 30 w 93"/>
                <a:gd name="T25" fmla="*/ 27 h 180"/>
                <a:gd name="T26" fmla="*/ 30 w 93"/>
                <a:gd name="T27"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80">
                  <a:moveTo>
                    <a:pt x="30" y="27"/>
                  </a:moveTo>
                  <a:lnTo>
                    <a:pt x="44" y="0"/>
                  </a:lnTo>
                  <a:lnTo>
                    <a:pt x="49" y="0"/>
                  </a:lnTo>
                  <a:lnTo>
                    <a:pt x="63" y="27"/>
                  </a:lnTo>
                  <a:lnTo>
                    <a:pt x="68" y="27"/>
                  </a:lnTo>
                  <a:lnTo>
                    <a:pt x="68" y="59"/>
                  </a:lnTo>
                  <a:lnTo>
                    <a:pt x="93" y="59"/>
                  </a:lnTo>
                  <a:lnTo>
                    <a:pt x="93" y="180"/>
                  </a:lnTo>
                  <a:lnTo>
                    <a:pt x="0" y="180"/>
                  </a:lnTo>
                  <a:lnTo>
                    <a:pt x="0" y="59"/>
                  </a:lnTo>
                  <a:lnTo>
                    <a:pt x="24" y="59"/>
                  </a:lnTo>
                  <a:lnTo>
                    <a:pt x="24" y="27"/>
                  </a:lnTo>
                  <a:lnTo>
                    <a:pt x="30" y="27"/>
                  </a:lnTo>
                  <a:lnTo>
                    <a:pt x="30" y="27"/>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3" name="ísliḋê">
              <a:extLst>
                <a:ext uri="{FF2B5EF4-FFF2-40B4-BE49-F238E27FC236}">
                  <a16:creationId xmlns:a16="http://schemas.microsoft.com/office/drawing/2014/main" id="{48EB2826-58D0-4186-A407-95C5511A2ACF}"/>
                </a:ext>
              </a:extLst>
            </p:cNvPr>
            <p:cNvSpPr/>
            <p:nvPr/>
          </p:nvSpPr>
          <p:spPr bwMode="auto">
            <a:xfrm>
              <a:off x="2660808" y="5882292"/>
              <a:ext cx="117995" cy="171096"/>
            </a:xfrm>
            <a:custGeom>
              <a:avLst/>
              <a:gdLst>
                <a:gd name="T0" fmla="*/ 0 w 40"/>
                <a:gd name="T1" fmla="*/ 0 h 58"/>
                <a:gd name="T2" fmla="*/ 40 w 40"/>
                <a:gd name="T3" fmla="*/ 0 h 58"/>
                <a:gd name="T4" fmla="*/ 40 w 40"/>
                <a:gd name="T5" fmla="*/ 58 h 58"/>
                <a:gd name="T6" fmla="*/ 0 w 40"/>
                <a:gd name="T7" fmla="*/ 58 h 58"/>
                <a:gd name="T8" fmla="*/ 0 w 40"/>
                <a:gd name="T9" fmla="*/ 0 h 58"/>
                <a:gd name="T10" fmla="*/ 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0" y="0"/>
                  </a:moveTo>
                  <a:lnTo>
                    <a:pt x="40" y="0"/>
                  </a:lnTo>
                  <a:lnTo>
                    <a:pt x="40"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62500" lnSpcReduction="20000"/>
            </a:bodyPr>
            <a:lstStyle/>
            <a:p>
              <a:endParaRPr lang="en-US"/>
            </a:p>
          </p:txBody>
        </p:sp>
        <p:sp>
          <p:nvSpPr>
            <p:cNvPr id="54" name="í$ļïḍé">
              <a:extLst>
                <a:ext uri="{FF2B5EF4-FFF2-40B4-BE49-F238E27FC236}">
                  <a16:creationId xmlns:a16="http://schemas.microsoft.com/office/drawing/2014/main" id="{65F1EDAA-7573-46B3-8596-949648FA58AA}"/>
                </a:ext>
              </a:extLst>
            </p:cNvPr>
            <p:cNvSpPr/>
            <p:nvPr/>
          </p:nvSpPr>
          <p:spPr bwMode="auto">
            <a:xfrm>
              <a:off x="2796502" y="5823294"/>
              <a:ext cx="112094" cy="230094"/>
            </a:xfrm>
            <a:custGeom>
              <a:avLst/>
              <a:gdLst>
                <a:gd name="T0" fmla="*/ 0 w 38"/>
                <a:gd name="T1" fmla="*/ 0 h 79"/>
                <a:gd name="T2" fmla="*/ 38 w 38"/>
                <a:gd name="T3" fmla="*/ 0 h 79"/>
                <a:gd name="T4" fmla="*/ 38 w 38"/>
                <a:gd name="T5" fmla="*/ 79 h 79"/>
                <a:gd name="T6" fmla="*/ 0 w 38"/>
                <a:gd name="T7" fmla="*/ 79 h 79"/>
                <a:gd name="T8" fmla="*/ 0 w 38"/>
                <a:gd name="T9" fmla="*/ 0 h 79"/>
                <a:gd name="T10" fmla="*/ 0 w 38"/>
                <a:gd name="T11" fmla="*/ 0 h 79"/>
              </a:gdLst>
              <a:ahLst/>
              <a:cxnLst>
                <a:cxn ang="0">
                  <a:pos x="T0" y="T1"/>
                </a:cxn>
                <a:cxn ang="0">
                  <a:pos x="T2" y="T3"/>
                </a:cxn>
                <a:cxn ang="0">
                  <a:pos x="T4" y="T5"/>
                </a:cxn>
                <a:cxn ang="0">
                  <a:pos x="T6" y="T7"/>
                </a:cxn>
                <a:cxn ang="0">
                  <a:pos x="T8" y="T9"/>
                </a:cxn>
                <a:cxn ang="0">
                  <a:pos x="T10" y="T11"/>
                </a:cxn>
              </a:cxnLst>
              <a:rect l="0" t="0" r="r" b="b"/>
              <a:pathLst>
                <a:path w="38" h="79">
                  <a:moveTo>
                    <a:pt x="0" y="0"/>
                  </a:moveTo>
                  <a:lnTo>
                    <a:pt x="38" y="0"/>
                  </a:lnTo>
                  <a:lnTo>
                    <a:pt x="38" y="79"/>
                  </a:lnTo>
                  <a:lnTo>
                    <a:pt x="0" y="79"/>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92500" lnSpcReduction="20000"/>
            </a:bodyPr>
            <a:lstStyle/>
            <a:p>
              <a:endParaRPr lang="en-US"/>
            </a:p>
          </p:txBody>
        </p:sp>
        <p:sp>
          <p:nvSpPr>
            <p:cNvPr id="55" name="íṡ1íḍé">
              <a:extLst>
                <a:ext uri="{FF2B5EF4-FFF2-40B4-BE49-F238E27FC236}">
                  <a16:creationId xmlns:a16="http://schemas.microsoft.com/office/drawing/2014/main" id="{FBD4DC72-288A-4CB5-A58C-3F52C2B52941}"/>
                </a:ext>
              </a:extLst>
            </p:cNvPr>
            <p:cNvSpPr/>
            <p:nvPr/>
          </p:nvSpPr>
          <p:spPr bwMode="auto">
            <a:xfrm>
              <a:off x="3421880" y="5610901"/>
              <a:ext cx="147494" cy="442486"/>
            </a:xfrm>
            <a:custGeom>
              <a:avLst/>
              <a:gdLst>
                <a:gd name="T0" fmla="*/ 9 w 50"/>
                <a:gd name="T1" fmla="*/ 23 h 149"/>
                <a:gd name="T2" fmla="*/ 13 w 50"/>
                <a:gd name="T3" fmla="*/ 23 h 149"/>
                <a:gd name="T4" fmla="*/ 23 w 50"/>
                <a:gd name="T5" fmla="*/ 0 h 149"/>
                <a:gd name="T6" fmla="*/ 29 w 50"/>
                <a:gd name="T7" fmla="*/ 0 h 149"/>
                <a:gd name="T8" fmla="*/ 36 w 50"/>
                <a:gd name="T9" fmla="*/ 23 h 149"/>
                <a:gd name="T10" fmla="*/ 42 w 50"/>
                <a:gd name="T11" fmla="*/ 23 h 149"/>
                <a:gd name="T12" fmla="*/ 42 w 50"/>
                <a:gd name="T13" fmla="*/ 36 h 149"/>
                <a:gd name="T14" fmla="*/ 44 w 50"/>
                <a:gd name="T15" fmla="*/ 42 h 149"/>
                <a:gd name="T16" fmla="*/ 50 w 50"/>
                <a:gd name="T17" fmla="*/ 42 h 149"/>
                <a:gd name="T18" fmla="*/ 50 w 50"/>
                <a:gd name="T19" fmla="*/ 149 h 149"/>
                <a:gd name="T20" fmla="*/ 0 w 50"/>
                <a:gd name="T21" fmla="*/ 149 h 149"/>
                <a:gd name="T22" fmla="*/ 0 w 50"/>
                <a:gd name="T23" fmla="*/ 42 h 149"/>
                <a:gd name="T24" fmla="*/ 8 w 50"/>
                <a:gd name="T25" fmla="*/ 42 h 149"/>
                <a:gd name="T26" fmla="*/ 9 w 50"/>
                <a:gd name="T27" fmla="*/ 36 h 149"/>
                <a:gd name="T28" fmla="*/ 9 w 50"/>
                <a:gd name="T29" fmla="*/ 23 h 149"/>
                <a:gd name="T30" fmla="*/ 9 w 50"/>
                <a:gd name="T31" fmla="*/ 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149">
                  <a:moveTo>
                    <a:pt x="9" y="23"/>
                  </a:moveTo>
                  <a:lnTo>
                    <a:pt x="13" y="23"/>
                  </a:lnTo>
                  <a:lnTo>
                    <a:pt x="23" y="0"/>
                  </a:lnTo>
                  <a:lnTo>
                    <a:pt x="29" y="0"/>
                  </a:lnTo>
                  <a:lnTo>
                    <a:pt x="36" y="23"/>
                  </a:lnTo>
                  <a:lnTo>
                    <a:pt x="42" y="23"/>
                  </a:lnTo>
                  <a:lnTo>
                    <a:pt x="42" y="36"/>
                  </a:lnTo>
                  <a:lnTo>
                    <a:pt x="44" y="42"/>
                  </a:lnTo>
                  <a:lnTo>
                    <a:pt x="50" y="42"/>
                  </a:lnTo>
                  <a:lnTo>
                    <a:pt x="50" y="149"/>
                  </a:lnTo>
                  <a:lnTo>
                    <a:pt x="0" y="149"/>
                  </a:lnTo>
                  <a:lnTo>
                    <a:pt x="0" y="42"/>
                  </a:lnTo>
                  <a:lnTo>
                    <a:pt x="8" y="42"/>
                  </a:lnTo>
                  <a:lnTo>
                    <a:pt x="9" y="36"/>
                  </a:lnTo>
                  <a:lnTo>
                    <a:pt x="9" y="23"/>
                  </a:lnTo>
                  <a:lnTo>
                    <a:pt x="9" y="23"/>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6" name="îšḻîḑé">
              <a:extLst>
                <a:ext uri="{FF2B5EF4-FFF2-40B4-BE49-F238E27FC236}">
                  <a16:creationId xmlns:a16="http://schemas.microsoft.com/office/drawing/2014/main" id="{73817D13-5E29-4F10-856A-8C57F0B15AC6}"/>
                </a:ext>
              </a:extLst>
            </p:cNvPr>
            <p:cNvSpPr/>
            <p:nvPr/>
          </p:nvSpPr>
          <p:spPr bwMode="auto">
            <a:xfrm>
              <a:off x="3646071" y="5964889"/>
              <a:ext cx="82597" cy="88498"/>
            </a:xfrm>
            <a:custGeom>
              <a:avLst/>
              <a:gdLst>
                <a:gd name="T0" fmla="*/ 0 w 28"/>
                <a:gd name="T1" fmla="*/ 0 h 31"/>
                <a:gd name="T2" fmla="*/ 28 w 28"/>
                <a:gd name="T3" fmla="*/ 0 h 31"/>
                <a:gd name="T4" fmla="*/ 28 w 28"/>
                <a:gd name="T5" fmla="*/ 31 h 31"/>
                <a:gd name="T6" fmla="*/ 0 w 28"/>
                <a:gd name="T7" fmla="*/ 31 h 31"/>
                <a:gd name="T8" fmla="*/ 0 w 28"/>
                <a:gd name="T9" fmla="*/ 0 h 31"/>
                <a:gd name="T10" fmla="*/ 0 w 28"/>
                <a:gd name="T11" fmla="*/ 0 h 31"/>
              </a:gdLst>
              <a:ahLst/>
              <a:cxnLst>
                <a:cxn ang="0">
                  <a:pos x="T0" y="T1"/>
                </a:cxn>
                <a:cxn ang="0">
                  <a:pos x="T2" y="T3"/>
                </a:cxn>
                <a:cxn ang="0">
                  <a:pos x="T4" y="T5"/>
                </a:cxn>
                <a:cxn ang="0">
                  <a:pos x="T6" y="T7"/>
                </a:cxn>
                <a:cxn ang="0">
                  <a:pos x="T8" y="T9"/>
                </a:cxn>
                <a:cxn ang="0">
                  <a:pos x="T10" y="T11"/>
                </a:cxn>
              </a:cxnLst>
              <a:rect l="0" t="0" r="r" b="b"/>
              <a:pathLst>
                <a:path w="28" h="31">
                  <a:moveTo>
                    <a:pt x="0" y="0"/>
                  </a:moveTo>
                  <a:lnTo>
                    <a:pt x="28" y="0"/>
                  </a:lnTo>
                  <a:lnTo>
                    <a:pt x="28" y="31"/>
                  </a:lnTo>
                  <a:lnTo>
                    <a:pt x="0" y="31"/>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a:p>
          </p:txBody>
        </p:sp>
        <p:sp>
          <p:nvSpPr>
            <p:cNvPr id="57" name="ïṡľíḋè">
              <a:extLst>
                <a:ext uri="{FF2B5EF4-FFF2-40B4-BE49-F238E27FC236}">
                  <a16:creationId xmlns:a16="http://schemas.microsoft.com/office/drawing/2014/main" id="{6924BB50-5EA0-4859-9C0E-AF77DC34CA30}"/>
                </a:ext>
              </a:extLst>
            </p:cNvPr>
            <p:cNvSpPr/>
            <p:nvPr/>
          </p:nvSpPr>
          <p:spPr bwMode="auto">
            <a:xfrm>
              <a:off x="3675572" y="5021475"/>
              <a:ext cx="778773" cy="1031913"/>
            </a:xfrm>
            <a:custGeom>
              <a:avLst/>
              <a:gdLst>
                <a:gd name="T0" fmla="*/ 124 w 266"/>
                <a:gd name="T1" fmla="*/ 0 h 476"/>
                <a:gd name="T2" fmla="*/ 203 w 266"/>
                <a:gd name="T3" fmla="*/ 0 h 476"/>
                <a:gd name="T4" fmla="*/ 203 w 266"/>
                <a:gd name="T5" fmla="*/ 5 h 476"/>
                <a:gd name="T6" fmla="*/ 209 w 266"/>
                <a:gd name="T7" fmla="*/ 5 h 476"/>
                <a:gd name="T8" fmla="*/ 209 w 266"/>
                <a:gd name="T9" fmla="*/ 9 h 476"/>
                <a:gd name="T10" fmla="*/ 214 w 266"/>
                <a:gd name="T11" fmla="*/ 9 h 476"/>
                <a:gd name="T12" fmla="*/ 214 w 266"/>
                <a:gd name="T13" fmla="*/ 17 h 476"/>
                <a:gd name="T14" fmla="*/ 222 w 266"/>
                <a:gd name="T15" fmla="*/ 17 h 476"/>
                <a:gd name="T16" fmla="*/ 222 w 266"/>
                <a:gd name="T17" fmla="*/ 430 h 476"/>
                <a:gd name="T18" fmla="*/ 230 w 266"/>
                <a:gd name="T19" fmla="*/ 430 h 476"/>
                <a:gd name="T20" fmla="*/ 230 w 266"/>
                <a:gd name="T21" fmla="*/ 453 h 476"/>
                <a:gd name="T22" fmla="*/ 230 w 266"/>
                <a:gd name="T23" fmla="*/ 462 h 476"/>
                <a:gd name="T24" fmla="*/ 266 w 266"/>
                <a:gd name="T25" fmla="*/ 462 h 476"/>
                <a:gd name="T26" fmla="*/ 266 w 266"/>
                <a:gd name="T27" fmla="*/ 476 h 476"/>
                <a:gd name="T28" fmla="*/ 230 w 266"/>
                <a:gd name="T29" fmla="*/ 476 h 476"/>
                <a:gd name="T30" fmla="*/ 222 w 266"/>
                <a:gd name="T31" fmla="*/ 476 h 476"/>
                <a:gd name="T32" fmla="*/ 199 w 266"/>
                <a:gd name="T33" fmla="*/ 476 h 476"/>
                <a:gd name="T34" fmla="*/ 124 w 266"/>
                <a:gd name="T35" fmla="*/ 476 h 476"/>
                <a:gd name="T36" fmla="*/ 48 w 266"/>
                <a:gd name="T37" fmla="*/ 476 h 476"/>
                <a:gd name="T38" fmla="*/ 0 w 266"/>
                <a:gd name="T39" fmla="*/ 476 h 476"/>
                <a:gd name="T40" fmla="*/ 0 w 266"/>
                <a:gd name="T41" fmla="*/ 453 h 476"/>
                <a:gd name="T42" fmla="*/ 0 w 266"/>
                <a:gd name="T43" fmla="*/ 411 h 476"/>
                <a:gd name="T44" fmla="*/ 10 w 266"/>
                <a:gd name="T45" fmla="*/ 411 h 476"/>
                <a:gd name="T46" fmla="*/ 10 w 266"/>
                <a:gd name="T47" fmla="*/ 166 h 476"/>
                <a:gd name="T48" fmla="*/ 17 w 266"/>
                <a:gd name="T49" fmla="*/ 166 h 476"/>
                <a:gd name="T50" fmla="*/ 17 w 266"/>
                <a:gd name="T51" fmla="*/ 155 h 476"/>
                <a:gd name="T52" fmla="*/ 23 w 266"/>
                <a:gd name="T53" fmla="*/ 155 h 476"/>
                <a:gd name="T54" fmla="*/ 23 w 266"/>
                <a:gd name="T55" fmla="*/ 143 h 476"/>
                <a:gd name="T56" fmla="*/ 25 w 266"/>
                <a:gd name="T57" fmla="*/ 143 h 476"/>
                <a:gd name="T58" fmla="*/ 44 w 266"/>
                <a:gd name="T59" fmla="*/ 111 h 476"/>
                <a:gd name="T60" fmla="*/ 46 w 266"/>
                <a:gd name="T61" fmla="*/ 111 h 476"/>
                <a:gd name="T62" fmla="*/ 48 w 266"/>
                <a:gd name="T63" fmla="*/ 111 h 476"/>
                <a:gd name="T64" fmla="*/ 48 w 266"/>
                <a:gd name="T65" fmla="*/ 76 h 476"/>
                <a:gd name="T66" fmla="*/ 50 w 266"/>
                <a:gd name="T67" fmla="*/ 76 h 476"/>
                <a:gd name="T68" fmla="*/ 50 w 266"/>
                <a:gd name="T69" fmla="*/ 113 h 476"/>
                <a:gd name="T70" fmla="*/ 69 w 266"/>
                <a:gd name="T71" fmla="*/ 143 h 476"/>
                <a:gd name="T72" fmla="*/ 71 w 266"/>
                <a:gd name="T73" fmla="*/ 143 h 476"/>
                <a:gd name="T74" fmla="*/ 71 w 266"/>
                <a:gd name="T75" fmla="*/ 155 h 476"/>
                <a:gd name="T76" fmla="*/ 75 w 266"/>
                <a:gd name="T77" fmla="*/ 155 h 476"/>
                <a:gd name="T78" fmla="*/ 75 w 266"/>
                <a:gd name="T79" fmla="*/ 166 h 476"/>
                <a:gd name="T80" fmla="*/ 82 w 266"/>
                <a:gd name="T81" fmla="*/ 166 h 476"/>
                <a:gd name="T82" fmla="*/ 82 w 266"/>
                <a:gd name="T83" fmla="*/ 453 h 476"/>
                <a:gd name="T84" fmla="*/ 124 w 266"/>
                <a:gd name="T85" fmla="*/ 453 h 476"/>
                <a:gd name="T86" fmla="*/ 124 w 266"/>
                <a:gd name="T87" fmla="*/ 23 h 476"/>
                <a:gd name="T88" fmla="*/ 124 w 266"/>
                <a:gd name="T89" fmla="*/ 17 h 476"/>
                <a:gd name="T90" fmla="*/ 124 w 266"/>
                <a:gd name="T91" fmla="*/ 17 h 476"/>
                <a:gd name="T92" fmla="*/ 124 w 266"/>
                <a:gd name="T93" fmla="*/ 11 h 476"/>
                <a:gd name="T94" fmla="*/ 124 w 266"/>
                <a:gd name="T95" fmla="*/ 9 h 476"/>
                <a:gd name="T96" fmla="*/ 124 w 266"/>
                <a:gd name="T97" fmla="*/ 5 h 476"/>
                <a:gd name="T98" fmla="*/ 124 w 266"/>
                <a:gd name="T99" fmla="*/ 0 h 476"/>
                <a:gd name="T100" fmla="*/ 124 w 266"/>
                <a:gd name="T101"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476">
                  <a:moveTo>
                    <a:pt x="124" y="0"/>
                  </a:moveTo>
                  <a:lnTo>
                    <a:pt x="203" y="0"/>
                  </a:lnTo>
                  <a:lnTo>
                    <a:pt x="203" y="5"/>
                  </a:lnTo>
                  <a:lnTo>
                    <a:pt x="209" y="5"/>
                  </a:lnTo>
                  <a:lnTo>
                    <a:pt x="209" y="9"/>
                  </a:lnTo>
                  <a:lnTo>
                    <a:pt x="214" y="9"/>
                  </a:lnTo>
                  <a:lnTo>
                    <a:pt x="214" y="17"/>
                  </a:lnTo>
                  <a:lnTo>
                    <a:pt x="222" y="17"/>
                  </a:lnTo>
                  <a:lnTo>
                    <a:pt x="222" y="430"/>
                  </a:lnTo>
                  <a:lnTo>
                    <a:pt x="230" y="430"/>
                  </a:lnTo>
                  <a:lnTo>
                    <a:pt x="230" y="453"/>
                  </a:lnTo>
                  <a:lnTo>
                    <a:pt x="230" y="462"/>
                  </a:lnTo>
                  <a:lnTo>
                    <a:pt x="266" y="462"/>
                  </a:lnTo>
                  <a:lnTo>
                    <a:pt x="266" y="476"/>
                  </a:lnTo>
                  <a:lnTo>
                    <a:pt x="230" y="476"/>
                  </a:lnTo>
                  <a:lnTo>
                    <a:pt x="222" y="476"/>
                  </a:lnTo>
                  <a:lnTo>
                    <a:pt x="199" y="476"/>
                  </a:lnTo>
                  <a:lnTo>
                    <a:pt x="124" y="476"/>
                  </a:lnTo>
                  <a:lnTo>
                    <a:pt x="48" y="476"/>
                  </a:lnTo>
                  <a:lnTo>
                    <a:pt x="0" y="476"/>
                  </a:lnTo>
                  <a:lnTo>
                    <a:pt x="0" y="453"/>
                  </a:lnTo>
                  <a:lnTo>
                    <a:pt x="0" y="411"/>
                  </a:lnTo>
                  <a:lnTo>
                    <a:pt x="10" y="411"/>
                  </a:lnTo>
                  <a:lnTo>
                    <a:pt x="10" y="166"/>
                  </a:lnTo>
                  <a:lnTo>
                    <a:pt x="17" y="166"/>
                  </a:lnTo>
                  <a:lnTo>
                    <a:pt x="17" y="155"/>
                  </a:lnTo>
                  <a:lnTo>
                    <a:pt x="23" y="155"/>
                  </a:lnTo>
                  <a:lnTo>
                    <a:pt x="23" y="143"/>
                  </a:lnTo>
                  <a:lnTo>
                    <a:pt x="25" y="143"/>
                  </a:lnTo>
                  <a:lnTo>
                    <a:pt x="44" y="111"/>
                  </a:lnTo>
                  <a:lnTo>
                    <a:pt x="46" y="111"/>
                  </a:lnTo>
                  <a:lnTo>
                    <a:pt x="48" y="111"/>
                  </a:lnTo>
                  <a:lnTo>
                    <a:pt x="48" y="76"/>
                  </a:lnTo>
                  <a:lnTo>
                    <a:pt x="50" y="76"/>
                  </a:lnTo>
                  <a:lnTo>
                    <a:pt x="50" y="113"/>
                  </a:lnTo>
                  <a:lnTo>
                    <a:pt x="69" y="143"/>
                  </a:lnTo>
                  <a:lnTo>
                    <a:pt x="71" y="143"/>
                  </a:lnTo>
                  <a:lnTo>
                    <a:pt x="71" y="155"/>
                  </a:lnTo>
                  <a:lnTo>
                    <a:pt x="75" y="155"/>
                  </a:lnTo>
                  <a:lnTo>
                    <a:pt x="75" y="166"/>
                  </a:lnTo>
                  <a:lnTo>
                    <a:pt x="82" y="166"/>
                  </a:lnTo>
                  <a:lnTo>
                    <a:pt x="82" y="453"/>
                  </a:lnTo>
                  <a:lnTo>
                    <a:pt x="124" y="453"/>
                  </a:lnTo>
                  <a:lnTo>
                    <a:pt x="124" y="23"/>
                  </a:lnTo>
                  <a:lnTo>
                    <a:pt x="124" y="17"/>
                  </a:lnTo>
                  <a:lnTo>
                    <a:pt x="124" y="17"/>
                  </a:lnTo>
                  <a:lnTo>
                    <a:pt x="124" y="11"/>
                  </a:lnTo>
                  <a:lnTo>
                    <a:pt x="124" y="9"/>
                  </a:lnTo>
                  <a:lnTo>
                    <a:pt x="124" y="5"/>
                  </a:lnTo>
                  <a:lnTo>
                    <a:pt x="124" y="0"/>
                  </a:lnTo>
                  <a:lnTo>
                    <a:pt x="124"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8" name="í$ľíḋé">
              <a:extLst>
                <a:ext uri="{FF2B5EF4-FFF2-40B4-BE49-F238E27FC236}">
                  <a16:creationId xmlns:a16="http://schemas.microsoft.com/office/drawing/2014/main" id="{CB7E5D8B-CAA8-47BB-A70B-FB104F9E36BC}"/>
                </a:ext>
              </a:extLst>
            </p:cNvPr>
            <p:cNvSpPr/>
            <p:nvPr/>
          </p:nvSpPr>
          <p:spPr bwMode="auto">
            <a:xfrm>
              <a:off x="4383548" y="5622700"/>
              <a:ext cx="306789" cy="430687"/>
            </a:xfrm>
            <a:custGeom>
              <a:avLst/>
              <a:gdLst>
                <a:gd name="T0" fmla="*/ 48 w 103"/>
                <a:gd name="T1" fmla="*/ 112 h 145"/>
                <a:gd name="T2" fmla="*/ 103 w 103"/>
                <a:gd name="T3" fmla="*/ 112 h 145"/>
                <a:gd name="T4" fmla="*/ 103 w 103"/>
                <a:gd name="T5" fmla="*/ 145 h 145"/>
                <a:gd name="T6" fmla="*/ 48 w 103"/>
                <a:gd name="T7" fmla="*/ 145 h 145"/>
                <a:gd name="T8" fmla="*/ 23 w 103"/>
                <a:gd name="T9" fmla="*/ 145 h 145"/>
                <a:gd name="T10" fmla="*/ 0 w 103"/>
                <a:gd name="T11" fmla="*/ 145 h 145"/>
                <a:gd name="T12" fmla="*/ 0 w 103"/>
                <a:gd name="T13" fmla="*/ 11 h 145"/>
                <a:gd name="T14" fmla="*/ 6 w 103"/>
                <a:gd name="T15" fmla="*/ 11 h 145"/>
                <a:gd name="T16" fmla="*/ 6 w 103"/>
                <a:gd name="T17" fmla="*/ 0 h 145"/>
                <a:gd name="T18" fmla="*/ 34 w 103"/>
                <a:gd name="T19" fmla="*/ 0 h 145"/>
                <a:gd name="T20" fmla="*/ 34 w 103"/>
                <a:gd name="T21" fmla="*/ 11 h 145"/>
                <a:gd name="T22" fmla="*/ 48 w 103"/>
                <a:gd name="T23" fmla="*/ 11 h 145"/>
                <a:gd name="T24" fmla="*/ 48 w 103"/>
                <a:gd name="T25" fmla="*/ 112 h 145"/>
                <a:gd name="T26" fmla="*/ 48 w 103"/>
                <a:gd name="T27" fmla="*/ 1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45">
                  <a:moveTo>
                    <a:pt x="48" y="112"/>
                  </a:moveTo>
                  <a:lnTo>
                    <a:pt x="103" y="112"/>
                  </a:lnTo>
                  <a:lnTo>
                    <a:pt x="103" y="145"/>
                  </a:lnTo>
                  <a:lnTo>
                    <a:pt x="48" y="145"/>
                  </a:lnTo>
                  <a:lnTo>
                    <a:pt x="23" y="145"/>
                  </a:lnTo>
                  <a:lnTo>
                    <a:pt x="0" y="145"/>
                  </a:lnTo>
                  <a:lnTo>
                    <a:pt x="0" y="11"/>
                  </a:lnTo>
                  <a:lnTo>
                    <a:pt x="6" y="11"/>
                  </a:lnTo>
                  <a:lnTo>
                    <a:pt x="6" y="0"/>
                  </a:lnTo>
                  <a:lnTo>
                    <a:pt x="34" y="0"/>
                  </a:lnTo>
                  <a:lnTo>
                    <a:pt x="34" y="11"/>
                  </a:lnTo>
                  <a:lnTo>
                    <a:pt x="48" y="11"/>
                  </a:lnTo>
                  <a:lnTo>
                    <a:pt x="48" y="112"/>
                  </a:lnTo>
                  <a:lnTo>
                    <a:pt x="48" y="112"/>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9" name="ïS1îďè">
              <a:extLst>
                <a:ext uri="{FF2B5EF4-FFF2-40B4-BE49-F238E27FC236}">
                  <a16:creationId xmlns:a16="http://schemas.microsoft.com/office/drawing/2014/main" id="{A62F3E6A-3172-4A4A-AF38-4CBB29951510}"/>
                </a:ext>
              </a:extLst>
            </p:cNvPr>
            <p:cNvSpPr/>
            <p:nvPr/>
          </p:nvSpPr>
          <p:spPr bwMode="auto">
            <a:xfrm>
              <a:off x="4908627" y="5634500"/>
              <a:ext cx="365788" cy="418888"/>
            </a:xfrm>
            <a:custGeom>
              <a:avLst/>
              <a:gdLst>
                <a:gd name="T0" fmla="*/ 0 w 124"/>
                <a:gd name="T1" fmla="*/ 0 h 142"/>
                <a:gd name="T2" fmla="*/ 124 w 124"/>
                <a:gd name="T3" fmla="*/ 0 h 142"/>
                <a:gd name="T4" fmla="*/ 124 w 124"/>
                <a:gd name="T5" fmla="*/ 142 h 142"/>
                <a:gd name="T6" fmla="*/ 0 w 124"/>
                <a:gd name="T7" fmla="*/ 142 h 142"/>
                <a:gd name="T8" fmla="*/ 0 w 124"/>
                <a:gd name="T9" fmla="*/ 0 h 142"/>
                <a:gd name="T10" fmla="*/ 0 w 124"/>
                <a:gd name="T11" fmla="*/ 0 h 142"/>
              </a:gdLst>
              <a:ahLst/>
              <a:cxnLst>
                <a:cxn ang="0">
                  <a:pos x="T0" y="T1"/>
                </a:cxn>
                <a:cxn ang="0">
                  <a:pos x="T2" y="T3"/>
                </a:cxn>
                <a:cxn ang="0">
                  <a:pos x="T4" y="T5"/>
                </a:cxn>
                <a:cxn ang="0">
                  <a:pos x="T6" y="T7"/>
                </a:cxn>
                <a:cxn ang="0">
                  <a:pos x="T8" y="T9"/>
                </a:cxn>
                <a:cxn ang="0">
                  <a:pos x="T10" y="T11"/>
                </a:cxn>
              </a:cxnLst>
              <a:rect l="0" t="0" r="r" b="b"/>
              <a:pathLst>
                <a:path w="124" h="142">
                  <a:moveTo>
                    <a:pt x="0" y="0"/>
                  </a:moveTo>
                  <a:lnTo>
                    <a:pt x="124" y="0"/>
                  </a:lnTo>
                  <a:lnTo>
                    <a:pt x="124" y="142"/>
                  </a:lnTo>
                  <a:lnTo>
                    <a:pt x="0" y="142"/>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0" name="îSliḓe">
              <a:extLst>
                <a:ext uri="{FF2B5EF4-FFF2-40B4-BE49-F238E27FC236}">
                  <a16:creationId xmlns:a16="http://schemas.microsoft.com/office/drawing/2014/main" id="{37D3A04D-1126-4611-8CEA-4E6FF1976274}"/>
                </a:ext>
              </a:extLst>
            </p:cNvPr>
            <p:cNvSpPr/>
            <p:nvPr/>
          </p:nvSpPr>
          <p:spPr bwMode="auto">
            <a:xfrm>
              <a:off x="5303915" y="5410309"/>
              <a:ext cx="873170" cy="643080"/>
            </a:xfrm>
            <a:custGeom>
              <a:avLst/>
              <a:gdLst>
                <a:gd name="T0" fmla="*/ 84 w 296"/>
                <a:gd name="T1" fmla="*/ 193 h 218"/>
                <a:gd name="T2" fmla="*/ 94 w 296"/>
                <a:gd name="T3" fmla="*/ 193 h 218"/>
                <a:gd name="T4" fmla="*/ 94 w 296"/>
                <a:gd name="T5" fmla="*/ 199 h 218"/>
                <a:gd name="T6" fmla="*/ 113 w 296"/>
                <a:gd name="T7" fmla="*/ 199 h 218"/>
                <a:gd name="T8" fmla="*/ 113 w 296"/>
                <a:gd name="T9" fmla="*/ 206 h 218"/>
                <a:gd name="T10" fmla="*/ 160 w 296"/>
                <a:gd name="T11" fmla="*/ 206 h 218"/>
                <a:gd name="T12" fmla="*/ 160 w 296"/>
                <a:gd name="T13" fmla="*/ 9 h 218"/>
                <a:gd name="T14" fmla="*/ 178 w 296"/>
                <a:gd name="T15" fmla="*/ 9 h 218"/>
                <a:gd name="T16" fmla="*/ 178 w 296"/>
                <a:gd name="T17" fmla="*/ 0 h 218"/>
                <a:gd name="T18" fmla="*/ 218 w 296"/>
                <a:gd name="T19" fmla="*/ 0 h 218"/>
                <a:gd name="T20" fmla="*/ 218 w 296"/>
                <a:gd name="T21" fmla="*/ 9 h 218"/>
                <a:gd name="T22" fmla="*/ 231 w 296"/>
                <a:gd name="T23" fmla="*/ 9 h 218"/>
                <a:gd name="T24" fmla="*/ 231 w 296"/>
                <a:gd name="T25" fmla="*/ 206 h 218"/>
                <a:gd name="T26" fmla="*/ 245 w 296"/>
                <a:gd name="T27" fmla="*/ 206 h 218"/>
                <a:gd name="T28" fmla="*/ 245 w 296"/>
                <a:gd name="T29" fmla="*/ 214 h 218"/>
                <a:gd name="T30" fmla="*/ 296 w 296"/>
                <a:gd name="T31" fmla="*/ 214 h 218"/>
                <a:gd name="T32" fmla="*/ 296 w 296"/>
                <a:gd name="T33" fmla="*/ 218 h 218"/>
                <a:gd name="T34" fmla="*/ 245 w 296"/>
                <a:gd name="T35" fmla="*/ 218 h 218"/>
                <a:gd name="T36" fmla="*/ 231 w 296"/>
                <a:gd name="T37" fmla="*/ 218 h 218"/>
                <a:gd name="T38" fmla="*/ 160 w 296"/>
                <a:gd name="T39" fmla="*/ 218 h 218"/>
                <a:gd name="T40" fmla="*/ 130 w 296"/>
                <a:gd name="T41" fmla="*/ 218 h 218"/>
                <a:gd name="T42" fmla="*/ 84 w 296"/>
                <a:gd name="T43" fmla="*/ 218 h 218"/>
                <a:gd name="T44" fmla="*/ 80 w 296"/>
                <a:gd name="T45" fmla="*/ 218 h 218"/>
                <a:gd name="T46" fmla="*/ 50 w 296"/>
                <a:gd name="T47" fmla="*/ 218 h 218"/>
                <a:gd name="T48" fmla="*/ 0 w 296"/>
                <a:gd name="T49" fmla="*/ 218 h 218"/>
                <a:gd name="T50" fmla="*/ 0 w 296"/>
                <a:gd name="T51" fmla="*/ 4 h 218"/>
                <a:gd name="T52" fmla="*/ 50 w 296"/>
                <a:gd name="T53" fmla="*/ 4 h 218"/>
                <a:gd name="T54" fmla="*/ 50 w 296"/>
                <a:gd name="T55" fmla="*/ 25 h 218"/>
                <a:gd name="T56" fmla="*/ 84 w 296"/>
                <a:gd name="T57" fmla="*/ 25 h 218"/>
                <a:gd name="T58" fmla="*/ 84 w 296"/>
                <a:gd name="T59" fmla="*/ 193 h 218"/>
                <a:gd name="T60" fmla="*/ 84 w 296"/>
                <a:gd name="T61"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6" h="218">
                  <a:moveTo>
                    <a:pt x="84" y="193"/>
                  </a:moveTo>
                  <a:lnTo>
                    <a:pt x="94" y="193"/>
                  </a:lnTo>
                  <a:lnTo>
                    <a:pt x="94" y="199"/>
                  </a:lnTo>
                  <a:lnTo>
                    <a:pt x="113" y="199"/>
                  </a:lnTo>
                  <a:lnTo>
                    <a:pt x="113" y="206"/>
                  </a:lnTo>
                  <a:lnTo>
                    <a:pt x="160" y="206"/>
                  </a:lnTo>
                  <a:lnTo>
                    <a:pt x="160" y="9"/>
                  </a:lnTo>
                  <a:lnTo>
                    <a:pt x="178" y="9"/>
                  </a:lnTo>
                  <a:lnTo>
                    <a:pt x="178" y="0"/>
                  </a:lnTo>
                  <a:lnTo>
                    <a:pt x="218" y="0"/>
                  </a:lnTo>
                  <a:lnTo>
                    <a:pt x="218" y="9"/>
                  </a:lnTo>
                  <a:lnTo>
                    <a:pt x="231" y="9"/>
                  </a:lnTo>
                  <a:lnTo>
                    <a:pt x="231" y="206"/>
                  </a:lnTo>
                  <a:lnTo>
                    <a:pt x="245" y="206"/>
                  </a:lnTo>
                  <a:lnTo>
                    <a:pt x="245" y="214"/>
                  </a:lnTo>
                  <a:lnTo>
                    <a:pt x="296" y="214"/>
                  </a:lnTo>
                  <a:lnTo>
                    <a:pt x="296" y="218"/>
                  </a:lnTo>
                  <a:lnTo>
                    <a:pt x="245" y="218"/>
                  </a:lnTo>
                  <a:lnTo>
                    <a:pt x="231" y="218"/>
                  </a:lnTo>
                  <a:lnTo>
                    <a:pt x="160" y="218"/>
                  </a:lnTo>
                  <a:lnTo>
                    <a:pt x="130" y="218"/>
                  </a:lnTo>
                  <a:lnTo>
                    <a:pt x="84" y="218"/>
                  </a:lnTo>
                  <a:lnTo>
                    <a:pt x="80" y="218"/>
                  </a:lnTo>
                  <a:lnTo>
                    <a:pt x="50" y="218"/>
                  </a:lnTo>
                  <a:lnTo>
                    <a:pt x="0" y="218"/>
                  </a:lnTo>
                  <a:lnTo>
                    <a:pt x="0" y="4"/>
                  </a:lnTo>
                  <a:lnTo>
                    <a:pt x="50" y="4"/>
                  </a:lnTo>
                  <a:lnTo>
                    <a:pt x="50" y="25"/>
                  </a:lnTo>
                  <a:lnTo>
                    <a:pt x="84" y="25"/>
                  </a:lnTo>
                  <a:lnTo>
                    <a:pt x="84" y="193"/>
                  </a:lnTo>
                  <a:lnTo>
                    <a:pt x="84" y="193"/>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1" name="ïṥliḓè">
              <a:extLst>
                <a:ext uri="{FF2B5EF4-FFF2-40B4-BE49-F238E27FC236}">
                  <a16:creationId xmlns:a16="http://schemas.microsoft.com/office/drawing/2014/main" id="{08B50FF2-1F8C-4F38-8CD5-6A5E3A29DB3D}"/>
                </a:ext>
              </a:extLst>
            </p:cNvPr>
            <p:cNvSpPr/>
            <p:nvPr/>
          </p:nvSpPr>
          <p:spPr bwMode="auto">
            <a:xfrm>
              <a:off x="35399" y="5882292"/>
              <a:ext cx="377587" cy="171096"/>
            </a:xfrm>
            <a:custGeom>
              <a:avLst/>
              <a:gdLst>
                <a:gd name="T0" fmla="*/ 0 w 129"/>
                <a:gd name="T1" fmla="*/ 0 h 58"/>
                <a:gd name="T2" fmla="*/ 129 w 129"/>
                <a:gd name="T3" fmla="*/ 0 h 58"/>
                <a:gd name="T4" fmla="*/ 129 w 129"/>
                <a:gd name="T5" fmla="*/ 58 h 58"/>
                <a:gd name="T6" fmla="*/ 0 w 129"/>
                <a:gd name="T7" fmla="*/ 58 h 58"/>
                <a:gd name="T8" fmla="*/ 0 w 129"/>
                <a:gd name="T9" fmla="*/ 0 h 58"/>
                <a:gd name="T10" fmla="*/ 0 w 129"/>
                <a:gd name="T11" fmla="*/ 0 h 58"/>
              </a:gdLst>
              <a:ahLst/>
              <a:cxnLst>
                <a:cxn ang="0">
                  <a:pos x="T0" y="T1"/>
                </a:cxn>
                <a:cxn ang="0">
                  <a:pos x="T2" y="T3"/>
                </a:cxn>
                <a:cxn ang="0">
                  <a:pos x="T4" y="T5"/>
                </a:cxn>
                <a:cxn ang="0">
                  <a:pos x="T6" y="T7"/>
                </a:cxn>
                <a:cxn ang="0">
                  <a:pos x="T8" y="T9"/>
                </a:cxn>
                <a:cxn ang="0">
                  <a:pos x="T10" y="T11"/>
                </a:cxn>
              </a:cxnLst>
              <a:rect l="0" t="0" r="r" b="b"/>
              <a:pathLst>
                <a:path w="129" h="58">
                  <a:moveTo>
                    <a:pt x="0" y="0"/>
                  </a:moveTo>
                  <a:lnTo>
                    <a:pt x="129" y="0"/>
                  </a:lnTo>
                  <a:lnTo>
                    <a:pt x="129"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62500" lnSpcReduction="20000"/>
            </a:bodyPr>
            <a:lstStyle/>
            <a:p>
              <a:endParaRPr lang="en-US"/>
            </a:p>
          </p:txBody>
        </p:sp>
        <p:sp>
          <p:nvSpPr>
            <p:cNvPr id="62" name="išľîḍê">
              <a:extLst>
                <a:ext uri="{FF2B5EF4-FFF2-40B4-BE49-F238E27FC236}">
                  <a16:creationId xmlns:a16="http://schemas.microsoft.com/office/drawing/2014/main" id="{DF3A36F1-234C-4840-B2CB-D861E9E32279}"/>
                </a:ext>
              </a:extLst>
            </p:cNvPr>
            <p:cNvSpPr/>
            <p:nvPr/>
          </p:nvSpPr>
          <p:spPr bwMode="auto">
            <a:xfrm>
              <a:off x="2796502" y="4887064"/>
              <a:ext cx="595877" cy="1166323"/>
            </a:xfrm>
            <a:custGeom>
              <a:avLst/>
              <a:gdLst>
                <a:gd name="T0" fmla="*/ 145 w 200"/>
                <a:gd name="T1" fmla="*/ 446 h 538"/>
                <a:gd name="T2" fmla="*/ 195 w 200"/>
                <a:gd name="T3" fmla="*/ 446 h 538"/>
                <a:gd name="T4" fmla="*/ 195 w 200"/>
                <a:gd name="T5" fmla="*/ 456 h 538"/>
                <a:gd name="T6" fmla="*/ 200 w 200"/>
                <a:gd name="T7" fmla="*/ 456 h 538"/>
                <a:gd name="T8" fmla="*/ 200 w 200"/>
                <a:gd name="T9" fmla="*/ 538 h 538"/>
                <a:gd name="T10" fmla="*/ 145 w 200"/>
                <a:gd name="T11" fmla="*/ 538 h 538"/>
                <a:gd name="T12" fmla="*/ 95 w 200"/>
                <a:gd name="T13" fmla="*/ 538 h 538"/>
                <a:gd name="T14" fmla="*/ 46 w 200"/>
                <a:gd name="T15" fmla="*/ 538 h 538"/>
                <a:gd name="T16" fmla="*/ 34 w 200"/>
                <a:gd name="T17" fmla="*/ 538 h 538"/>
                <a:gd name="T18" fmla="*/ 0 w 200"/>
                <a:gd name="T19" fmla="*/ 538 h 538"/>
                <a:gd name="T20" fmla="*/ 0 w 200"/>
                <a:gd name="T21" fmla="*/ 482 h 538"/>
                <a:gd name="T22" fmla="*/ 34 w 200"/>
                <a:gd name="T23" fmla="*/ 482 h 538"/>
                <a:gd name="T24" fmla="*/ 34 w 200"/>
                <a:gd name="T25" fmla="*/ 287 h 538"/>
                <a:gd name="T26" fmla="*/ 55 w 200"/>
                <a:gd name="T27" fmla="*/ 287 h 538"/>
                <a:gd name="T28" fmla="*/ 55 w 200"/>
                <a:gd name="T29" fmla="*/ 152 h 538"/>
                <a:gd name="T30" fmla="*/ 55 w 200"/>
                <a:gd name="T31" fmla="*/ 146 h 538"/>
                <a:gd name="T32" fmla="*/ 67 w 200"/>
                <a:gd name="T33" fmla="*/ 146 h 538"/>
                <a:gd name="T34" fmla="*/ 67 w 200"/>
                <a:gd name="T35" fmla="*/ 64 h 538"/>
                <a:gd name="T36" fmla="*/ 72 w 200"/>
                <a:gd name="T37" fmla="*/ 64 h 538"/>
                <a:gd name="T38" fmla="*/ 74 w 200"/>
                <a:gd name="T39" fmla="*/ 31 h 538"/>
                <a:gd name="T40" fmla="*/ 76 w 200"/>
                <a:gd name="T41" fmla="*/ 64 h 538"/>
                <a:gd name="T42" fmla="*/ 84 w 200"/>
                <a:gd name="T43" fmla="*/ 64 h 538"/>
                <a:gd name="T44" fmla="*/ 86 w 200"/>
                <a:gd name="T45" fmla="*/ 0 h 538"/>
                <a:gd name="T46" fmla="*/ 88 w 200"/>
                <a:gd name="T47" fmla="*/ 64 h 538"/>
                <a:gd name="T48" fmla="*/ 99 w 200"/>
                <a:gd name="T49" fmla="*/ 64 h 538"/>
                <a:gd name="T50" fmla="*/ 99 w 200"/>
                <a:gd name="T51" fmla="*/ 64 h 538"/>
                <a:gd name="T52" fmla="*/ 95 w 200"/>
                <a:gd name="T53" fmla="*/ 64 h 538"/>
                <a:gd name="T54" fmla="*/ 97 w 200"/>
                <a:gd name="T55" fmla="*/ 23 h 538"/>
                <a:gd name="T56" fmla="*/ 99 w 200"/>
                <a:gd name="T57" fmla="*/ 60 h 538"/>
                <a:gd name="T58" fmla="*/ 109 w 200"/>
                <a:gd name="T59" fmla="*/ 60 h 538"/>
                <a:gd name="T60" fmla="*/ 109 w 200"/>
                <a:gd name="T61" fmla="*/ 52 h 538"/>
                <a:gd name="T62" fmla="*/ 111 w 200"/>
                <a:gd name="T63" fmla="*/ 64 h 538"/>
                <a:gd name="T64" fmla="*/ 109 w 200"/>
                <a:gd name="T65" fmla="*/ 64 h 538"/>
                <a:gd name="T66" fmla="*/ 109 w 200"/>
                <a:gd name="T67" fmla="*/ 64 h 538"/>
                <a:gd name="T68" fmla="*/ 111 w 200"/>
                <a:gd name="T69" fmla="*/ 64 h 538"/>
                <a:gd name="T70" fmla="*/ 111 w 200"/>
                <a:gd name="T71" fmla="*/ 146 h 538"/>
                <a:gd name="T72" fmla="*/ 120 w 200"/>
                <a:gd name="T73" fmla="*/ 146 h 538"/>
                <a:gd name="T74" fmla="*/ 120 w 200"/>
                <a:gd name="T75" fmla="*/ 152 h 538"/>
                <a:gd name="T76" fmla="*/ 128 w 200"/>
                <a:gd name="T77" fmla="*/ 152 h 538"/>
                <a:gd name="T78" fmla="*/ 128 w 200"/>
                <a:gd name="T79" fmla="*/ 287 h 538"/>
                <a:gd name="T80" fmla="*/ 145 w 200"/>
                <a:gd name="T81" fmla="*/ 287 h 538"/>
                <a:gd name="T82" fmla="*/ 145 w 200"/>
                <a:gd name="T83" fmla="*/ 446 h 538"/>
                <a:gd name="T84" fmla="*/ 145 w 200"/>
                <a:gd name="T85" fmla="*/ 44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538">
                  <a:moveTo>
                    <a:pt x="145" y="446"/>
                  </a:moveTo>
                  <a:lnTo>
                    <a:pt x="195" y="446"/>
                  </a:lnTo>
                  <a:lnTo>
                    <a:pt x="195" y="456"/>
                  </a:lnTo>
                  <a:lnTo>
                    <a:pt x="200" y="456"/>
                  </a:lnTo>
                  <a:lnTo>
                    <a:pt x="200" y="538"/>
                  </a:lnTo>
                  <a:lnTo>
                    <a:pt x="145" y="538"/>
                  </a:lnTo>
                  <a:lnTo>
                    <a:pt x="95" y="538"/>
                  </a:lnTo>
                  <a:lnTo>
                    <a:pt x="46" y="538"/>
                  </a:lnTo>
                  <a:lnTo>
                    <a:pt x="34" y="538"/>
                  </a:lnTo>
                  <a:lnTo>
                    <a:pt x="0" y="538"/>
                  </a:lnTo>
                  <a:lnTo>
                    <a:pt x="0" y="482"/>
                  </a:lnTo>
                  <a:lnTo>
                    <a:pt x="34" y="482"/>
                  </a:lnTo>
                  <a:lnTo>
                    <a:pt x="34" y="287"/>
                  </a:lnTo>
                  <a:lnTo>
                    <a:pt x="55" y="287"/>
                  </a:lnTo>
                  <a:lnTo>
                    <a:pt x="55" y="152"/>
                  </a:lnTo>
                  <a:lnTo>
                    <a:pt x="55" y="146"/>
                  </a:lnTo>
                  <a:lnTo>
                    <a:pt x="67" y="146"/>
                  </a:lnTo>
                  <a:lnTo>
                    <a:pt x="67" y="64"/>
                  </a:lnTo>
                  <a:lnTo>
                    <a:pt x="72" y="64"/>
                  </a:lnTo>
                  <a:lnTo>
                    <a:pt x="74" y="31"/>
                  </a:lnTo>
                  <a:lnTo>
                    <a:pt x="76" y="64"/>
                  </a:lnTo>
                  <a:lnTo>
                    <a:pt x="84" y="64"/>
                  </a:lnTo>
                  <a:lnTo>
                    <a:pt x="86" y="0"/>
                  </a:lnTo>
                  <a:lnTo>
                    <a:pt x="88" y="64"/>
                  </a:lnTo>
                  <a:lnTo>
                    <a:pt x="99" y="64"/>
                  </a:lnTo>
                  <a:lnTo>
                    <a:pt x="99" y="64"/>
                  </a:lnTo>
                  <a:lnTo>
                    <a:pt x="95" y="64"/>
                  </a:lnTo>
                  <a:lnTo>
                    <a:pt x="97" y="23"/>
                  </a:lnTo>
                  <a:lnTo>
                    <a:pt x="99" y="60"/>
                  </a:lnTo>
                  <a:lnTo>
                    <a:pt x="109" y="60"/>
                  </a:lnTo>
                  <a:lnTo>
                    <a:pt x="109" y="52"/>
                  </a:lnTo>
                  <a:lnTo>
                    <a:pt x="111" y="64"/>
                  </a:lnTo>
                  <a:lnTo>
                    <a:pt x="109" y="64"/>
                  </a:lnTo>
                  <a:lnTo>
                    <a:pt x="109" y="64"/>
                  </a:lnTo>
                  <a:lnTo>
                    <a:pt x="111" y="64"/>
                  </a:lnTo>
                  <a:lnTo>
                    <a:pt x="111" y="146"/>
                  </a:lnTo>
                  <a:lnTo>
                    <a:pt x="120" y="146"/>
                  </a:lnTo>
                  <a:lnTo>
                    <a:pt x="120" y="152"/>
                  </a:lnTo>
                  <a:lnTo>
                    <a:pt x="128" y="152"/>
                  </a:lnTo>
                  <a:lnTo>
                    <a:pt x="128" y="287"/>
                  </a:lnTo>
                  <a:lnTo>
                    <a:pt x="145" y="287"/>
                  </a:lnTo>
                  <a:lnTo>
                    <a:pt x="145" y="446"/>
                  </a:lnTo>
                  <a:lnTo>
                    <a:pt x="145" y="446"/>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3" name="íşḻíḑe">
              <a:extLst>
                <a:ext uri="{FF2B5EF4-FFF2-40B4-BE49-F238E27FC236}">
                  <a16:creationId xmlns:a16="http://schemas.microsoft.com/office/drawing/2014/main" id="{BFAE3937-C439-4BFB-9922-5503F076A213}"/>
                </a:ext>
              </a:extLst>
            </p:cNvPr>
            <p:cNvSpPr/>
            <p:nvPr/>
          </p:nvSpPr>
          <p:spPr bwMode="auto">
            <a:xfrm>
              <a:off x="4708034" y="6006189"/>
              <a:ext cx="631276" cy="47199"/>
            </a:xfrm>
            <a:custGeom>
              <a:avLst/>
              <a:gdLst>
                <a:gd name="T0" fmla="*/ 0 w 212"/>
                <a:gd name="T1" fmla="*/ 0 h 15"/>
                <a:gd name="T2" fmla="*/ 212 w 212"/>
                <a:gd name="T3" fmla="*/ 0 h 15"/>
                <a:gd name="T4" fmla="*/ 212 w 212"/>
                <a:gd name="T5" fmla="*/ 15 h 15"/>
                <a:gd name="T6" fmla="*/ 0 w 212"/>
                <a:gd name="T7" fmla="*/ 15 h 15"/>
                <a:gd name="T8" fmla="*/ 0 w 212"/>
                <a:gd name="T9" fmla="*/ 0 h 15"/>
                <a:gd name="T10" fmla="*/ 0 w 212"/>
                <a:gd name="T11" fmla="*/ 0 h 15"/>
              </a:gdLst>
              <a:ahLst/>
              <a:cxnLst>
                <a:cxn ang="0">
                  <a:pos x="T0" y="T1"/>
                </a:cxn>
                <a:cxn ang="0">
                  <a:pos x="T2" y="T3"/>
                </a:cxn>
                <a:cxn ang="0">
                  <a:pos x="T4" y="T5"/>
                </a:cxn>
                <a:cxn ang="0">
                  <a:pos x="T6" y="T7"/>
                </a:cxn>
                <a:cxn ang="0">
                  <a:pos x="T8" y="T9"/>
                </a:cxn>
                <a:cxn ang="0">
                  <a:pos x="T10" y="T11"/>
                </a:cxn>
              </a:cxnLst>
              <a:rect l="0" t="0" r="r" b="b"/>
              <a:pathLst>
                <a:path w="212" h="15">
                  <a:moveTo>
                    <a:pt x="0" y="0"/>
                  </a:moveTo>
                  <a:lnTo>
                    <a:pt x="212" y="0"/>
                  </a:lnTo>
                  <a:lnTo>
                    <a:pt x="212" y="15"/>
                  </a:lnTo>
                  <a:lnTo>
                    <a:pt x="0" y="15"/>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a:p>
          </p:txBody>
        </p:sp>
        <p:sp>
          <p:nvSpPr>
            <p:cNvPr id="64" name="íS1íḑè">
              <a:extLst>
                <a:ext uri="{FF2B5EF4-FFF2-40B4-BE49-F238E27FC236}">
                  <a16:creationId xmlns:a16="http://schemas.microsoft.com/office/drawing/2014/main" id="{6DC3C403-CB50-4A12-95F9-52E4847B564D}"/>
                </a:ext>
              </a:extLst>
            </p:cNvPr>
            <p:cNvSpPr/>
            <p:nvPr/>
          </p:nvSpPr>
          <p:spPr bwMode="auto">
            <a:xfrm>
              <a:off x="6503219" y="4891127"/>
              <a:ext cx="306789" cy="1162261"/>
            </a:xfrm>
            <a:custGeom>
              <a:avLst/>
              <a:gdLst>
                <a:gd name="T0" fmla="*/ 42 w 105"/>
                <a:gd name="T1" fmla="*/ 17 h 394"/>
                <a:gd name="T2" fmla="*/ 92 w 105"/>
                <a:gd name="T3" fmla="*/ 0 h 394"/>
                <a:gd name="T4" fmla="*/ 102 w 105"/>
                <a:gd name="T5" fmla="*/ 0 h 394"/>
                <a:gd name="T6" fmla="*/ 102 w 105"/>
                <a:gd name="T7" fmla="*/ 29 h 394"/>
                <a:gd name="T8" fmla="*/ 105 w 105"/>
                <a:gd name="T9" fmla="*/ 29 h 394"/>
                <a:gd name="T10" fmla="*/ 105 w 105"/>
                <a:gd name="T11" fmla="*/ 122 h 394"/>
                <a:gd name="T12" fmla="*/ 105 w 105"/>
                <a:gd name="T13" fmla="*/ 155 h 394"/>
                <a:gd name="T14" fmla="*/ 105 w 105"/>
                <a:gd name="T15" fmla="*/ 205 h 394"/>
                <a:gd name="T16" fmla="*/ 105 w 105"/>
                <a:gd name="T17" fmla="*/ 218 h 394"/>
                <a:gd name="T18" fmla="*/ 105 w 105"/>
                <a:gd name="T19" fmla="*/ 298 h 394"/>
                <a:gd name="T20" fmla="*/ 105 w 105"/>
                <a:gd name="T21" fmla="*/ 331 h 394"/>
                <a:gd name="T22" fmla="*/ 105 w 105"/>
                <a:gd name="T23" fmla="*/ 394 h 394"/>
                <a:gd name="T24" fmla="*/ 0 w 105"/>
                <a:gd name="T25" fmla="*/ 394 h 394"/>
                <a:gd name="T26" fmla="*/ 0 w 105"/>
                <a:gd name="T27" fmla="*/ 218 h 394"/>
                <a:gd name="T28" fmla="*/ 10 w 105"/>
                <a:gd name="T29" fmla="*/ 218 h 394"/>
                <a:gd name="T30" fmla="*/ 10 w 105"/>
                <a:gd name="T31" fmla="*/ 155 h 394"/>
                <a:gd name="T32" fmla="*/ 21 w 105"/>
                <a:gd name="T33" fmla="*/ 155 h 394"/>
                <a:gd name="T34" fmla="*/ 21 w 105"/>
                <a:gd name="T35" fmla="*/ 122 h 394"/>
                <a:gd name="T36" fmla="*/ 39 w 105"/>
                <a:gd name="T37" fmla="*/ 122 h 394"/>
                <a:gd name="T38" fmla="*/ 39 w 105"/>
                <a:gd name="T39" fmla="*/ 29 h 394"/>
                <a:gd name="T40" fmla="*/ 42 w 105"/>
                <a:gd name="T41" fmla="*/ 29 h 394"/>
                <a:gd name="T42" fmla="*/ 42 w 105"/>
                <a:gd name="T43" fmla="*/ 17 h 394"/>
                <a:gd name="T44" fmla="*/ 42 w 105"/>
                <a:gd name="T45" fmla="*/ 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394">
                  <a:moveTo>
                    <a:pt x="42" y="17"/>
                  </a:moveTo>
                  <a:lnTo>
                    <a:pt x="92" y="0"/>
                  </a:lnTo>
                  <a:lnTo>
                    <a:pt x="102" y="0"/>
                  </a:lnTo>
                  <a:lnTo>
                    <a:pt x="102" y="29"/>
                  </a:lnTo>
                  <a:lnTo>
                    <a:pt x="105" y="29"/>
                  </a:lnTo>
                  <a:lnTo>
                    <a:pt x="105" y="122"/>
                  </a:lnTo>
                  <a:lnTo>
                    <a:pt x="105" y="155"/>
                  </a:lnTo>
                  <a:lnTo>
                    <a:pt x="105" y="205"/>
                  </a:lnTo>
                  <a:lnTo>
                    <a:pt x="105" y="218"/>
                  </a:lnTo>
                  <a:lnTo>
                    <a:pt x="105" y="298"/>
                  </a:lnTo>
                  <a:lnTo>
                    <a:pt x="105" y="331"/>
                  </a:lnTo>
                  <a:lnTo>
                    <a:pt x="105" y="394"/>
                  </a:lnTo>
                  <a:lnTo>
                    <a:pt x="0" y="394"/>
                  </a:lnTo>
                  <a:lnTo>
                    <a:pt x="0" y="218"/>
                  </a:lnTo>
                  <a:lnTo>
                    <a:pt x="10" y="218"/>
                  </a:lnTo>
                  <a:lnTo>
                    <a:pt x="10" y="155"/>
                  </a:lnTo>
                  <a:lnTo>
                    <a:pt x="21" y="155"/>
                  </a:lnTo>
                  <a:lnTo>
                    <a:pt x="21" y="122"/>
                  </a:lnTo>
                  <a:lnTo>
                    <a:pt x="39" y="122"/>
                  </a:lnTo>
                  <a:lnTo>
                    <a:pt x="39" y="29"/>
                  </a:lnTo>
                  <a:lnTo>
                    <a:pt x="42" y="29"/>
                  </a:lnTo>
                  <a:lnTo>
                    <a:pt x="42" y="17"/>
                  </a:lnTo>
                  <a:lnTo>
                    <a:pt x="42" y="17"/>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5" name="îSḻîdé">
              <a:extLst>
                <a:ext uri="{FF2B5EF4-FFF2-40B4-BE49-F238E27FC236}">
                  <a16:creationId xmlns:a16="http://schemas.microsoft.com/office/drawing/2014/main" id="{BBBA07A8-6CCE-4612-812F-375CC4ADAAE4}"/>
                </a:ext>
              </a:extLst>
            </p:cNvPr>
            <p:cNvSpPr/>
            <p:nvPr/>
          </p:nvSpPr>
          <p:spPr bwMode="auto">
            <a:xfrm>
              <a:off x="6981101" y="5251015"/>
              <a:ext cx="1103260" cy="802372"/>
            </a:xfrm>
            <a:custGeom>
              <a:avLst/>
              <a:gdLst>
                <a:gd name="T0" fmla="*/ 109 w 375"/>
                <a:gd name="T1" fmla="*/ 163 h 272"/>
                <a:gd name="T2" fmla="*/ 138 w 375"/>
                <a:gd name="T3" fmla="*/ 151 h 272"/>
                <a:gd name="T4" fmla="*/ 145 w 375"/>
                <a:gd name="T5" fmla="*/ 140 h 272"/>
                <a:gd name="T6" fmla="*/ 147 w 375"/>
                <a:gd name="T7" fmla="*/ 140 h 272"/>
                <a:gd name="T8" fmla="*/ 155 w 375"/>
                <a:gd name="T9" fmla="*/ 151 h 272"/>
                <a:gd name="T10" fmla="*/ 183 w 375"/>
                <a:gd name="T11" fmla="*/ 163 h 272"/>
                <a:gd name="T12" fmla="*/ 183 w 375"/>
                <a:gd name="T13" fmla="*/ 169 h 272"/>
                <a:gd name="T14" fmla="*/ 178 w 375"/>
                <a:gd name="T15" fmla="*/ 169 h 272"/>
                <a:gd name="T16" fmla="*/ 178 w 375"/>
                <a:gd name="T17" fmla="*/ 190 h 272"/>
                <a:gd name="T18" fmla="*/ 358 w 375"/>
                <a:gd name="T19" fmla="*/ 190 h 272"/>
                <a:gd name="T20" fmla="*/ 358 w 375"/>
                <a:gd name="T21" fmla="*/ 199 h 272"/>
                <a:gd name="T22" fmla="*/ 375 w 375"/>
                <a:gd name="T23" fmla="*/ 199 h 272"/>
                <a:gd name="T24" fmla="*/ 375 w 375"/>
                <a:gd name="T25" fmla="*/ 272 h 272"/>
                <a:gd name="T26" fmla="*/ 0 w 375"/>
                <a:gd name="T27" fmla="*/ 272 h 272"/>
                <a:gd name="T28" fmla="*/ 0 w 375"/>
                <a:gd name="T29" fmla="*/ 199 h 272"/>
                <a:gd name="T30" fmla="*/ 17 w 375"/>
                <a:gd name="T31" fmla="*/ 199 h 272"/>
                <a:gd name="T32" fmla="*/ 17 w 375"/>
                <a:gd name="T33" fmla="*/ 190 h 272"/>
                <a:gd name="T34" fmla="*/ 27 w 375"/>
                <a:gd name="T35" fmla="*/ 190 h 272"/>
                <a:gd name="T36" fmla="*/ 27 w 375"/>
                <a:gd name="T37" fmla="*/ 71 h 272"/>
                <a:gd name="T38" fmla="*/ 30 w 375"/>
                <a:gd name="T39" fmla="*/ 71 h 272"/>
                <a:gd name="T40" fmla="*/ 30 w 375"/>
                <a:gd name="T41" fmla="*/ 50 h 272"/>
                <a:gd name="T42" fmla="*/ 34 w 375"/>
                <a:gd name="T43" fmla="*/ 50 h 272"/>
                <a:gd name="T44" fmla="*/ 34 w 375"/>
                <a:gd name="T45" fmla="*/ 27 h 272"/>
                <a:gd name="T46" fmla="*/ 38 w 375"/>
                <a:gd name="T47" fmla="*/ 27 h 272"/>
                <a:gd name="T48" fmla="*/ 38 w 375"/>
                <a:gd name="T49" fmla="*/ 18 h 272"/>
                <a:gd name="T50" fmla="*/ 42 w 375"/>
                <a:gd name="T51" fmla="*/ 18 h 272"/>
                <a:gd name="T52" fmla="*/ 51 w 375"/>
                <a:gd name="T53" fmla="*/ 0 h 272"/>
                <a:gd name="T54" fmla="*/ 55 w 375"/>
                <a:gd name="T55" fmla="*/ 0 h 272"/>
                <a:gd name="T56" fmla="*/ 65 w 375"/>
                <a:gd name="T57" fmla="*/ 18 h 272"/>
                <a:gd name="T58" fmla="*/ 69 w 375"/>
                <a:gd name="T59" fmla="*/ 18 h 272"/>
                <a:gd name="T60" fmla="*/ 69 w 375"/>
                <a:gd name="T61" fmla="*/ 27 h 272"/>
                <a:gd name="T62" fmla="*/ 73 w 375"/>
                <a:gd name="T63" fmla="*/ 27 h 272"/>
                <a:gd name="T64" fmla="*/ 73 w 375"/>
                <a:gd name="T65" fmla="*/ 50 h 272"/>
                <a:gd name="T66" fmla="*/ 76 w 375"/>
                <a:gd name="T67" fmla="*/ 50 h 272"/>
                <a:gd name="T68" fmla="*/ 76 w 375"/>
                <a:gd name="T69" fmla="*/ 71 h 272"/>
                <a:gd name="T70" fmla="*/ 80 w 375"/>
                <a:gd name="T71" fmla="*/ 71 h 272"/>
                <a:gd name="T72" fmla="*/ 80 w 375"/>
                <a:gd name="T73" fmla="*/ 190 h 272"/>
                <a:gd name="T74" fmla="*/ 115 w 375"/>
                <a:gd name="T75" fmla="*/ 190 h 272"/>
                <a:gd name="T76" fmla="*/ 115 w 375"/>
                <a:gd name="T77" fmla="*/ 169 h 272"/>
                <a:gd name="T78" fmla="*/ 109 w 375"/>
                <a:gd name="T79" fmla="*/ 169 h 272"/>
                <a:gd name="T80" fmla="*/ 109 w 375"/>
                <a:gd name="T81" fmla="*/ 163 h 272"/>
                <a:gd name="T82" fmla="*/ 109 w 375"/>
                <a:gd name="T83" fmla="*/ 1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5" h="272">
                  <a:moveTo>
                    <a:pt x="109" y="163"/>
                  </a:moveTo>
                  <a:lnTo>
                    <a:pt x="138" y="151"/>
                  </a:lnTo>
                  <a:lnTo>
                    <a:pt x="145" y="140"/>
                  </a:lnTo>
                  <a:lnTo>
                    <a:pt x="147" y="140"/>
                  </a:lnTo>
                  <a:lnTo>
                    <a:pt x="155" y="151"/>
                  </a:lnTo>
                  <a:lnTo>
                    <a:pt x="183" y="163"/>
                  </a:lnTo>
                  <a:lnTo>
                    <a:pt x="183" y="169"/>
                  </a:lnTo>
                  <a:lnTo>
                    <a:pt x="178" y="169"/>
                  </a:lnTo>
                  <a:lnTo>
                    <a:pt x="178" y="190"/>
                  </a:lnTo>
                  <a:lnTo>
                    <a:pt x="358" y="190"/>
                  </a:lnTo>
                  <a:lnTo>
                    <a:pt x="358" y="199"/>
                  </a:lnTo>
                  <a:lnTo>
                    <a:pt x="375" y="199"/>
                  </a:lnTo>
                  <a:lnTo>
                    <a:pt x="375" y="272"/>
                  </a:lnTo>
                  <a:lnTo>
                    <a:pt x="0" y="272"/>
                  </a:lnTo>
                  <a:lnTo>
                    <a:pt x="0" y="199"/>
                  </a:lnTo>
                  <a:lnTo>
                    <a:pt x="17" y="199"/>
                  </a:lnTo>
                  <a:lnTo>
                    <a:pt x="17" y="190"/>
                  </a:lnTo>
                  <a:lnTo>
                    <a:pt x="27" y="190"/>
                  </a:lnTo>
                  <a:lnTo>
                    <a:pt x="27" y="71"/>
                  </a:lnTo>
                  <a:lnTo>
                    <a:pt x="30" y="71"/>
                  </a:lnTo>
                  <a:lnTo>
                    <a:pt x="30" y="50"/>
                  </a:lnTo>
                  <a:lnTo>
                    <a:pt x="34" y="50"/>
                  </a:lnTo>
                  <a:lnTo>
                    <a:pt x="34" y="27"/>
                  </a:lnTo>
                  <a:lnTo>
                    <a:pt x="38" y="27"/>
                  </a:lnTo>
                  <a:lnTo>
                    <a:pt x="38" y="18"/>
                  </a:lnTo>
                  <a:lnTo>
                    <a:pt x="42" y="18"/>
                  </a:lnTo>
                  <a:lnTo>
                    <a:pt x="51" y="0"/>
                  </a:lnTo>
                  <a:lnTo>
                    <a:pt x="55" y="0"/>
                  </a:lnTo>
                  <a:lnTo>
                    <a:pt x="65" y="18"/>
                  </a:lnTo>
                  <a:lnTo>
                    <a:pt x="69" y="18"/>
                  </a:lnTo>
                  <a:lnTo>
                    <a:pt x="69" y="27"/>
                  </a:lnTo>
                  <a:lnTo>
                    <a:pt x="73" y="27"/>
                  </a:lnTo>
                  <a:lnTo>
                    <a:pt x="73" y="50"/>
                  </a:lnTo>
                  <a:lnTo>
                    <a:pt x="76" y="50"/>
                  </a:lnTo>
                  <a:lnTo>
                    <a:pt x="76" y="71"/>
                  </a:lnTo>
                  <a:lnTo>
                    <a:pt x="80" y="71"/>
                  </a:lnTo>
                  <a:lnTo>
                    <a:pt x="80" y="190"/>
                  </a:lnTo>
                  <a:lnTo>
                    <a:pt x="115" y="190"/>
                  </a:lnTo>
                  <a:lnTo>
                    <a:pt x="115" y="169"/>
                  </a:lnTo>
                  <a:lnTo>
                    <a:pt x="109" y="169"/>
                  </a:lnTo>
                  <a:lnTo>
                    <a:pt x="109" y="163"/>
                  </a:lnTo>
                  <a:lnTo>
                    <a:pt x="109" y="163"/>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6" name="iṧļíḍé">
              <a:extLst>
                <a:ext uri="{FF2B5EF4-FFF2-40B4-BE49-F238E27FC236}">
                  <a16:creationId xmlns:a16="http://schemas.microsoft.com/office/drawing/2014/main" id="{76A11E42-234B-4C15-99F9-BD3C57668EAE}"/>
                </a:ext>
              </a:extLst>
            </p:cNvPr>
            <p:cNvSpPr/>
            <p:nvPr/>
          </p:nvSpPr>
          <p:spPr bwMode="auto">
            <a:xfrm>
              <a:off x="8113861" y="5852794"/>
              <a:ext cx="106196" cy="200593"/>
            </a:xfrm>
            <a:custGeom>
              <a:avLst/>
              <a:gdLst>
                <a:gd name="T0" fmla="*/ 0 w 37"/>
                <a:gd name="T1" fmla="*/ 0 h 67"/>
                <a:gd name="T2" fmla="*/ 37 w 37"/>
                <a:gd name="T3" fmla="*/ 0 h 67"/>
                <a:gd name="T4" fmla="*/ 37 w 37"/>
                <a:gd name="T5" fmla="*/ 67 h 67"/>
                <a:gd name="T6" fmla="*/ 0 w 37"/>
                <a:gd name="T7" fmla="*/ 67 h 67"/>
                <a:gd name="T8" fmla="*/ 0 w 37"/>
                <a:gd name="T9" fmla="*/ 0 h 67"/>
                <a:gd name="T10" fmla="*/ 0 w 37"/>
                <a:gd name="T11" fmla="*/ 0 h 67"/>
              </a:gdLst>
              <a:ahLst/>
              <a:cxnLst>
                <a:cxn ang="0">
                  <a:pos x="T0" y="T1"/>
                </a:cxn>
                <a:cxn ang="0">
                  <a:pos x="T2" y="T3"/>
                </a:cxn>
                <a:cxn ang="0">
                  <a:pos x="T4" y="T5"/>
                </a:cxn>
                <a:cxn ang="0">
                  <a:pos x="T6" y="T7"/>
                </a:cxn>
                <a:cxn ang="0">
                  <a:pos x="T8" y="T9"/>
                </a:cxn>
                <a:cxn ang="0">
                  <a:pos x="T10" y="T11"/>
                </a:cxn>
              </a:cxnLst>
              <a:rect l="0" t="0" r="r" b="b"/>
              <a:pathLst>
                <a:path w="37" h="67">
                  <a:moveTo>
                    <a:pt x="0" y="0"/>
                  </a:moveTo>
                  <a:lnTo>
                    <a:pt x="37" y="0"/>
                  </a:lnTo>
                  <a:lnTo>
                    <a:pt x="37" y="67"/>
                  </a:lnTo>
                  <a:lnTo>
                    <a:pt x="0" y="67"/>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77500" lnSpcReduction="20000"/>
            </a:bodyPr>
            <a:lstStyle/>
            <a:p>
              <a:endParaRPr lang="en-US"/>
            </a:p>
          </p:txBody>
        </p:sp>
        <p:sp>
          <p:nvSpPr>
            <p:cNvPr id="67" name="i$ľïḋè">
              <a:extLst>
                <a:ext uri="{FF2B5EF4-FFF2-40B4-BE49-F238E27FC236}">
                  <a16:creationId xmlns:a16="http://schemas.microsoft.com/office/drawing/2014/main" id="{A2A058A7-3BC5-456E-8CCC-2D04DCF6CB9E}"/>
                </a:ext>
              </a:extLst>
            </p:cNvPr>
            <p:cNvSpPr/>
            <p:nvPr/>
          </p:nvSpPr>
          <p:spPr bwMode="auto">
            <a:xfrm>
              <a:off x="8190561" y="5905891"/>
              <a:ext cx="318589" cy="147496"/>
            </a:xfrm>
            <a:custGeom>
              <a:avLst/>
              <a:gdLst>
                <a:gd name="T0" fmla="*/ 63 w 109"/>
                <a:gd name="T1" fmla="*/ 0 h 50"/>
                <a:gd name="T2" fmla="*/ 109 w 109"/>
                <a:gd name="T3" fmla="*/ 0 h 50"/>
                <a:gd name="T4" fmla="*/ 109 w 109"/>
                <a:gd name="T5" fmla="*/ 25 h 50"/>
                <a:gd name="T6" fmla="*/ 109 w 109"/>
                <a:gd name="T7" fmla="*/ 50 h 50"/>
                <a:gd name="T8" fmla="*/ 63 w 109"/>
                <a:gd name="T9" fmla="*/ 50 h 50"/>
                <a:gd name="T10" fmla="*/ 0 w 109"/>
                <a:gd name="T11" fmla="*/ 50 h 50"/>
                <a:gd name="T12" fmla="*/ 0 w 109"/>
                <a:gd name="T13" fmla="*/ 25 h 50"/>
                <a:gd name="T14" fmla="*/ 63 w 109"/>
                <a:gd name="T15" fmla="*/ 25 h 50"/>
                <a:gd name="T16" fmla="*/ 63 w 109"/>
                <a:gd name="T17" fmla="*/ 0 h 50"/>
                <a:gd name="T18" fmla="*/ 63 w 10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0">
                  <a:moveTo>
                    <a:pt x="63" y="0"/>
                  </a:moveTo>
                  <a:lnTo>
                    <a:pt x="109" y="0"/>
                  </a:lnTo>
                  <a:lnTo>
                    <a:pt x="109" y="25"/>
                  </a:lnTo>
                  <a:lnTo>
                    <a:pt x="109" y="50"/>
                  </a:lnTo>
                  <a:lnTo>
                    <a:pt x="63" y="50"/>
                  </a:lnTo>
                  <a:lnTo>
                    <a:pt x="0" y="50"/>
                  </a:lnTo>
                  <a:lnTo>
                    <a:pt x="0" y="25"/>
                  </a:lnTo>
                  <a:lnTo>
                    <a:pt x="63" y="25"/>
                  </a:lnTo>
                  <a:lnTo>
                    <a:pt x="63" y="0"/>
                  </a:lnTo>
                  <a:lnTo>
                    <a:pt x="63"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a:p>
          </p:txBody>
        </p:sp>
        <p:sp>
          <p:nvSpPr>
            <p:cNvPr id="68" name="isļíḋe">
              <a:extLst>
                <a:ext uri="{FF2B5EF4-FFF2-40B4-BE49-F238E27FC236}">
                  <a16:creationId xmlns:a16="http://schemas.microsoft.com/office/drawing/2014/main" id="{9C9CE156-EC27-4E4F-A205-A112E1518014}"/>
                </a:ext>
              </a:extLst>
            </p:cNvPr>
            <p:cNvSpPr/>
            <p:nvPr/>
          </p:nvSpPr>
          <p:spPr bwMode="auto">
            <a:xfrm>
              <a:off x="8420651" y="5522406"/>
              <a:ext cx="277288" cy="530981"/>
            </a:xfrm>
            <a:custGeom>
              <a:avLst/>
              <a:gdLst>
                <a:gd name="T0" fmla="*/ 30 w 93"/>
                <a:gd name="T1" fmla="*/ 27 h 180"/>
                <a:gd name="T2" fmla="*/ 44 w 93"/>
                <a:gd name="T3" fmla="*/ 0 h 180"/>
                <a:gd name="T4" fmla="*/ 49 w 93"/>
                <a:gd name="T5" fmla="*/ 0 h 180"/>
                <a:gd name="T6" fmla="*/ 63 w 93"/>
                <a:gd name="T7" fmla="*/ 27 h 180"/>
                <a:gd name="T8" fmla="*/ 68 w 93"/>
                <a:gd name="T9" fmla="*/ 27 h 180"/>
                <a:gd name="T10" fmla="*/ 68 w 93"/>
                <a:gd name="T11" fmla="*/ 59 h 180"/>
                <a:gd name="T12" fmla="*/ 93 w 93"/>
                <a:gd name="T13" fmla="*/ 59 h 180"/>
                <a:gd name="T14" fmla="*/ 93 w 93"/>
                <a:gd name="T15" fmla="*/ 180 h 180"/>
                <a:gd name="T16" fmla="*/ 0 w 93"/>
                <a:gd name="T17" fmla="*/ 180 h 180"/>
                <a:gd name="T18" fmla="*/ 0 w 93"/>
                <a:gd name="T19" fmla="*/ 59 h 180"/>
                <a:gd name="T20" fmla="*/ 24 w 93"/>
                <a:gd name="T21" fmla="*/ 59 h 180"/>
                <a:gd name="T22" fmla="*/ 24 w 93"/>
                <a:gd name="T23" fmla="*/ 27 h 180"/>
                <a:gd name="T24" fmla="*/ 30 w 93"/>
                <a:gd name="T25" fmla="*/ 27 h 180"/>
                <a:gd name="T26" fmla="*/ 30 w 93"/>
                <a:gd name="T27"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80">
                  <a:moveTo>
                    <a:pt x="30" y="27"/>
                  </a:moveTo>
                  <a:lnTo>
                    <a:pt x="44" y="0"/>
                  </a:lnTo>
                  <a:lnTo>
                    <a:pt x="49" y="0"/>
                  </a:lnTo>
                  <a:lnTo>
                    <a:pt x="63" y="27"/>
                  </a:lnTo>
                  <a:lnTo>
                    <a:pt x="68" y="27"/>
                  </a:lnTo>
                  <a:lnTo>
                    <a:pt x="68" y="59"/>
                  </a:lnTo>
                  <a:lnTo>
                    <a:pt x="93" y="59"/>
                  </a:lnTo>
                  <a:lnTo>
                    <a:pt x="93" y="180"/>
                  </a:lnTo>
                  <a:lnTo>
                    <a:pt x="0" y="180"/>
                  </a:lnTo>
                  <a:lnTo>
                    <a:pt x="0" y="59"/>
                  </a:lnTo>
                  <a:lnTo>
                    <a:pt x="24" y="59"/>
                  </a:lnTo>
                  <a:lnTo>
                    <a:pt x="24" y="27"/>
                  </a:lnTo>
                  <a:lnTo>
                    <a:pt x="30" y="27"/>
                  </a:lnTo>
                  <a:lnTo>
                    <a:pt x="30" y="27"/>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69" name="íśľiḓé">
              <a:extLst>
                <a:ext uri="{FF2B5EF4-FFF2-40B4-BE49-F238E27FC236}">
                  <a16:creationId xmlns:a16="http://schemas.microsoft.com/office/drawing/2014/main" id="{F412B58A-D5F0-418C-9FB7-A52A809331F0}"/>
                </a:ext>
              </a:extLst>
            </p:cNvPr>
            <p:cNvSpPr/>
            <p:nvPr/>
          </p:nvSpPr>
          <p:spPr bwMode="auto">
            <a:xfrm>
              <a:off x="8733341" y="5882292"/>
              <a:ext cx="117995" cy="171096"/>
            </a:xfrm>
            <a:custGeom>
              <a:avLst/>
              <a:gdLst>
                <a:gd name="T0" fmla="*/ 0 w 40"/>
                <a:gd name="T1" fmla="*/ 0 h 58"/>
                <a:gd name="T2" fmla="*/ 40 w 40"/>
                <a:gd name="T3" fmla="*/ 0 h 58"/>
                <a:gd name="T4" fmla="*/ 40 w 40"/>
                <a:gd name="T5" fmla="*/ 58 h 58"/>
                <a:gd name="T6" fmla="*/ 0 w 40"/>
                <a:gd name="T7" fmla="*/ 58 h 58"/>
                <a:gd name="T8" fmla="*/ 0 w 40"/>
                <a:gd name="T9" fmla="*/ 0 h 58"/>
                <a:gd name="T10" fmla="*/ 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0" y="0"/>
                  </a:moveTo>
                  <a:lnTo>
                    <a:pt x="40" y="0"/>
                  </a:lnTo>
                  <a:lnTo>
                    <a:pt x="40"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62500" lnSpcReduction="20000"/>
            </a:bodyPr>
            <a:lstStyle/>
            <a:p>
              <a:endParaRPr lang="en-US"/>
            </a:p>
          </p:txBody>
        </p:sp>
        <p:sp>
          <p:nvSpPr>
            <p:cNvPr id="70" name="ïṡḻïḑé">
              <a:extLst>
                <a:ext uri="{FF2B5EF4-FFF2-40B4-BE49-F238E27FC236}">
                  <a16:creationId xmlns:a16="http://schemas.microsoft.com/office/drawing/2014/main" id="{934457AD-B22A-4AB1-B129-4CA8EE8CE670}"/>
                </a:ext>
              </a:extLst>
            </p:cNvPr>
            <p:cNvSpPr/>
            <p:nvPr/>
          </p:nvSpPr>
          <p:spPr bwMode="auto">
            <a:xfrm>
              <a:off x="8869035" y="5823294"/>
              <a:ext cx="112094" cy="230094"/>
            </a:xfrm>
            <a:custGeom>
              <a:avLst/>
              <a:gdLst>
                <a:gd name="T0" fmla="*/ 0 w 38"/>
                <a:gd name="T1" fmla="*/ 0 h 79"/>
                <a:gd name="T2" fmla="*/ 38 w 38"/>
                <a:gd name="T3" fmla="*/ 0 h 79"/>
                <a:gd name="T4" fmla="*/ 38 w 38"/>
                <a:gd name="T5" fmla="*/ 79 h 79"/>
                <a:gd name="T6" fmla="*/ 0 w 38"/>
                <a:gd name="T7" fmla="*/ 79 h 79"/>
                <a:gd name="T8" fmla="*/ 0 w 38"/>
                <a:gd name="T9" fmla="*/ 0 h 79"/>
                <a:gd name="T10" fmla="*/ 0 w 38"/>
                <a:gd name="T11" fmla="*/ 0 h 79"/>
              </a:gdLst>
              <a:ahLst/>
              <a:cxnLst>
                <a:cxn ang="0">
                  <a:pos x="T0" y="T1"/>
                </a:cxn>
                <a:cxn ang="0">
                  <a:pos x="T2" y="T3"/>
                </a:cxn>
                <a:cxn ang="0">
                  <a:pos x="T4" y="T5"/>
                </a:cxn>
                <a:cxn ang="0">
                  <a:pos x="T6" y="T7"/>
                </a:cxn>
                <a:cxn ang="0">
                  <a:pos x="T8" y="T9"/>
                </a:cxn>
                <a:cxn ang="0">
                  <a:pos x="T10" y="T11"/>
                </a:cxn>
              </a:cxnLst>
              <a:rect l="0" t="0" r="r" b="b"/>
              <a:pathLst>
                <a:path w="38" h="79">
                  <a:moveTo>
                    <a:pt x="0" y="0"/>
                  </a:moveTo>
                  <a:lnTo>
                    <a:pt x="38" y="0"/>
                  </a:lnTo>
                  <a:lnTo>
                    <a:pt x="38" y="79"/>
                  </a:lnTo>
                  <a:lnTo>
                    <a:pt x="0" y="79"/>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92500" lnSpcReduction="20000"/>
            </a:bodyPr>
            <a:lstStyle/>
            <a:p>
              <a:endParaRPr lang="en-US"/>
            </a:p>
          </p:txBody>
        </p:sp>
        <p:sp>
          <p:nvSpPr>
            <p:cNvPr id="71" name="îṡḷïḍé">
              <a:extLst>
                <a:ext uri="{FF2B5EF4-FFF2-40B4-BE49-F238E27FC236}">
                  <a16:creationId xmlns:a16="http://schemas.microsoft.com/office/drawing/2014/main" id="{8D32F4E1-4C35-4E22-86DD-C97400F834C5}"/>
                </a:ext>
              </a:extLst>
            </p:cNvPr>
            <p:cNvSpPr/>
            <p:nvPr/>
          </p:nvSpPr>
          <p:spPr bwMode="auto">
            <a:xfrm>
              <a:off x="6107932" y="5882292"/>
              <a:ext cx="377587" cy="171096"/>
            </a:xfrm>
            <a:custGeom>
              <a:avLst/>
              <a:gdLst>
                <a:gd name="T0" fmla="*/ 0 w 129"/>
                <a:gd name="T1" fmla="*/ 0 h 58"/>
                <a:gd name="T2" fmla="*/ 129 w 129"/>
                <a:gd name="T3" fmla="*/ 0 h 58"/>
                <a:gd name="T4" fmla="*/ 129 w 129"/>
                <a:gd name="T5" fmla="*/ 58 h 58"/>
                <a:gd name="T6" fmla="*/ 0 w 129"/>
                <a:gd name="T7" fmla="*/ 58 h 58"/>
                <a:gd name="T8" fmla="*/ 0 w 129"/>
                <a:gd name="T9" fmla="*/ 0 h 58"/>
                <a:gd name="T10" fmla="*/ 0 w 129"/>
                <a:gd name="T11" fmla="*/ 0 h 58"/>
              </a:gdLst>
              <a:ahLst/>
              <a:cxnLst>
                <a:cxn ang="0">
                  <a:pos x="T0" y="T1"/>
                </a:cxn>
                <a:cxn ang="0">
                  <a:pos x="T2" y="T3"/>
                </a:cxn>
                <a:cxn ang="0">
                  <a:pos x="T4" y="T5"/>
                </a:cxn>
                <a:cxn ang="0">
                  <a:pos x="T6" y="T7"/>
                </a:cxn>
                <a:cxn ang="0">
                  <a:pos x="T8" y="T9"/>
                </a:cxn>
                <a:cxn ang="0">
                  <a:pos x="T10" y="T11"/>
                </a:cxn>
              </a:cxnLst>
              <a:rect l="0" t="0" r="r" b="b"/>
              <a:pathLst>
                <a:path w="129" h="58">
                  <a:moveTo>
                    <a:pt x="0" y="0"/>
                  </a:moveTo>
                  <a:lnTo>
                    <a:pt x="129" y="0"/>
                  </a:lnTo>
                  <a:lnTo>
                    <a:pt x="129"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fontScale="62500" lnSpcReduction="20000"/>
            </a:bodyPr>
            <a:lstStyle/>
            <a:p>
              <a:endParaRPr lang="en-US"/>
            </a:p>
          </p:txBody>
        </p:sp>
        <p:sp>
          <p:nvSpPr>
            <p:cNvPr id="72" name="isļíḋè">
              <a:extLst>
                <a:ext uri="{FF2B5EF4-FFF2-40B4-BE49-F238E27FC236}">
                  <a16:creationId xmlns:a16="http://schemas.microsoft.com/office/drawing/2014/main" id="{0339D2E5-7070-456E-88D2-B9503D73341B}"/>
                </a:ext>
              </a:extLst>
            </p:cNvPr>
            <p:cNvSpPr/>
            <p:nvPr/>
          </p:nvSpPr>
          <p:spPr bwMode="auto">
            <a:xfrm>
              <a:off x="8454305" y="4466341"/>
              <a:ext cx="595877" cy="1587046"/>
            </a:xfrm>
            <a:custGeom>
              <a:avLst/>
              <a:gdLst>
                <a:gd name="T0" fmla="*/ 145 w 200"/>
                <a:gd name="T1" fmla="*/ 446 h 538"/>
                <a:gd name="T2" fmla="*/ 195 w 200"/>
                <a:gd name="T3" fmla="*/ 446 h 538"/>
                <a:gd name="T4" fmla="*/ 195 w 200"/>
                <a:gd name="T5" fmla="*/ 456 h 538"/>
                <a:gd name="T6" fmla="*/ 200 w 200"/>
                <a:gd name="T7" fmla="*/ 456 h 538"/>
                <a:gd name="T8" fmla="*/ 200 w 200"/>
                <a:gd name="T9" fmla="*/ 538 h 538"/>
                <a:gd name="T10" fmla="*/ 145 w 200"/>
                <a:gd name="T11" fmla="*/ 538 h 538"/>
                <a:gd name="T12" fmla="*/ 95 w 200"/>
                <a:gd name="T13" fmla="*/ 538 h 538"/>
                <a:gd name="T14" fmla="*/ 46 w 200"/>
                <a:gd name="T15" fmla="*/ 538 h 538"/>
                <a:gd name="T16" fmla="*/ 34 w 200"/>
                <a:gd name="T17" fmla="*/ 538 h 538"/>
                <a:gd name="T18" fmla="*/ 0 w 200"/>
                <a:gd name="T19" fmla="*/ 538 h 538"/>
                <a:gd name="T20" fmla="*/ 0 w 200"/>
                <a:gd name="T21" fmla="*/ 482 h 538"/>
                <a:gd name="T22" fmla="*/ 34 w 200"/>
                <a:gd name="T23" fmla="*/ 482 h 538"/>
                <a:gd name="T24" fmla="*/ 34 w 200"/>
                <a:gd name="T25" fmla="*/ 287 h 538"/>
                <a:gd name="T26" fmla="*/ 55 w 200"/>
                <a:gd name="T27" fmla="*/ 287 h 538"/>
                <a:gd name="T28" fmla="*/ 55 w 200"/>
                <a:gd name="T29" fmla="*/ 152 h 538"/>
                <a:gd name="T30" fmla="*/ 55 w 200"/>
                <a:gd name="T31" fmla="*/ 146 h 538"/>
                <a:gd name="T32" fmla="*/ 67 w 200"/>
                <a:gd name="T33" fmla="*/ 146 h 538"/>
                <a:gd name="T34" fmla="*/ 67 w 200"/>
                <a:gd name="T35" fmla="*/ 64 h 538"/>
                <a:gd name="T36" fmla="*/ 72 w 200"/>
                <a:gd name="T37" fmla="*/ 64 h 538"/>
                <a:gd name="T38" fmla="*/ 74 w 200"/>
                <a:gd name="T39" fmla="*/ 31 h 538"/>
                <a:gd name="T40" fmla="*/ 76 w 200"/>
                <a:gd name="T41" fmla="*/ 64 h 538"/>
                <a:gd name="T42" fmla="*/ 84 w 200"/>
                <a:gd name="T43" fmla="*/ 64 h 538"/>
                <a:gd name="T44" fmla="*/ 86 w 200"/>
                <a:gd name="T45" fmla="*/ 0 h 538"/>
                <a:gd name="T46" fmla="*/ 88 w 200"/>
                <a:gd name="T47" fmla="*/ 64 h 538"/>
                <a:gd name="T48" fmla="*/ 99 w 200"/>
                <a:gd name="T49" fmla="*/ 64 h 538"/>
                <a:gd name="T50" fmla="*/ 99 w 200"/>
                <a:gd name="T51" fmla="*/ 64 h 538"/>
                <a:gd name="T52" fmla="*/ 95 w 200"/>
                <a:gd name="T53" fmla="*/ 64 h 538"/>
                <a:gd name="T54" fmla="*/ 97 w 200"/>
                <a:gd name="T55" fmla="*/ 23 h 538"/>
                <a:gd name="T56" fmla="*/ 99 w 200"/>
                <a:gd name="T57" fmla="*/ 60 h 538"/>
                <a:gd name="T58" fmla="*/ 109 w 200"/>
                <a:gd name="T59" fmla="*/ 60 h 538"/>
                <a:gd name="T60" fmla="*/ 109 w 200"/>
                <a:gd name="T61" fmla="*/ 52 h 538"/>
                <a:gd name="T62" fmla="*/ 111 w 200"/>
                <a:gd name="T63" fmla="*/ 64 h 538"/>
                <a:gd name="T64" fmla="*/ 109 w 200"/>
                <a:gd name="T65" fmla="*/ 64 h 538"/>
                <a:gd name="T66" fmla="*/ 109 w 200"/>
                <a:gd name="T67" fmla="*/ 64 h 538"/>
                <a:gd name="T68" fmla="*/ 111 w 200"/>
                <a:gd name="T69" fmla="*/ 64 h 538"/>
                <a:gd name="T70" fmla="*/ 111 w 200"/>
                <a:gd name="T71" fmla="*/ 146 h 538"/>
                <a:gd name="T72" fmla="*/ 120 w 200"/>
                <a:gd name="T73" fmla="*/ 146 h 538"/>
                <a:gd name="T74" fmla="*/ 120 w 200"/>
                <a:gd name="T75" fmla="*/ 152 h 538"/>
                <a:gd name="T76" fmla="*/ 128 w 200"/>
                <a:gd name="T77" fmla="*/ 152 h 538"/>
                <a:gd name="T78" fmla="*/ 128 w 200"/>
                <a:gd name="T79" fmla="*/ 287 h 538"/>
                <a:gd name="T80" fmla="*/ 145 w 200"/>
                <a:gd name="T81" fmla="*/ 287 h 538"/>
                <a:gd name="T82" fmla="*/ 145 w 200"/>
                <a:gd name="T83" fmla="*/ 446 h 538"/>
                <a:gd name="T84" fmla="*/ 145 w 200"/>
                <a:gd name="T85" fmla="*/ 44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538">
                  <a:moveTo>
                    <a:pt x="145" y="446"/>
                  </a:moveTo>
                  <a:lnTo>
                    <a:pt x="195" y="446"/>
                  </a:lnTo>
                  <a:lnTo>
                    <a:pt x="195" y="456"/>
                  </a:lnTo>
                  <a:lnTo>
                    <a:pt x="200" y="456"/>
                  </a:lnTo>
                  <a:lnTo>
                    <a:pt x="200" y="538"/>
                  </a:lnTo>
                  <a:lnTo>
                    <a:pt x="145" y="538"/>
                  </a:lnTo>
                  <a:lnTo>
                    <a:pt x="95" y="538"/>
                  </a:lnTo>
                  <a:lnTo>
                    <a:pt x="46" y="538"/>
                  </a:lnTo>
                  <a:lnTo>
                    <a:pt x="34" y="538"/>
                  </a:lnTo>
                  <a:lnTo>
                    <a:pt x="0" y="538"/>
                  </a:lnTo>
                  <a:lnTo>
                    <a:pt x="0" y="482"/>
                  </a:lnTo>
                  <a:lnTo>
                    <a:pt x="34" y="482"/>
                  </a:lnTo>
                  <a:lnTo>
                    <a:pt x="34" y="287"/>
                  </a:lnTo>
                  <a:lnTo>
                    <a:pt x="55" y="287"/>
                  </a:lnTo>
                  <a:lnTo>
                    <a:pt x="55" y="152"/>
                  </a:lnTo>
                  <a:lnTo>
                    <a:pt x="55" y="146"/>
                  </a:lnTo>
                  <a:lnTo>
                    <a:pt x="67" y="146"/>
                  </a:lnTo>
                  <a:lnTo>
                    <a:pt x="67" y="64"/>
                  </a:lnTo>
                  <a:lnTo>
                    <a:pt x="72" y="64"/>
                  </a:lnTo>
                  <a:lnTo>
                    <a:pt x="74" y="31"/>
                  </a:lnTo>
                  <a:lnTo>
                    <a:pt x="76" y="64"/>
                  </a:lnTo>
                  <a:lnTo>
                    <a:pt x="84" y="64"/>
                  </a:lnTo>
                  <a:lnTo>
                    <a:pt x="86" y="0"/>
                  </a:lnTo>
                  <a:lnTo>
                    <a:pt x="88" y="64"/>
                  </a:lnTo>
                  <a:lnTo>
                    <a:pt x="99" y="64"/>
                  </a:lnTo>
                  <a:lnTo>
                    <a:pt x="99" y="64"/>
                  </a:lnTo>
                  <a:lnTo>
                    <a:pt x="95" y="64"/>
                  </a:lnTo>
                  <a:lnTo>
                    <a:pt x="97" y="23"/>
                  </a:lnTo>
                  <a:lnTo>
                    <a:pt x="99" y="60"/>
                  </a:lnTo>
                  <a:lnTo>
                    <a:pt x="109" y="60"/>
                  </a:lnTo>
                  <a:lnTo>
                    <a:pt x="109" y="52"/>
                  </a:lnTo>
                  <a:lnTo>
                    <a:pt x="111" y="64"/>
                  </a:lnTo>
                  <a:lnTo>
                    <a:pt x="109" y="64"/>
                  </a:lnTo>
                  <a:lnTo>
                    <a:pt x="109" y="64"/>
                  </a:lnTo>
                  <a:lnTo>
                    <a:pt x="111" y="64"/>
                  </a:lnTo>
                  <a:lnTo>
                    <a:pt x="111" y="146"/>
                  </a:lnTo>
                  <a:lnTo>
                    <a:pt x="120" y="146"/>
                  </a:lnTo>
                  <a:lnTo>
                    <a:pt x="120" y="152"/>
                  </a:lnTo>
                  <a:lnTo>
                    <a:pt x="128" y="152"/>
                  </a:lnTo>
                  <a:lnTo>
                    <a:pt x="128" y="287"/>
                  </a:lnTo>
                  <a:lnTo>
                    <a:pt x="145" y="287"/>
                  </a:lnTo>
                  <a:lnTo>
                    <a:pt x="145" y="446"/>
                  </a:lnTo>
                  <a:lnTo>
                    <a:pt x="145" y="446"/>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73" name="ïśḷïḍè">
              <a:extLst>
                <a:ext uri="{FF2B5EF4-FFF2-40B4-BE49-F238E27FC236}">
                  <a16:creationId xmlns:a16="http://schemas.microsoft.com/office/drawing/2014/main" id="{6941D892-B18D-431B-966B-69BD6B146620}"/>
                </a:ext>
              </a:extLst>
            </p:cNvPr>
            <p:cNvSpPr/>
            <p:nvPr/>
          </p:nvSpPr>
          <p:spPr bwMode="auto">
            <a:xfrm>
              <a:off x="3813013" y="5050424"/>
              <a:ext cx="5330987" cy="1020666"/>
            </a:xfrm>
            <a:custGeom>
              <a:avLst/>
              <a:gdLst>
                <a:gd name="T0" fmla="*/ 2006 w 2031"/>
                <a:gd name="T1" fmla="*/ 347 h 347"/>
                <a:gd name="T2" fmla="*/ 2031 w 2031"/>
                <a:gd name="T3" fmla="*/ 347 h 347"/>
                <a:gd name="T4" fmla="*/ 2018 w 2031"/>
                <a:gd name="T5" fmla="*/ 306 h 347"/>
                <a:gd name="T6" fmla="*/ 2006 w 2031"/>
                <a:gd name="T7" fmla="*/ 324 h 347"/>
                <a:gd name="T8" fmla="*/ 1972 w 2031"/>
                <a:gd name="T9" fmla="*/ 293 h 347"/>
                <a:gd name="T10" fmla="*/ 1972 w 2031"/>
                <a:gd name="T11" fmla="*/ 347 h 347"/>
                <a:gd name="T12" fmla="*/ 13 w 2031"/>
                <a:gd name="T13" fmla="*/ 176 h 347"/>
                <a:gd name="T14" fmla="*/ 13 w 2031"/>
                <a:gd name="T15" fmla="*/ 347 h 347"/>
                <a:gd name="T16" fmla="*/ 73 w 2031"/>
                <a:gd name="T17" fmla="*/ 176 h 347"/>
                <a:gd name="T18" fmla="*/ 65 w 2031"/>
                <a:gd name="T19" fmla="*/ 159 h 347"/>
                <a:gd name="T20" fmla="*/ 8 w 2031"/>
                <a:gd name="T21" fmla="*/ 159 h 347"/>
                <a:gd name="T22" fmla="*/ 235 w 2031"/>
                <a:gd name="T23" fmla="*/ 347 h 347"/>
                <a:gd name="T24" fmla="*/ 174 w 2031"/>
                <a:gd name="T25" fmla="*/ 347 h 347"/>
                <a:gd name="T26" fmla="*/ 413 w 2031"/>
                <a:gd name="T27" fmla="*/ 129 h 347"/>
                <a:gd name="T28" fmla="*/ 388 w 2031"/>
                <a:gd name="T29" fmla="*/ 134 h 347"/>
                <a:gd name="T30" fmla="*/ 362 w 2031"/>
                <a:gd name="T31" fmla="*/ 347 h 347"/>
                <a:gd name="T32" fmla="*/ 442 w 2031"/>
                <a:gd name="T33" fmla="*/ 347 h 347"/>
                <a:gd name="T34" fmla="*/ 438 w 2031"/>
                <a:gd name="T35" fmla="*/ 150 h 347"/>
                <a:gd name="T36" fmla="*/ 413 w 2031"/>
                <a:gd name="T37" fmla="*/ 134 h 347"/>
                <a:gd name="T38" fmla="*/ 547 w 2031"/>
                <a:gd name="T39" fmla="*/ 138 h 347"/>
                <a:gd name="T40" fmla="*/ 484 w 2031"/>
                <a:gd name="T41" fmla="*/ 347 h 347"/>
                <a:gd name="T42" fmla="*/ 601 w 2031"/>
                <a:gd name="T43" fmla="*/ 220 h 347"/>
                <a:gd name="T44" fmla="*/ 559 w 2031"/>
                <a:gd name="T45" fmla="*/ 205 h 347"/>
                <a:gd name="T46" fmla="*/ 583 w 2031"/>
                <a:gd name="T47" fmla="*/ 347 h 347"/>
                <a:gd name="T48" fmla="*/ 666 w 2031"/>
                <a:gd name="T49" fmla="*/ 347 h 347"/>
                <a:gd name="T50" fmla="*/ 641 w 2031"/>
                <a:gd name="T51" fmla="*/ 347 h 347"/>
                <a:gd name="T52" fmla="*/ 719 w 2031"/>
                <a:gd name="T53" fmla="*/ 347 h 347"/>
                <a:gd name="T54" fmla="*/ 694 w 2031"/>
                <a:gd name="T55" fmla="*/ 347 h 347"/>
                <a:gd name="T56" fmla="*/ 763 w 2031"/>
                <a:gd name="T57" fmla="*/ 347 h 347"/>
                <a:gd name="T58" fmla="*/ 725 w 2031"/>
                <a:gd name="T59" fmla="*/ 347 h 347"/>
                <a:gd name="T60" fmla="*/ 876 w 2031"/>
                <a:gd name="T61" fmla="*/ 347 h 347"/>
                <a:gd name="T62" fmla="*/ 838 w 2031"/>
                <a:gd name="T63" fmla="*/ 347 h 347"/>
                <a:gd name="T64" fmla="*/ 972 w 2031"/>
                <a:gd name="T65" fmla="*/ 347 h 347"/>
                <a:gd name="T66" fmla="*/ 939 w 2031"/>
                <a:gd name="T67" fmla="*/ 347 h 347"/>
                <a:gd name="T68" fmla="*/ 1086 w 2031"/>
                <a:gd name="T69" fmla="*/ 347 h 347"/>
                <a:gd name="T70" fmla="*/ 1012 w 2031"/>
                <a:gd name="T71" fmla="*/ 347 h 347"/>
                <a:gd name="T72" fmla="*/ 1217 w 2031"/>
                <a:gd name="T73" fmla="*/ 347 h 347"/>
                <a:gd name="T74" fmla="*/ 1199 w 2031"/>
                <a:gd name="T75" fmla="*/ 6 h 347"/>
                <a:gd name="T76" fmla="*/ 1142 w 2031"/>
                <a:gd name="T77" fmla="*/ 347 h 347"/>
                <a:gd name="T78" fmla="*/ 1477 w 2031"/>
                <a:gd name="T79" fmla="*/ 289 h 347"/>
                <a:gd name="T80" fmla="*/ 1431 w 2031"/>
                <a:gd name="T81" fmla="*/ 289 h 347"/>
                <a:gd name="T82" fmla="*/ 1480 w 2031"/>
                <a:gd name="T83" fmla="*/ 347 h 347"/>
                <a:gd name="T84" fmla="*/ 1477 w 2031"/>
                <a:gd name="T85" fmla="*/ 289 h 347"/>
                <a:gd name="T86" fmla="*/ 1528 w 2031"/>
                <a:gd name="T87" fmla="*/ 253 h 347"/>
                <a:gd name="T88" fmla="*/ 1502 w 2031"/>
                <a:gd name="T89" fmla="*/ 347 h 347"/>
                <a:gd name="T90" fmla="*/ 1565 w 2031"/>
                <a:gd name="T91" fmla="*/ 285 h 347"/>
                <a:gd name="T92" fmla="*/ 1632 w 2031"/>
                <a:gd name="T93" fmla="*/ 347 h 347"/>
                <a:gd name="T94" fmla="*/ 1628 w 2031"/>
                <a:gd name="T95" fmla="*/ 155 h 347"/>
                <a:gd name="T96" fmla="*/ 1618 w 2031"/>
                <a:gd name="T97" fmla="*/ 155 h 347"/>
                <a:gd name="T98" fmla="*/ 1607 w 2031"/>
                <a:gd name="T99" fmla="*/ 163 h 347"/>
                <a:gd name="T100" fmla="*/ 1601 w 2031"/>
                <a:gd name="T101" fmla="*/ 153 h 347"/>
                <a:gd name="T102" fmla="*/ 1595 w 2031"/>
                <a:gd name="T103" fmla="*/ 163 h 347"/>
                <a:gd name="T104" fmla="*/ 1584 w 2031"/>
                <a:gd name="T105" fmla="*/ 155 h 347"/>
                <a:gd name="T106" fmla="*/ 1574 w 2031"/>
                <a:gd name="T107" fmla="*/ 155 h 347"/>
                <a:gd name="T108" fmla="*/ 1568 w 2031"/>
                <a:gd name="T109" fmla="*/ 347 h 347"/>
                <a:gd name="T110" fmla="*/ 1750 w 2031"/>
                <a:gd name="T111" fmla="*/ 129 h 347"/>
                <a:gd name="T112" fmla="*/ 1683 w 2031"/>
                <a:gd name="T113" fmla="*/ 180 h 347"/>
                <a:gd name="T114" fmla="*/ 1756 w 2031"/>
                <a:gd name="T115" fmla="*/ 180 h 347"/>
                <a:gd name="T116" fmla="*/ 1894 w 2031"/>
                <a:gd name="T117" fmla="*/ 308 h 347"/>
                <a:gd name="T118" fmla="*/ 1873 w 2031"/>
                <a:gd name="T119" fmla="*/ 308 h 347"/>
                <a:gd name="T120" fmla="*/ 1848 w 2031"/>
                <a:gd name="T121" fmla="*/ 285 h 347"/>
                <a:gd name="T122" fmla="*/ 1840 w 2031"/>
                <a:gd name="T123" fmla="*/ 335 h 347"/>
                <a:gd name="T124" fmla="*/ 1894 w 2031"/>
                <a:gd name="T125" fmla="*/ 30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1" h="347">
                  <a:moveTo>
                    <a:pt x="1972" y="347"/>
                  </a:moveTo>
                  <a:lnTo>
                    <a:pt x="2001" y="347"/>
                  </a:lnTo>
                  <a:lnTo>
                    <a:pt x="2006" y="347"/>
                  </a:lnTo>
                  <a:lnTo>
                    <a:pt x="2018" y="347"/>
                  </a:lnTo>
                  <a:lnTo>
                    <a:pt x="2022" y="347"/>
                  </a:lnTo>
                  <a:lnTo>
                    <a:pt x="2031" y="347"/>
                  </a:lnTo>
                  <a:lnTo>
                    <a:pt x="2031" y="314"/>
                  </a:lnTo>
                  <a:lnTo>
                    <a:pt x="2018" y="314"/>
                  </a:lnTo>
                  <a:lnTo>
                    <a:pt x="2018" y="306"/>
                  </a:lnTo>
                  <a:lnTo>
                    <a:pt x="2006" y="306"/>
                  </a:lnTo>
                  <a:lnTo>
                    <a:pt x="2006" y="314"/>
                  </a:lnTo>
                  <a:lnTo>
                    <a:pt x="2006" y="324"/>
                  </a:lnTo>
                  <a:lnTo>
                    <a:pt x="2001" y="324"/>
                  </a:lnTo>
                  <a:lnTo>
                    <a:pt x="2001" y="293"/>
                  </a:lnTo>
                  <a:lnTo>
                    <a:pt x="1972" y="293"/>
                  </a:lnTo>
                  <a:lnTo>
                    <a:pt x="1972" y="324"/>
                  </a:lnTo>
                  <a:lnTo>
                    <a:pt x="1972" y="347"/>
                  </a:lnTo>
                  <a:lnTo>
                    <a:pt x="1972" y="347"/>
                  </a:lnTo>
                  <a:close/>
                  <a:moveTo>
                    <a:pt x="8" y="159"/>
                  </a:moveTo>
                  <a:lnTo>
                    <a:pt x="13" y="159"/>
                  </a:lnTo>
                  <a:lnTo>
                    <a:pt x="13" y="176"/>
                  </a:lnTo>
                  <a:lnTo>
                    <a:pt x="0" y="176"/>
                  </a:lnTo>
                  <a:lnTo>
                    <a:pt x="0" y="347"/>
                  </a:lnTo>
                  <a:lnTo>
                    <a:pt x="13" y="347"/>
                  </a:lnTo>
                  <a:lnTo>
                    <a:pt x="59" y="347"/>
                  </a:lnTo>
                  <a:lnTo>
                    <a:pt x="73" y="347"/>
                  </a:lnTo>
                  <a:lnTo>
                    <a:pt x="73" y="176"/>
                  </a:lnTo>
                  <a:lnTo>
                    <a:pt x="59" y="176"/>
                  </a:lnTo>
                  <a:lnTo>
                    <a:pt x="59" y="159"/>
                  </a:lnTo>
                  <a:lnTo>
                    <a:pt x="65" y="159"/>
                  </a:lnTo>
                  <a:lnTo>
                    <a:pt x="65" y="153"/>
                  </a:lnTo>
                  <a:lnTo>
                    <a:pt x="8" y="153"/>
                  </a:lnTo>
                  <a:lnTo>
                    <a:pt x="8" y="159"/>
                  </a:lnTo>
                  <a:lnTo>
                    <a:pt x="8" y="159"/>
                  </a:lnTo>
                  <a:close/>
                  <a:moveTo>
                    <a:pt x="174" y="347"/>
                  </a:moveTo>
                  <a:lnTo>
                    <a:pt x="235" y="347"/>
                  </a:lnTo>
                  <a:lnTo>
                    <a:pt x="235" y="79"/>
                  </a:lnTo>
                  <a:lnTo>
                    <a:pt x="174" y="79"/>
                  </a:lnTo>
                  <a:lnTo>
                    <a:pt x="174" y="347"/>
                  </a:lnTo>
                  <a:lnTo>
                    <a:pt x="174" y="347"/>
                  </a:lnTo>
                  <a:close/>
                  <a:moveTo>
                    <a:pt x="413" y="134"/>
                  </a:moveTo>
                  <a:lnTo>
                    <a:pt x="413" y="129"/>
                  </a:lnTo>
                  <a:lnTo>
                    <a:pt x="406" y="129"/>
                  </a:lnTo>
                  <a:lnTo>
                    <a:pt x="406" y="134"/>
                  </a:lnTo>
                  <a:lnTo>
                    <a:pt x="388" y="134"/>
                  </a:lnTo>
                  <a:lnTo>
                    <a:pt x="388" y="150"/>
                  </a:lnTo>
                  <a:lnTo>
                    <a:pt x="362" y="150"/>
                  </a:lnTo>
                  <a:lnTo>
                    <a:pt x="362" y="347"/>
                  </a:lnTo>
                  <a:lnTo>
                    <a:pt x="367" y="347"/>
                  </a:lnTo>
                  <a:lnTo>
                    <a:pt x="438" y="347"/>
                  </a:lnTo>
                  <a:lnTo>
                    <a:pt x="442" y="347"/>
                  </a:lnTo>
                  <a:lnTo>
                    <a:pt x="442" y="167"/>
                  </a:lnTo>
                  <a:lnTo>
                    <a:pt x="438" y="167"/>
                  </a:lnTo>
                  <a:lnTo>
                    <a:pt x="438" y="150"/>
                  </a:lnTo>
                  <a:lnTo>
                    <a:pt x="413" y="150"/>
                  </a:lnTo>
                  <a:lnTo>
                    <a:pt x="413" y="134"/>
                  </a:lnTo>
                  <a:lnTo>
                    <a:pt x="413" y="134"/>
                  </a:lnTo>
                  <a:close/>
                  <a:moveTo>
                    <a:pt x="484" y="347"/>
                  </a:moveTo>
                  <a:lnTo>
                    <a:pt x="547" y="347"/>
                  </a:lnTo>
                  <a:lnTo>
                    <a:pt x="547" y="138"/>
                  </a:lnTo>
                  <a:lnTo>
                    <a:pt x="484" y="138"/>
                  </a:lnTo>
                  <a:lnTo>
                    <a:pt x="484" y="347"/>
                  </a:lnTo>
                  <a:lnTo>
                    <a:pt x="484" y="347"/>
                  </a:lnTo>
                  <a:close/>
                  <a:moveTo>
                    <a:pt x="583" y="347"/>
                  </a:moveTo>
                  <a:lnTo>
                    <a:pt x="601" y="347"/>
                  </a:lnTo>
                  <a:lnTo>
                    <a:pt x="601" y="220"/>
                  </a:lnTo>
                  <a:lnTo>
                    <a:pt x="583" y="220"/>
                  </a:lnTo>
                  <a:lnTo>
                    <a:pt x="583" y="205"/>
                  </a:lnTo>
                  <a:lnTo>
                    <a:pt x="559" y="205"/>
                  </a:lnTo>
                  <a:lnTo>
                    <a:pt x="559" y="220"/>
                  </a:lnTo>
                  <a:lnTo>
                    <a:pt x="559" y="347"/>
                  </a:lnTo>
                  <a:lnTo>
                    <a:pt x="583" y="347"/>
                  </a:lnTo>
                  <a:lnTo>
                    <a:pt x="583" y="347"/>
                  </a:lnTo>
                  <a:close/>
                  <a:moveTo>
                    <a:pt x="641" y="347"/>
                  </a:moveTo>
                  <a:lnTo>
                    <a:pt x="666" y="347"/>
                  </a:lnTo>
                  <a:lnTo>
                    <a:pt x="666" y="236"/>
                  </a:lnTo>
                  <a:lnTo>
                    <a:pt x="641" y="236"/>
                  </a:lnTo>
                  <a:lnTo>
                    <a:pt x="641" y="347"/>
                  </a:lnTo>
                  <a:lnTo>
                    <a:pt x="641" y="347"/>
                  </a:lnTo>
                  <a:close/>
                  <a:moveTo>
                    <a:pt x="694" y="347"/>
                  </a:moveTo>
                  <a:lnTo>
                    <a:pt x="719" y="347"/>
                  </a:lnTo>
                  <a:lnTo>
                    <a:pt x="719" y="280"/>
                  </a:lnTo>
                  <a:lnTo>
                    <a:pt x="694" y="280"/>
                  </a:lnTo>
                  <a:lnTo>
                    <a:pt x="694" y="347"/>
                  </a:lnTo>
                  <a:lnTo>
                    <a:pt x="694" y="347"/>
                  </a:lnTo>
                  <a:close/>
                  <a:moveTo>
                    <a:pt x="725" y="347"/>
                  </a:moveTo>
                  <a:lnTo>
                    <a:pt x="763" y="347"/>
                  </a:lnTo>
                  <a:lnTo>
                    <a:pt x="763" y="92"/>
                  </a:lnTo>
                  <a:lnTo>
                    <a:pt x="725" y="92"/>
                  </a:lnTo>
                  <a:lnTo>
                    <a:pt x="725" y="347"/>
                  </a:lnTo>
                  <a:lnTo>
                    <a:pt x="725" y="347"/>
                  </a:lnTo>
                  <a:close/>
                  <a:moveTo>
                    <a:pt x="838" y="347"/>
                  </a:moveTo>
                  <a:lnTo>
                    <a:pt x="876" y="347"/>
                  </a:lnTo>
                  <a:lnTo>
                    <a:pt x="876" y="257"/>
                  </a:lnTo>
                  <a:lnTo>
                    <a:pt x="838" y="257"/>
                  </a:lnTo>
                  <a:lnTo>
                    <a:pt x="838" y="347"/>
                  </a:lnTo>
                  <a:lnTo>
                    <a:pt x="838" y="347"/>
                  </a:lnTo>
                  <a:close/>
                  <a:moveTo>
                    <a:pt x="939" y="347"/>
                  </a:moveTo>
                  <a:lnTo>
                    <a:pt x="972" y="347"/>
                  </a:lnTo>
                  <a:lnTo>
                    <a:pt x="972" y="236"/>
                  </a:lnTo>
                  <a:lnTo>
                    <a:pt x="939" y="236"/>
                  </a:lnTo>
                  <a:lnTo>
                    <a:pt x="939" y="347"/>
                  </a:lnTo>
                  <a:lnTo>
                    <a:pt x="939" y="347"/>
                  </a:lnTo>
                  <a:close/>
                  <a:moveTo>
                    <a:pt x="1012" y="347"/>
                  </a:moveTo>
                  <a:lnTo>
                    <a:pt x="1086" y="347"/>
                  </a:lnTo>
                  <a:lnTo>
                    <a:pt x="1086" y="0"/>
                  </a:lnTo>
                  <a:lnTo>
                    <a:pt x="1012" y="0"/>
                  </a:lnTo>
                  <a:lnTo>
                    <a:pt x="1012" y="347"/>
                  </a:lnTo>
                  <a:lnTo>
                    <a:pt x="1012" y="347"/>
                  </a:lnTo>
                  <a:close/>
                  <a:moveTo>
                    <a:pt x="1199" y="347"/>
                  </a:moveTo>
                  <a:lnTo>
                    <a:pt x="1217" y="347"/>
                  </a:lnTo>
                  <a:lnTo>
                    <a:pt x="1217" y="276"/>
                  </a:lnTo>
                  <a:lnTo>
                    <a:pt x="1199" y="276"/>
                  </a:lnTo>
                  <a:lnTo>
                    <a:pt x="1199" y="6"/>
                  </a:lnTo>
                  <a:lnTo>
                    <a:pt x="1125" y="6"/>
                  </a:lnTo>
                  <a:lnTo>
                    <a:pt x="1125" y="347"/>
                  </a:lnTo>
                  <a:lnTo>
                    <a:pt x="1142" y="347"/>
                  </a:lnTo>
                  <a:lnTo>
                    <a:pt x="1199" y="347"/>
                  </a:lnTo>
                  <a:lnTo>
                    <a:pt x="1199" y="347"/>
                  </a:lnTo>
                  <a:close/>
                  <a:moveTo>
                    <a:pt x="1477" y="289"/>
                  </a:moveTo>
                  <a:lnTo>
                    <a:pt x="1477" y="146"/>
                  </a:lnTo>
                  <a:lnTo>
                    <a:pt x="1431" y="146"/>
                  </a:lnTo>
                  <a:lnTo>
                    <a:pt x="1431" y="289"/>
                  </a:lnTo>
                  <a:lnTo>
                    <a:pt x="1417" y="289"/>
                  </a:lnTo>
                  <a:lnTo>
                    <a:pt x="1417" y="347"/>
                  </a:lnTo>
                  <a:lnTo>
                    <a:pt x="1480" y="347"/>
                  </a:lnTo>
                  <a:lnTo>
                    <a:pt x="1480" y="289"/>
                  </a:lnTo>
                  <a:lnTo>
                    <a:pt x="1477" y="289"/>
                  </a:lnTo>
                  <a:lnTo>
                    <a:pt x="1477" y="289"/>
                  </a:lnTo>
                  <a:close/>
                  <a:moveTo>
                    <a:pt x="1565" y="285"/>
                  </a:moveTo>
                  <a:lnTo>
                    <a:pt x="1565" y="253"/>
                  </a:lnTo>
                  <a:lnTo>
                    <a:pt x="1528" y="253"/>
                  </a:lnTo>
                  <a:lnTo>
                    <a:pt x="1528" y="285"/>
                  </a:lnTo>
                  <a:lnTo>
                    <a:pt x="1502" y="285"/>
                  </a:lnTo>
                  <a:lnTo>
                    <a:pt x="1502" y="347"/>
                  </a:lnTo>
                  <a:lnTo>
                    <a:pt x="1565" y="347"/>
                  </a:lnTo>
                  <a:lnTo>
                    <a:pt x="1565" y="314"/>
                  </a:lnTo>
                  <a:lnTo>
                    <a:pt x="1565" y="285"/>
                  </a:lnTo>
                  <a:lnTo>
                    <a:pt x="1565" y="285"/>
                  </a:lnTo>
                  <a:close/>
                  <a:moveTo>
                    <a:pt x="1568" y="347"/>
                  </a:moveTo>
                  <a:lnTo>
                    <a:pt x="1632" y="347"/>
                  </a:lnTo>
                  <a:lnTo>
                    <a:pt x="1632" y="163"/>
                  </a:lnTo>
                  <a:lnTo>
                    <a:pt x="1628" y="163"/>
                  </a:lnTo>
                  <a:lnTo>
                    <a:pt x="1628" y="155"/>
                  </a:lnTo>
                  <a:lnTo>
                    <a:pt x="1626" y="155"/>
                  </a:lnTo>
                  <a:lnTo>
                    <a:pt x="1622" y="153"/>
                  </a:lnTo>
                  <a:lnTo>
                    <a:pt x="1618" y="155"/>
                  </a:lnTo>
                  <a:lnTo>
                    <a:pt x="1616" y="155"/>
                  </a:lnTo>
                  <a:lnTo>
                    <a:pt x="1616" y="163"/>
                  </a:lnTo>
                  <a:lnTo>
                    <a:pt x="1607" y="163"/>
                  </a:lnTo>
                  <a:lnTo>
                    <a:pt x="1607" y="155"/>
                  </a:lnTo>
                  <a:lnTo>
                    <a:pt x="1605" y="155"/>
                  </a:lnTo>
                  <a:lnTo>
                    <a:pt x="1601" y="153"/>
                  </a:lnTo>
                  <a:lnTo>
                    <a:pt x="1597" y="155"/>
                  </a:lnTo>
                  <a:lnTo>
                    <a:pt x="1595" y="155"/>
                  </a:lnTo>
                  <a:lnTo>
                    <a:pt x="1595" y="163"/>
                  </a:lnTo>
                  <a:lnTo>
                    <a:pt x="1586" y="163"/>
                  </a:lnTo>
                  <a:lnTo>
                    <a:pt x="1586" y="155"/>
                  </a:lnTo>
                  <a:lnTo>
                    <a:pt x="1584" y="155"/>
                  </a:lnTo>
                  <a:lnTo>
                    <a:pt x="1580" y="153"/>
                  </a:lnTo>
                  <a:lnTo>
                    <a:pt x="1576" y="155"/>
                  </a:lnTo>
                  <a:lnTo>
                    <a:pt x="1574" y="155"/>
                  </a:lnTo>
                  <a:lnTo>
                    <a:pt x="1574" y="163"/>
                  </a:lnTo>
                  <a:lnTo>
                    <a:pt x="1568" y="163"/>
                  </a:lnTo>
                  <a:lnTo>
                    <a:pt x="1568" y="347"/>
                  </a:lnTo>
                  <a:lnTo>
                    <a:pt x="1568" y="347"/>
                  </a:lnTo>
                  <a:close/>
                  <a:moveTo>
                    <a:pt x="1750" y="180"/>
                  </a:moveTo>
                  <a:lnTo>
                    <a:pt x="1750" y="129"/>
                  </a:lnTo>
                  <a:lnTo>
                    <a:pt x="1704" y="129"/>
                  </a:lnTo>
                  <a:lnTo>
                    <a:pt x="1704" y="180"/>
                  </a:lnTo>
                  <a:lnTo>
                    <a:pt x="1683" y="180"/>
                  </a:lnTo>
                  <a:lnTo>
                    <a:pt x="1683" y="347"/>
                  </a:lnTo>
                  <a:lnTo>
                    <a:pt x="1756" y="347"/>
                  </a:lnTo>
                  <a:lnTo>
                    <a:pt x="1756" y="180"/>
                  </a:lnTo>
                  <a:lnTo>
                    <a:pt x="1750" y="180"/>
                  </a:lnTo>
                  <a:lnTo>
                    <a:pt x="1750" y="180"/>
                  </a:lnTo>
                  <a:close/>
                  <a:moveTo>
                    <a:pt x="1894" y="308"/>
                  </a:moveTo>
                  <a:lnTo>
                    <a:pt x="1894" y="278"/>
                  </a:lnTo>
                  <a:lnTo>
                    <a:pt x="1873" y="278"/>
                  </a:lnTo>
                  <a:lnTo>
                    <a:pt x="1873" y="308"/>
                  </a:lnTo>
                  <a:lnTo>
                    <a:pt x="1869" y="308"/>
                  </a:lnTo>
                  <a:lnTo>
                    <a:pt x="1869" y="285"/>
                  </a:lnTo>
                  <a:lnTo>
                    <a:pt x="1848" y="285"/>
                  </a:lnTo>
                  <a:lnTo>
                    <a:pt x="1848" y="308"/>
                  </a:lnTo>
                  <a:lnTo>
                    <a:pt x="1840" y="308"/>
                  </a:lnTo>
                  <a:lnTo>
                    <a:pt x="1840" y="335"/>
                  </a:lnTo>
                  <a:lnTo>
                    <a:pt x="1911" y="335"/>
                  </a:lnTo>
                  <a:lnTo>
                    <a:pt x="1911" y="308"/>
                  </a:lnTo>
                  <a:lnTo>
                    <a:pt x="1894" y="308"/>
                  </a:lnTo>
                  <a:lnTo>
                    <a:pt x="1894" y="308"/>
                  </a:lnTo>
                  <a:close/>
                </a:path>
              </a:pathLst>
            </a:custGeom>
            <a:solidFill>
              <a:schemeClr val="bg1">
                <a:lumMod val="85000"/>
                <a:alpha val="19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grpSp>
      <p:sp>
        <p:nvSpPr>
          <p:cNvPr id="75" name="ï$ḻïḋê">
            <a:extLst>
              <a:ext uri="{FF2B5EF4-FFF2-40B4-BE49-F238E27FC236}">
                <a16:creationId xmlns:a16="http://schemas.microsoft.com/office/drawing/2014/main" id="{E06CD773-8FCD-4DE3-934B-7A4909953A17}"/>
              </a:ext>
            </a:extLst>
          </p:cNvPr>
          <p:cNvSpPr txBox="1"/>
          <p:nvPr/>
        </p:nvSpPr>
        <p:spPr bwMode="auto">
          <a:xfrm>
            <a:off x="1332114" y="2341883"/>
            <a:ext cx="9259686" cy="2065018"/>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CN" altLang="en-US" sz="1800" b="0" dirty="0">
                <a:latin typeface="+mn-lt"/>
                <a:ea typeface="+mn-ea"/>
                <a:sym typeface="+mn-lt"/>
              </a:rPr>
              <a:t>单击此处添</a:t>
            </a:r>
            <a:r>
              <a:rPr lang="zh-CN" altLang="en-US" sz="1800" b="0">
                <a:latin typeface="+mn-lt"/>
                <a:ea typeface="+mn-ea"/>
                <a:sym typeface="+mn-lt"/>
              </a:rPr>
              <a:t>加标</a:t>
            </a:r>
            <a:r>
              <a:rPr lang="zh-CN" altLang="en-US" sz="100" b="0">
                <a:latin typeface="+mn-lt"/>
                <a:ea typeface="+mn-ea"/>
                <a:sym typeface="+mn-lt"/>
              </a:rPr>
              <a:t> </a:t>
            </a:r>
            <a:r>
              <a:rPr lang="zh-CN" altLang="en-US" sz="1800" b="0">
                <a:latin typeface="+mn-lt"/>
                <a:ea typeface="+mn-ea"/>
                <a:sym typeface="+mn-lt"/>
              </a:rPr>
              <a:t>题</a:t>
            </a:r>
            <a:endParaRPr lang="zh-CN" altLang="en-US" sz="1800" b="0" dirty="0">
              <a:latin typeface="+mn-lt"/>
              <a:ea typeface="+mn-ea"/>
              <a:sym typeface="+mn-lt"/>
            </a:endParaRPr>
          </a:p>
          <a:p>
            <a:pPr marL="342900" indent="-342900">
              <a:lnSpc>
                <a:spcPct val="150000"/>
              </a:lnSpc>
              <a:buFont typeface="+mj-lt"/>
              <a:buAutoNum type="arabicPeriod"/>
            </a:pPr>
            <a:r>
              <a:rPr lang="en-US" altLang="zh-CN" sz="1800" b="0" dirty="0">
                <a:latin typeface="+mn-lt"/>
                <a:ea typeface="+mn-ea"/>
                <a:sym typeface="+mn-lt"/>
              </a:rPr>
              <a:t>…</a:t>
            </a:r>
          </a:p>
          <a:p>
            <a:pPr marL="342900" indent="-342900">
              <a:lnSpc>
                <a:spcPct val="150000"/>
              </a:lnSpc>
              <a:buFont typeface="+mj-lt"/>
              <a:buAutoNum type="arabicPeriod"/>
            </a:pPr>
            <a:r>
              <a:rPr lang="en-US" altLang="zh-CN" sz="1800" b="0" dirty="0">
                <a:latin typeface="+mn-lt"/>
                <a:ea typeface="+mn-ea"/>
                <a:sym typeface="+mn-lt"/>
              </a:rPr>
              <a:t>…</a:t>
            </a:r>
          </a:p>
          <a:p>
            <a:pPr marL="342900" indent="-342900">
              <a:lnSpc>
                <a:spcPct val="150000"/>
              </a:lnSpc>
              <a:buFont typeface="+mj-lt"/>
              <a:buAutoNum type="arabicPeriod"/>
            </a:pPr>
            <a:r>
              <a:rPr lang="en-US" altLang="zh-CN" sz="1800" b="0" dirty="0">
                <a:latin typeface="+mn-lt"/>
                <a:ea typeface="+mn-ea"/>
                <a:sym typeface="+mn-lt"/>
              </a:rPr>
              <a:t>…</a:t>
            </a:r>
          </a:p>
        </p:txBody>
      </p:sp>
      <p:sp>
        <p:nvSpPr>
          <p:cNvPr id="76" name="is1ïḍe">
            <a:extLst>
              <a:ext uri="{FF2B5EF4-FFF2-40B4-BE49-F238E27FC236}">
                <a16:creationId xmlns:a16="http://schemas.microsoft.com/office/drawing/2014/main" id="{4415A554-CCFC-4B73-BDC4-DAA8A2116EEE}"/>
              </a:ext>
            </a:extLst>
          </p:cNvPr>
          <p:cNvSpPr/>
          <p:nvPr/>
        </p:nvSpPr>
        <p:spPr>
          <a:xfrm>
            <a:off x="1211618" y="1330183"/>
            <a:ext cx="3940936" cy="672121"/>
          </a:xfrm>
          <a:prstGeom prst="rect">
            <a:avLst/>
          </a:prstGeom>
        </p:spPr>
        <p:txBody>
          <a:bodyPr wrap="square" lIns="91440" tIns="45720" rIns="91440" bIns="45720">
            <a:normAutofit/>
          </a:bodyPr>
          <a:lstStyle/>
          <a:p>
            <a:r>
              <a:rPr lang="zh-CN" altLang="en-US" sz="3600" b="1" kern="0" dirty="0">
                <a:ln w="6350">
                  <a:noFill/>
                </a:ln>
                <a:solidFill>
                  <a:schemeClr val="accent1"/>
                </a:solidFill>
                <a:ea typeface="微软雅黑" panose="020B0503020204020204" pitchFamily="34" charset="-122"/>
              </a:rPr>
              <a:t>目录</a:t>
            </a:r>
            <a:r>
              <a:rPr lang="en-US" altLang="zh-CN" sz="3600" b="1" kern="0">
                <a:ln w="6350">
                  <a:noFill/>
                </a:ln>
                <a:solidFill>
                  <a:schemeClr val="accent1"/>
                </a:solidFill>
                <a:ea typeface="微软雅黑" panose="020B0503020204020204" pitchFamily="34" charset="-122"/>
              </a:rPr>
              <a:t>/</a:t>
            </a:r>
            <a:r>
              <a:rPr lang="zh-CN" altLang="en-US" sz="3600" b="1">
                <a:solidFill>
                  <a:schemeClr val="accent1"/>
                </a:solidFill>
              </a:rPr>
              <a:t>Con</a:t>
            </a:r>
            <a:r>
              <a:rPr lang="zh-CN" altLang="en-US" sz="100" b="1">
                <a:solidFill>
                  <a:schemeClr val="accent1"/>
                </a:solidFill>
              </a:rPr>
              <a:t> </a:t>
            </a:r>
            <a:r>
              <a:rPr lang="zh-CN" altLang="en-US" sz="3600" b="1">
                <a:solidFill>
                  <a:schemeClr val="accent1"/>
                </a:solidFill>
              </a:rPr>
              <a:t>tents</a:t>
            </a:r>
            <a:endParaRPr lang="zh-CN" altLang="en-US" sz="3600" b="1" dirty="0">
              <a:solidFill>
                <a:schemeClr val="accent1"/>
              </a:solidFill>
            </a:endParaRPr>
          </a:p>
        </p:txBody>
      </p:sp>
      <p:sp>
        <p:nvSpPr>
          <p:cNvPr id="77" name="îsḷîḍê">
            <a:extLst>
              <a:ext uri="{FF2B5EF4-FFF2-40B4-BE49-F238E27FC236}">
                <a16:creationId xmlns:a16="http://schemas.microsoft.com/office/drawing/2014/main" id="{278D0113-8CE1-477C-A079-D72F0002C86A}"/>
              </a:ext>
            </a:extLst>
          </p:cNvPr>
          <p:cNvSpPr txBox="1">
            <a:spLocks/>
          </p:cNvSpPr>
          <p:nvPr/>
        </p:nvSpPr>
        <p:spPr>
          <a:xfrm>
            <a:off x="1301059" y="6305762"/>
            <a:ext cx="4584698" cy="310871"/>
          </a:xfrm>
          <a:prstGeom prst="rect">
            <a:avLst/>
          </a:prstGeom>
        </p:spPr>
        <p:txBody>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800" spc="600">
                <a:solidFill>
                  <a:schemeClr val="accent3"/>
                </a:solidFill>
              </a:rPr>
              <a:t>www.uestc</a:t>
            </a:r>
            <a:r>
              <a:rPr lang="en-US" altLang="zh-CN" sz="100" spc="600">
                <a:solidFill>
                  <a:schemeClr val="accent3"/>
                </a:solidFill>
              </a:rPr>
              <a:t> </a:t>
            </a:r>
            <a:r>
              <a:rPr lang="en-US" altLang="zh-CN" sz="800" spc="600">
                <a:solidFill>
                  <a:schemeClr val="accent3"/>
                </a:solidFill>
              </a:rPr>
              <a:t>.</a:t>
            </a:r>
            <a:r>
              <a:rPr lang="en-US" altLang="zh-CN" sz="800" spc="600" dirty="0">
                <a:solidFill>
                  <a:schemeClr val="accent3"/>
                </a:solidFill>
              </a:rPr>
              <a:t>edu.cn</a:t>
            </a:r>
            <a:endParaRPr lang="zh-CN" altLang="en-US" sz="800" spc="600" dirty="0">
              <a:solidFill>
                <a:schemeClr val="accent3"/>
              </a:solidFill>
            </a:endParaRPr>
          </a:p>
        </p:txBody>
      </p:sp>
      <p:sp>
        <p:nvSpPr>
          <p:cNvPr id="3" name="î$ḷide">
            <a:extLst>
              <a:ext uri="{FF2B5EF4-FFF2-40B4-BE49-F238E27FC236}">
                <a16:creationId xmlns:a16="http://schemas.microsoft.com/office/drawing/2014/main" id="{F99566FB-AE5C-4E43-93BF-1236C997E9F3}"/>
              </a:ext>
            </a:extLst>
          </p:cNvPr>
          <p:cNvSpPr/>
          <p:nvPr/>
        </p:nvSpPr>
        <p:spPr>
          <a:xfrm>
            <a:off x="0" y="6122852"/>
            <a:ext cx="12192000" cy="45719"/>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grpSp>
        <p:nvGrpSpPr>
          <p:cNvPr id="79" name="ís1iḋè">
            <a:extLst>
              <a:ext uri="{FF2B5EF4-FFF2-40B4-BE49-F238E27FC236}">
                <a16:creationId xmlns:a16="http://schemas.microsoft.com/office/drawing/2014/main" id="{FFF708EB-D135-4216-BB59-4FEEE28D2733}"/>
              </a:ext>
            </a:extLst>
          </p:cNvPr>
          <p:cNvGrpSpPr/>
          <p:nvPr/>
        </p:nvGrpSpPr>
        <p:grpSpPr>
          <a:xfrm>
            <a:off x="10075891" y="6281444"/>
            <a:ext cx="1381172" cy="310871"/>
            <a:chOff x="1071789" y="916886"/>
            <a:chExt cx="2217511" cy="499112"/>
          </a:xfrm>
        </p:grpSpPr>
        <p:grpSp>
          <p:nvGrpSpPr>
            <p:cNvPr id="80" name="ïsḻídè">
              <a:extLst>
                <a:ext uri="{FF2B5EF4-FFF2-40B4-BE49-F238E27FC236}">
                  <a16:creationId xmlns:a16="http://schemas.microsoft.com/office/drawing/2014/main" id="{10012BE1-18FB-414E-A234-192CB1DF14BE}"/>
                </a:ext>
              </a:extLst>
            </p:cNvPr>
            <p:cNvGrpSpPr/>
            <p:nvPr userDrawn="1"/>
          </p:nvGrpSpPr>
          <p:grpSpPr>
            <a:xfrm>
              <a:off x="1071789" y="916886"/>
              <a:ext cx="496620" cy="499112"/>
              <a:chOff x="1905000" y="2476500"/>
              <a:chExt cx="1898650" cy="1908175"/>
            </a:xfrm>
          </p:grpSpPr>
          <p:sp>
            <p:nvSpPr>
              <p:cNvPr id="91" name="ïṣ1iḑè">
                <a:extLst>
                  <a:ext uri="{FF2B5EF4-FFF2-40B4-BE49-F238E27FC236}">
                    <a16:creationId xmlns:a16="http://schemas.microsoft.com/office/drawing/2014/main" id="{7589E371-A64A-41E9-9886-88C2723455AE}"/>
                  </a:ext>
                </a:extLst>
              </p:cNvPr>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î$ḷíḑe">
                <a:extLst>
                  <a:ext uri="{FF2B5EF4-FFF2-40B4-BE49-F238E27FC236}">
                    <a16:creationId xmlns:a16="http://schemas.microsoft.com/office/drawing/2014/main" id="{481E7B09-48A6-4402-9252-8024391809F9}"/>
                  </a:ext>
                </a:extLst>
              </p:cNvPr>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îsḻïḋe">
                <a:extLst>
                  <a:ext uri="{FF2B5EF4-FFF2-40B4-BE49-F238E27FC236}">
                    <a16:creationId xmlns:a16="http://schemas.microsoft.com/office/drawing/2014/main" id="{A443E617-0032-4B7F-A31A-5582D856EEA0}"/>
                  </a:ext>
                </a:extLst>
              </p:cNvPr>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îṧ1ïḍe">
                <a:extLst>
                  <a:ext uri="{FF2B5EF4-FFF2-40B4-BE49-F238E27FC236}">
                    <a16:creationId xmlns:a16="http://schemas.microsoft.com/office/drawing/2014/main" id="{FE3F1AC8-55DA-4AB9-A42B-FC09D3696A05}"/>
                  </a:ext>
                </a:extLst>
              </p:cNvPr>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îsḻîdè">
                <a:extLst>
                  <a:ext uri="{FF2B5EF4-FFF2-40B4-BE49-F238E27FC236}">
                    <a16:creationId xmlns:a16="http://schemas.microsoft.com/office/drawing/2014/main" id="{35A105D4-2AD3-473D-80F2-878DEC702A65}"/>
                  </a:ext>
                </a:extLst>
              </p:cNvPr>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i$1íḓê">
                <a:extLst>
                  <a:ext uri="{FF2B5EF4-FFF2-40B4-BE49-F238E27FC236}">
                    <a16:creationId xmlns:a16="http://schemas.microsoft.com/office/drawing/2014/main" id="{C52DD86A-ABAA-4ED8-BA26-DE5BB7F813DA}"/>
                  </a:ext>
                </a:extLst>
              </p:cNvPr>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îṥļíḍê">
                <a:extLst>
                  <a:ext uri="{FF2B5EF4-FFF2-40B4-BE49-F238E27FC236}">
                    <a16:creationId xmlns:a16="http://schemas.microsoft.com/office/drawing/2014/main" id="{476C0FCF-E78A-483B-9F7C-5BC89ECDECF3}"/>
                  </a:ext>
                </a:extLst>
              </p:cNvPr>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sļïḍe">
                <a:extLst>
                  <a:ext uri="{FF2B5EF4-FFF2-40B4-BE49-F238E27FC236}">
                    <a16:creationId xmlns:a16="http://schemas.microsoft.com/office/drawing/2014/main" id="{683633E5-B317-4B50-BCA2-7E71A1822B5B}"/>
                  </a:ext>
                </a:extLst>
              </p:cNvPr>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îşḻîḓè">
                <a:extLst>
                  <a:ext uri="{FF2B5EF4-FFF2-40B4-BE49-F238E27FC236}">
                    <a16:creationId xmlns:a16="http://schemas.microsoft.com/office/drawing/2014/main" id="{74268E3B-F4FB-4E3B-BE45-515BF8332ED9}"/>
                  </a:ext>
                </a:extLst>
              </p:cNvPr>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headEnd/>
                <a:tailEnd/>
              </a:ln>
            </p:spPr>
            <p:txBody>
              <a:bodyPr anchor="ctr"/>
              <a:lstStyle/>
              <a:p>
                <a:pPr algn="ctr"/>
                <a:endParaRPr/>
              </a:p>
            </p:txBody>
          </p:sp>
          <p:sp>
            <p:nvSpPr>
              <p:cNvPr id="100" name="isliḋé">
                <a:extLst>
                  <a:ext uri="{FF2B5EF4-FFF2-40B4-BE49-F238E27FC236}">
                    <a16:creationId xmlns:a16="http://schemas.microsoft.com/office/drawing/2014/main" id="{FD05117D-F6E3-495C-90DC-F67D0C4320D5}"/>
                  </a:ext>
                </a:extLst>
              </p:cNvPr>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101" name="íSlídè">
                <a:extLst>
                  <a:ext uri="{FF2B5EF4-FFF2-40B4-BE49-F238E27FC236}">
                    <a16:creationId xmlns:a16="http://schemas.microsoft.com/office/drawing/2014/main" id="{36851A5D-3808-42BE-8352-CA317958E568}"/>
                  </a:ext>
                </a:extLst>
              </p:cNvPr>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i$liḋé">
                <a:extLst>
                  <a:ext uri="{FF2B5EF4-FFF2-40B4-BE49-F238E27FC236}">
                    <a16:creationId xmlns:a16="http://schemas.microsoft.com/office/drawing/2014/main" id="{C00E0AA7-DC1D-49D2-A9F5-39D08ECA9F8A}"/>
                  </a:ext>
                </a:extLst>
              </p:cNvPr>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îṡlíḍe">
                <a:extLst>
                  <a:ext uri="{FF2B5EF4-FFF2-40B4-BE49-F238E27FC236}">
                    <a16:creationId xmlns:a16="http://schemas.microsoft.com/office/drawing/2014/main" id="{6F3391CF-A6F7-44CB-81ED-D140EE054995}"/>
                  </a:ext>
                </a:extLst>
              </p:cNvPr>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îŝḷîďe">
                <a:extLst>
                  <a:ext uri="{FF2B5EF4-FFF2-40B4-BE49-F238E27FC236}">
                    <a16:creationId xmlns:a16="http://schemas.microsoft.com/office/drawing/2014/main" id="{2B8F685D-5B82-4833-B322-44A0C12D0142}"/>
                  </a:ext>
                </a:extLst>
              </p:cNvPr>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îṩľîḋé">
                <a:extLst>
                  <a:ext uri="{FF2B5EF4-FFF2-40B4-BE49-F238E27FC236}">
                    <a16:creationId xmlns:a16="http://schemas.microsoft.com/office/drawing/2014/main" id="{A582AE63-7AEF-4ABB-AFD7-8EB05E1C5B05}"/>
                  </a:ext>
                </a:extLst>
              </p:cNvPr>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îŝliďè">
                <a:extLst>
                  <a:ext uri="{FF2B5EF4-FFF2-40B4-BE49-F238E27FC236}">
                    <a16:creationId xmlns:a16="http://schemas.microsoft.com/office/drawing/2014/main" id="{1AB8CA30-0378-4636-9C86-C3B972C4E213}"/>
                  </a:ext>
                </a:extLst>
              </p:cNvPr>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îsḻiďe">
                <a:extLst>
                  <a:ext uri="{FF2B5EF4-FFF2-40B4-BE49-F238E27FC236}">
                    <a16:creationId xmlns:a16="http://schemas.microsoft.com/office/drawing/2014/main" id="{30B9A6C2-EDBC-4112-987D-410E8F152223}"/>
                  </a:ext>
                </a:extLst>
              </p:cNvPr>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81" name="ïṥḷidè">
              <a:extLst>
                <a:ext uri="{FF2B5EF4-FFF2-40B4-BE49-F238E27FC236}">
                  <a16:creationId xmlns:a16="http://schemas.microsoft.com/office/drawing/2014/main" id="{3361794D-7D66-4705-B5C6-C498666B8052}"/>
                </a:ext>
              </a:extLst>
            </p:cNvPr>
            <p:cNvGrpSpPr/>
            <p:nvPr userDrawn="1"/>
          </p:nvGrpSpPr>
          <p:grpSpPr>
            <a:xfrm>
              <a:off x="1682758" y="962385"/>
              <a:ext cx="1606542" cy="289834"/>
              <a:chOff x="4164013" y="2535238"/>
              <a:chExt cx="6142038" cy="1108075"/>
            </a:xfrm>
            <a:solidFill>
              <a:srgbClr val="001736"/>
            </a:solidFill>
          </p:grpSpPr>
          <p:sp>
            <p:nvSpPr>
              <p:cNvPr id="85" name="išḷïḍé">
                <a:extLst>
                  <a:ext uri="{FF2B5EF4-FFF2-40B4-BE49-F238E27FC236}">
                    <a16:creationId xmlns:a16="http://schemas.microsoft.com/office/drawing/2014/main" id="{714015A9-52B2-404C-AB01-38AF7D8E03C9}"/>
                  </a:ext>
                </a:extLst>
              </p:cNvPr>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ïṧ1iḓé">
                <a:extLst>
                  <a:ext uri="{FF2B5EF4-FFF2-40B4-BE49-F238E27FC236}">
                    <a16:creationId xmlns:a16="http://schemas.microsoft.com/office/drawing/2014/main" id="{61B4CA39-C447-42BD-825F-9443075B7F3A}"/>
                  </a:ext>
                </a:extLst>
              </p:cNvPr>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ïśḻîḍé">
                <a:extLst>
                  <a:ext uri="{FF2B5EF4-FFF2-40B4-BE49-F238E27FC236}">
                    <a16:creationId xmlns:a16="http://schemas.microsoft.com/office/drawing/2014/main" id="{DEF6740A-2D08-488B-9EEE-61266D7BC869}"/>
                  </a:ext>
                </a:extLst>
              </p:cNvPr>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ṣľïḑe">
                <a:extLst>
                  <a:ext uri="{FF2B5EF4-FFF2-40B4-BE49-F238E27FC236}">
                    <a16:creationId xmlns:a16="http://schemas.microsoft.com/office/drawing/2014/main" id="{E665543F-FD98-4345-8573-5B5A287F3C19}"/>
                  </a:ext>
                </a:extLst>
              </p:cNvPr>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ṡḷíḓè">
                <a:extLst>
                  <a:ext uri="{FF2B5EF4-FFF2-40B4-BE49-F238E27FC236}">
                    <a16:creationId xmlns:a16="http://schemas.microsoft.com/office/drawing/2014/main" id="{5BF72B2D-85B8-4BAC-A88B-E0D75F72956A}"/>
                  </a:ext>
                </a:extLst>
              </p:cNvPr>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śľiḓè">
                <a:extLst>
                  <a:ext uri="{FF2B5EF4-FFF2-40B4-BE49-F238E27FC236}">
                    <a16:creationId xmlns:a16="http://schemas.microsoft.com/office/drawing/2014/main" id="{DD96F91B-4822-496A-9EE7-D6A84E2A387E}"/>
                  </a:ext>
                </a:extLst>
              </p:cNvPr>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82" name="ïṣlîḋe">
              <a:extLst>
                <a:ext uri="{FF2B5EF4-FFF2-40B4-BE49-F238E27FC236}">
                  <a16:creationId xmlns:a16="http://schemas.microsoft.com/office/drawing/2014/main" id="{3EDE0A7F-535D-4ECD-8887-657F47A5192D}"/>
                </a:ext>
              </a:extLst>
            </p:cNvPr>
            <p:cNvGrpSpPr/>
            <p:nvPr userDrawn="1"/>
          </p:nvGrpSpPr>
          <p:grpSpPr>
            <a:xfrm>
              <a:off x="1681928" y="1301968"/>
              <a:ext cx="1596160" cy="99656"/>
              <a:chOff x="4195410" y="3864490"/>
              <a:chExt cx="5963974" cy="372361"/>
            </a:xfrm>
            <a:solidFill>
              <a:srgbClr val="001736"/>
            </a:solidFill>
          </p:grpSpPr>
          <p:sp>
            <p:nvSpPr>
              <p:cNvPr id="83" name="íṣlíḍé">
                <a:extLst>
                  <a:ext uri="{FF2B5EF4-FFF2-40B4-BE49-F238E27FC236}">
                    <a16:creationId xmlns:a16="http://schemas.microsoft.com/office/drawing/2014/main" id="{AF4DB646-8F57-4FB8-B403-0AA88224364D}"/>
                  </a:ext>
                </a:extLst>
              </p:cNvPr>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íṡ1iḓé">
                <a:extLst>
                  <a:ext uri="{FF2B5EF4-FFF2-40B4-BE49-F238E27FC236}">
                    <a16:creationId xmlns:a16="http://schemas.microsoft.com/office/drawing/2014/main" id="{FB843CFF-96B3-4A73-8BE4-44A88EB89084}"/>
                  </a:ext>
                </a:extLst>
              </p:cNvPr>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iṥḻîḍè"/>
        <p:cNvGrpSpPr/>
        <p:nvPr/>
      </p:nvGrpSpPr>
      <p:grpSpPr>
        <a:xfrm>
          <a:off x="0" y="0"/>
          <a:ext cx="0" cy="0"/>
          <a:chOff x="0" y="0"/>
          <a:chExt cx="0" cy="0"/>
        </a:xfrm>
      </p:grpSpPr>
      <p:sp>
        <p:nvSpPr>
          <p:cNvPr id="2" name="îşḻîdê">
            <a:extLst>
              <a:ext uri="{FF2B5EF4-FFF2-40B4-BE49-F238E27FC236}">
                <a16:creationId xmlns:a16="http://schemas.microsoft.com/office/drawing/2014/main" id="{273A2DB9-CBFD-4C0E-BB17-565E003CDFCB}"/>
              </a:ext>
            </a:extLst>
          </p:cNvPr>
          <p:cNvSpPr>
            <a:spLocks noGrp="1"/>
          </p:cNvSpPr>
          <p:nvPr>
            <p:ph type="title"/>
          </p:nvPr>
        </p:nvSpPr>
        <p:spPr/>
        <p:txBody>
          <a:bodyPr/>
          <a:lstStyle/>
          <a:p>
            <a:r>
              <a:rPr lang="en-US" altLang="zh-CN" dirty="0"/>
              <a:t>Click to edit </a:t>
            </a:r>
            <a:r>
              <a:rPr lang="en-US" altLang="zh-CN"/>
              <a:t>Master </a:t>
            </a:r>
            <a:r>
              <a:rPr lang="en-US" altLang="zh-CN" sz="100"/>
              <a:t> </a:t>
            </a:r>
            <a:r>
              <a:rPr lang="en-US" altLang="zh-CN"/>
              <a:t>title </a:t>
            </a:r>
            <a:r>
              <a:rPr lang="en-US" altLang="zh-CN" dirty="0"/>
              <a:t>style</a:t>
            </a:r>
            <a:endParaRPr lang="zh-CN" altLang="en-US" dirty="0"/>
          </a:p>
        </p:txBody>
      </p:sp>
      <p:sp>
        <p:nvSpPr>
          <p:cNvPr id="3" name="iṣḻîďê">
            <a:extLst>
              <a:ext uri="{FF2B5EF4-FFF2-40B4-BE49-F238E27FC236}">
                <a16:creationId xmlns:a16="http://schemas.microsoft.com/office/drawing/2014/main" id="{E85DCBD2-1FCE-41B2-AEB9-B9C4D184D732}"/>
              </a:ext>
            </a:extLst>
          </p:cNvPr>
          <p:cNvSpPr>
            <a:spLocks noGrp="1"/>
          </p:cNvSpPr>
          <p:nvPr>
            <p:ph type="ftr" sz="quarter" idx="11"/>
          </p:nvPr>
        </p:nvSpPr>
        <p:spPr/>
        <p:txBody>
          <a:bodyPr/>
          <a:lstStyle/>
          <a:p>
            <a:r>
              <a:rPr lang="zh-CN" altLang="en-US"/>
              <a:t>请在插入菜单</a:t>
            </a:r>
            <a:r>
              <a:rPr lang="en-US" altLang="zh-CN"/>
              <a:t>—</a:t>
            </a:r>
            <a:r>
              <a:rPr lang="zh-CN" altLang="en-US"/>
              <a:t>页眉和页</a:t>
            </a:r>
            <a:r>
              <a:rPr lang="zh-CN" altLang="en-US" sz="100"/>
              <a:t> </a:t>
            </a:r>
            <a:r>
              <a:rPr lang="zh-CN" altLang="en-US"/>
              <a:t>脚中修改此文本</a:t>
            </a:r>
            <a:endParaRPr lang="zh-CN" altLang="en-US" dirty="0"/>
          </a:p>
        </p:txBody>
      </p:sp>
      <p:sp>
        <p:nvSpPr>
          <p:cNvPr id="4" name="îşḻïdè">
            <a:extLst>
              <a:ext uri="{FF2B5EF4-FFF2-40B4-BE49-F238E27FC236}">
                <a16:creationId xmlns:a16="http://schemas.microsoft.com/office/drawing/2014/main" id="{2F051B28-9E92-4789-AB40-7CC6F690043C}"/>
              </a:ext>
            </a:extLst>
          </p:cNvPr>
          <p:cNvSpPr>
            <a:spLocks noGrp="1"/>
          </p:cNvSpPr>
          <p:nvPr>
            <p:ph type="sldNum" sz="quarter" idx="12"/>
          </p:nvPr>
        </p:nvSpPr>
        <p:spPr/>
        <p:txBody>
          <a:bodyPr/>
          <a:lstStyle/>
          <a:p>
            <a:fld id="{5DD3DB80-B894-403A-B48E-6FDC1A72010E}" type="slidenum">
              <a:rPr lang="zh-CN" altLang="en-US" smtClean="0"/>
              <a:pPr/>
              <a:t>20</a:t>
            </a:fld>
            <a:r>
              <a:rPr lang="zh-CN" altLang="en-US" sz="100"/>
              <a:t> </a:t>
            </a:r>
          </a:p>
        </p:txBody>
      </p:sp>
      <p:grpSp>
        <p:nvGrpSpPr>
          <p:cNvPr id="5" name="iŝlïḓ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55AB193-D977-4FA1-860A-C3295F8940BF}"/>
              </a:ext>
            </a:extLst>
          </p:cNvPr>
          <p:cNvGrpSpPr>
            <a:grpSpLocks noChangeAspect="1"/>
          </p:cNvGrpSpPr>
          <p:nvPr>
            <p:custDataLst>
              <p:tags r:id="rId3"/>
            </p:custDataLst>
          </p:nvPr>
        </p:nvGrpSpPr>
        <p:grpSpPr>
          <a:xfrm>
            <a:off x="671513" y="1292127"/>
            <a:ext cx="10848974" cy="4548823"/>
            <a:chOff x="671513" y="1292127"/>
            <a:chExt cx="10848974" cy="4548823"/>
          </a:xfrm>
        </p:grpSpPr>
        <p:sp>
          <p:nvSpPr>
            <p:cNvPr id="9" name="í$ḷîďé">
              <a:extLst>
                <a:ext uri="{FF2B5EF4-FFF2-40B4-BE49-F238E27FC236}">
                  <a16:creationId xmlns:a16="http://schemas.microsoft.com/office/drawing/2014/main" id="{C6A36733-EAE1-4E15-B88A-329CC2FABEAA}"/>
                </a:ext>
              </a:extLst>
            </p:cNvPr>
            <p:cNvSpPr/>
            <p:nvPr/>
          </p:nvSpPr>
          <p:spPr>
            <a:xfrm>
              <a:off x="4775992" y="1292127"/>
              <a:ext cx="4147671" cy="1380471"/>
            </a:xfrm>
            <a:prstGeom prst="rightArrow">
              <a:avLst>
                <a:gd name="adj1" fmla="val 66953"/>
                <a:gd name="adj2"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sz="3200"/>
            </a:p>
          </p:txBody>
        </p:sp>
        <p:sp>
          <p:nvSpPr>
            <p:cNvPr id="10" name="iṥliḋé">
              <a:extLst>
                <a:ext uri="{FF2B5EF4-FFF2-40B4-BE49-F238E27FC236}">
                  <a16:creationId xmlns:a16="http://schemas.microsoft.com/office/drawing/2014/main" id="{58730DC4-A32C-4DB9-B41C-A44A5B8EBD62}"/>
                </a:ext>
              </a:extLst>
            </p:cNvPr>
            <p:cNvSpPr/>
            <p:nvPr/>
          </p:nvSpPr>
          <p:spPr>
            <a:xfrm rot="10800000">
              <a:off x="3337688" y="2348241"/>
              <a:ext cx="4147671" cy="1380471"/>
            </a:xfrm>
            <a:prstGeom prst="rightArrow">
              <a:avLst>
                <a:gd name="adj1" fmla="val 66953"/>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sz="3200"/>
            </a:p>
          </p:txBody>
        </p:sp>
        <p:sp>
          <p:nvSpPr>
            <p:cNvPr id="11" name="ï$ḷíḓe">
              <a:extLst>
                <a:ext uri="{FF2B5EF4-FFF2-40B4-BE49-F238E27FC236}">
                  <a16:creationId xmlns:a16="http://schemas.microsoft.com/office/drawing/2014/main" id="{20A9DE42-B30E-4B9C-BD0E-6DD0219248B4}"/>
                </a:ext>
              </a:extLst>
            </p:cNvPr>
            <p:cNvSpPr/>
            <p:nvPr/>
          </p:nvSpPr>
          <p:spPr>
            <a:xfrm>
              <a:off x="4775992" y="3404361"/>
              <a:ext cx="3528253" cy="1380471"/>
            </a:xfrm>
            <a:prstGeom prst="rightArrow">
              <a:avLst>
                <a:gd name="adj1" fmla="val 66953"/>
                <a:gd name="adj2"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sz="3200"/>
            </a:p>
          </p:txBody>
        </p:sp>
        <p:sp>
          <p:nvSpPr>
            <p:cNvPr id="12" name="îŝlíḍe">
              <a:extLst>
                <a:ext uri="{FF2B5EF4-FFF2-40B4-BE49-F238E27FC236}">
                  <a16:creationId xmlns:a16="http://schemas.microsoft.com/office/drawing/2014/main" id="{EDEC21A7-A1F6-416F-BC53-4B92BEB6C073}"/>
                </a:ext>
              </a:extLst>
            </p:cNvPr>
            <p:cNvSpPr/>
            <p:nvPr/>
          </p:nvSpPr>
          <p:spPr>
            <a:xfrm rot="10800000">
              <a:off x="3957107" y="4460479"/>
              <a:ext cx="3528253" cy="1380471"/>
            </a:xfrm>
            <a:prstGeom prst="rightArrow">
              <a:avLst>
                <a:gd name="adj1" fmla="val 66953"/>
                <a:gd name="adj2"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sz="3200"/>
            </a:p>
          </p:txBody>
        </p:sp>
        <p:sp>
          <p:nvSpPr>
            <p:cNvPr id="13" name="isľîḑê">
              <a:extLst>
                <a:ext uri="{FF2B5EF4-FFF2-40B4-BE49-F238E27FC236}">
                  <a16:creationId xmlns:a16="http://schemas.microsoft.com/office/drawing/2014/main" id="{D6E35BD2-3ADE-4010-9A0E-AC1BD3541EC0}"/>
                </a:ext>
              </a:extLst>
            </p:cNvPr>
            <p:cNvSpPr txBox="1"/>
            <p:nvPr/>
          </p:nvSpPr>
          <p:spPr bwMode="auto">
            <a:xfrm>
              <a:off x="4775992" y="1761460"/>
              <a:ext cx="2057396" cy="441805"/>
            </a:xfrm>
            <a:prstGeom prst="rect">
              <a:avLst/>
            </a:prstGeom>
            <a:noFill/>
            <a:ln w="9525">
              <a:noFill/>
              <a:miter lim="800000"/>
              <a:headEnd/>
              <a:tailEnd/>
            </a:ln>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sz="2000" b="1"/>
                <a:t>Text </a:t>
              </a:r>
              <a:r>
                <a:rPr lang="en-US" altLang="zh-CN" sz="100" b="1"/>
                <a:t> </a:t>
              </a:r>
              <a:r>
                <a:rPr lang="en-US" altLang="zh-CN" sz="2000" b="1"/>
                <a:t>here</a:t>
              </a:r>
              <a:endParaRPr lang="en-US" altLang="zh-CN" sz="2000" b="1" dirty="0"/>
            </a:p>
          </p:txBody>
        </p:sp>
        <p:sp>
          <p:nvSpPr>
            <p:cNvPr id="14" name="ïš1îḋê">
              <a:extLst>
                <a:ext uri="{FF2B5EF4-FFF2-40B4-BE49-F238E27FC236}">
                  <a16:creationId xmlns:a16="http://schemas.microsoft.com/office/drawing/2014/main" id="{271D5299-27C5-45DF-93F5-BCBC97F50D1B}"/>
                </a:ext>
              </a:extLst>
            </p:cNvPr>
            <p:cNvSpPr txBox="1"/>
            <p:nvPr/>
          </p:nvSpPr>
          <p:spPr bwMode="auto">
            <a:xfrm>
              <a:off x="4775992" y="3873693"/>
              <a:ext cx="2057396" cy="441805"/>
            </a:xfrm>
            <a:prstGeom prst="rect">
              <a:avLst/>
            </a:prstGeom>
            <a:noFill/>
            <a:ln w="9525">
              <a:noFill/>
              <a:miter lim="800000"/>
              <a:headEnd/>
              <a:tailEnd/>
            </a:ln>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sz="2000" b="1"/>
                <a:t>Text </a:t>
              </a:r>
              <a:r>
                <a:rPr lang="en-US" altLang="zh-CN" sz="100" b="1"/>
                <a:t> </a:t>
              </a:r>
              <a:r>
                <a:rPr lang="en-US" altLang="zh-CN" sz="2000" b="1"/>
                <a:t>here</a:t>
              </a:r>
              <a:endParaRPr lang="en-US" altLang="zh-CN" sz="2000" b="1" dirty="0"/>
            </a:p>
          </p:txBody>
        </p:sp>
        <p:sp>
          <p:nvSpPr>
            <p:cNvPr id="15" name="iṩḷiḍè">
              <a:extLst>
                <a:ext uri="{FF2B5EF4-FFF2-40B4-BE49-F238E27FC236}">
                  <a16:creationId xmlns:a16="http://schemas.microsoft.com/office/drawing/2014/main" id="{B341C069-1248-4A31-A364-06D3ECA9C5C4}"/>
                </a:ext>
              </a:extLst>
            </p:cNvPr>
            <p:cNvSpPr txBox="1"/>
            <p:nvPr/>
          </p:nvSpPr>
          <p:spPr bwMode="auto">
            <a:xfrm>
              <a:off x="4775992" y="4932023"/>
              <a:ext cx="2057396" cy="441805"/>
            </a:xfrm>
            <a:prstGeom prst="rect">
              <a:avLst/>
            </a:prstGeom>
            <a:noFill/>
            <a:ln w="9525">
              <a:noFill/>
              <a:miter lim="800000"/>
              <a:headEnd/>
              <a:tailEnd/>
            </a:ln>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sz="2000" b="1"/>
                <a:t>Text </a:t>
              </a:r>
              <a:r>
                <a:rPr lang="en-US" altLang="zh-CN" sz="100" b="1"/>
                <a:t> </a:t>
              </a:r>
              <a:r>
                <a:rPr lang="en-US" altLang="zh-CN" sz="2000" b="1"/>
                <a:t>here</a:t>
              </a:r>
              <a:endParaRPr lang="en-US" altLang="zh-CN" sz="2000" b="1" dirty="0"/>
            </a:p>
          </p:txBody>
        </p:sp>
        <p:sp>
          <p:nvSpPr>
            <p:cNvPr id="16" name="îṡļiďê">
              <a:extLst>
                <a:ext uri="{FF2B5EF4-FFF2-40B4-BE49-F238E27FC236}">
                  <a16:creationId xmlns:a16="http://schemas.microsoft.com/office/drawing/2014/main" id="{C7298F54-DE1E-47FC-879D-26D668FC3BC2}"/>
                </a:ext>
              </a:extLst>
            </p:cNvPr>
            <p:cNvSpPr txBox="1"/>
            <p:nvPr/>
          </p:nvSpPr>
          <p:spPr bwMode="auto">
            <a:xfrm>
              <a:off x="3957106" y="2817577"/>
              <a:ext cx="3528254" cy="441805"/>
            </a:xfrm>
            <a:prstGeom prst="rect">
              <a:avLst/>
            </a:prstGeom>
            <a:noFill/>
            <a:ln w="9525">
              <a:noFill/>
              <a:miter lim="800000"/>
              <a:headEnd/>
              <a:tailEnd/>
            </a:ln>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en-US" altLang="zh-CN" sz="2000" b="1">
                  <a:solidFill>
                    <a:schemeClr val="bg1"/>
                  </a:solidFill>
                </a:rPr>
                <a:t>Text </a:t>
              </a:r>
              <a:r>
                <a:rPr lang="en-US" altLang="zh-CN" sz="100" b="1">
                  <a:solidFill>
                    <a:schemeClr val="bg1"/>
                  </a:solidFill>
                </a:rPr>
                <a:t> </a:t>
              </a:r>
              <a:r>
                <a:rPr lang="en-US" altLang="zh-CN" sz="2000" b="1">
                  <a:solidFill>
                    <a:schemeClr val="bg1"/>
                  </a:solidFill>
                </a:rPr>
                <a:t>here</a:t>
              </a:r>
              <a:endParaRPr lang="en-US" altLang="zh-CN" sz="2000" b="1" dirty="0">
                <a:solidFill>
                  <a:schemeClr val="bg1"/>
                </a:solidFill>
              </a:endParaRPr>
            </a:p>
          </p:txBody>
        </p:sp>
        <p:sp>
          <p:nvSpPr>
            <p:cNvPr id="17" name="îṧḻiḋe">
              <a:extLst>
                <a:ext uri="{FF2B5EF4-FFF2-40B4-BE49-F238E27FC236}">
                  <a16:creationId xmlns:a16="http://schemas.microsoft.com/office/drawing/2014/main" id="{78BD12C8-D841-46B5-8E8D-C48CD90E5874}"/>
                </a:ext>
              </a:extLst>
            </p:cNvPr>
            <p:cNvSpPr/>
            <p:nvPr/>
          </p:nvSpPr>
          <p:spPr bwMode="auto">
            <a:xfrm>
              <a:off x="8923662" y="1557016"/>
              <a:ext cx="2596825" cy="85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en-US" altLang="zh-CN" sz="1100" dirty="0"/>
                <a:t>Copy paste fonts. Choose the </a:t>
              </a:r>
              <a:r>
                <a:rPr lang="en-US" altLang="zh-CN" sz="1100"/>
                <a:t>only option</a:t>
              </a:r>
              <a:r>
                <a:rPr lang="en-US" altLang="zh-CN" sz="100"/>
                <a:t> </a:t>
              </a:r>
              <a:r>
                <a:rPr lang="en-US" altLang="zh-CN" sz="1100"/>
                <a:t> </a:t>
              </a:r>
              <a:r>
                <a:rPr lang="en-US" altLang="zh-CN" sz="1100" dirty="0"/>
                <a:t>to retain text.</a:t>
              </a:r>
            </a:p>
            <a:p>
              <a:pPr>
                <a:lnSpc>
                  <a:spcPct val="120000"/>
                </a:lnSpc>
              </a:pPr>
              <a:r>
                <a:rPr lang="en-US" altLang="zh-CN" sz="1100" dirty="0"/>
                <a:t>… …</a:t>
              </a:r>
            </a:p>
          </p:txBody>
        </p:sp>
        <p:sp>
          <p:nvSpPr>
            <p:cNvPr id="18" name="išḷîḍê">
              <a:extLst>
                <a:ext uri="{FF2B5EF4-FFF2-40B4-BE49-F238E27FC236}">
                  <a16:creationId xmlns:a16="http://schemas.microsoft.com/office/drawing/2014/main" id="{97890C71-9BF2-4D55-9980-4463E69E6CE6}"/>
                </a:ext>
              </a:extLst>
            </p:cNvPr>
            <p:cNvSpPr/>
            <p:nvPr/>
          </p:nvSpPr>
          <p:spPr bwMode="auto">
            <a:xfrm>
              <a:off x="8383836" y="3669251"/>
              <a:ext cx="3136651" cy="85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en-US" altLang="zh-CN" sz="1100" dirty="0"/>
                <a:t>Copy paste fonts. Choose the </a:t>
              </a:r>
              <a:r>
                <a:rPr lang="en-US" altLang="zh-CN" sz="1100"/>
                <a:t>only option</a:t>
              </a:r>
              <a:r>
                <a:rPr lang="en-US" altLang="zh-CN" sz="100"/>
                <a:t> </a:t>
              </a:r>
              <a:r>
                <a:rPr lang="en-US" altLang="zh-CN" sz="1100"/>
                <a:t> </a:t>
              </a:r>
              <a:r>
                <a:rPr lang="en-US" altLang="zh-CN" sz="1100" dirty="0"/>
                <a:t>to retain text.</a:t>
              </a:r>
            </a:p>
            <a:p>
              <a:pPr>
                <a:lnSpc>
                  <a:spcPct val="120000"/>
                </a:lnSpc>
              </a:pPr>
              <a:r>
                <a:rPr lang="en-US" altLang="zh-CN" sz="1100" dirty="0"/>
                <a:t>… …</a:t>
              </a:r>
            </a:p>
          </p:txBody>
        </p:sp>
        <p:sp>
          <p:nvSpPr>
            <p:cNvPr id="19" name="íṩ1íḋè">
              <a:extLst>
                <a:ext uri="{FF2B5EF4-FFF2-40B4-BE49-F238E27FC236}">
                  <a16:creationId xmlns:a16="http://schemas.microsoft.com/office/drawing/2014/main" id="{A3297C77-B26F-471E-BC9E-CD89B20FD445}"/>
                </a:ext>
              </a:extLst>
            </p:cNvPr>
            <p:cNvSpPr/>
            <p:nvPr/>
          </p:nvSpPr>
          <p:spPr bwMode="auto">
            <a:xfrm>
              <a:off x="671513" y="4725370"/>
              <a:ext cx="3136651" cy="85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20000"/>
                </a:lnSpc>
              </a:pPr>
              <a:r>
                <a:rPr lang="en-US" altLang="zh-CN" sz="1100" dirty="0"/>
                <a:t>Copy paste fonts. Choose the </a:t>
              </a:r>
              <a:r>
                <a:rPr lang="en-US" altLang="zh-CN" sz="1100"/>
                <a:t>only option</a:t>
              </a:r>
              <a:r>
                <a:rPr lang="en-US" altLang="zh-CN" sz="100"/>
                <a:t> </a:t>
              </a:r>
              <a:r>
                <a:rPr lang="en-US" altLang="zh-CN" sz="1100"/>
                <a:t> </a:t>
              </a:r>
              <a:r>
                <a:rPr lang="en-US" altLang="zh-CN" sz="1100" dirty="0"/>
                <a:t>to retain text.</a:t>
              </a:r>
            </a:p>
            <a:p>
              <a:pPr algn="r">
                <a:lnSpc>
                  <a:spcPct val="120000"/>
                </a:lnSpc>
              </a:pPr>
              <a:r>
                <a:rPr lang="en-US" altLang="zh-CN" sz="1100" dirty="0"/>
                <a:t>… …</a:t>
              </a:r>
            </a:p>
          </p:txBody>
        </p:sp>
        <p:sp>
          <p:nvSpPr>
            <p:cNvPr id="20" name="íṡḻïḋè">
              <a:extLst>
                <a:ext uri="{FF2B5EF4-FFF2-40B4-BE49-F238E27FC236}">
                  <a16:creationId xmlns:a16="http://schemas.microsoft.com/office/drawing/2014/main" id="{C6777BE3-45FE-4BA4-A09E-3D99B174AB29}"/>
                </a:ext>
              </a:extLst>
            </p:cNvPr>
            <p:cNvSpPr/>
            <p:nvPr/>
          </p:nvSpPr>
          <p:spPr bwMode="auto">
            <a:xfrm>
              <a:off x="671513" y="2613133"/>
              <a:ext cx="2586584" cy="85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20000"/>
                </a:lnSpc>
              </a:pPr>
              <a:r>
                <a:rPr lang="en-US" altLang="zh-CN" sz="1100" dirty="0"/>
                <a:t>Copy paste fonts. Choose the </a:t>
              </a:r>
              <a:r>
                <a:rPr lang="en-US" altLang="zh-CN" sz="1100"/>
                <a:t>only option</a:t>
              </a:r>
              <a:r>
                <a:rPr lang="en-US" altLang="zh-CN" sz="100"/>
                <a:t> </a:t>
              </a:r>
              <a:r>
                <a:rPr lang="en-US" altLang="zh-CN" sz="1100"/>
                <a:t> </a:t>
              </a:r>
              <a:r>
                <a:rPr lang="en-US" altLang="zh-CN" sz="1100" dirty="0"/>
                <a:t>to retain text.</a:t>
              </a:r>
            </a:p>
            <a:p>
              <a:pPr algn="r">
                <a:lnSpc>
                  <a:spcPct val="120000"/>
                </a:lnSpc>
              </a:pPr>
              <a:r>
                <a:rPr lang="en-US" altLang="zh-CN" sz="1100" dirty="0"/>
                <a:t>… …</a:t>
              </a:r>
            </a:p>
          </p:txBody>
        </p:sp>
      </p:grpSp>
    </p:spTree>
    <p:custDataLst>
      <p:tags r:id="rId2"/>
    </p:custDataLst>
    <p:extLst>
      <p:ext uri="{BB962C8B-B14F-4D97-AF65-F5344CB8AC3E}">
        <p14:creationId xmlns:p14="http://schemas.microsoft.com/office/powerpoint/2010/main" val="877273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íṡlïďe"/>
        <p:cNvGrpSpPr/>
        <p:nvPr/>
      </p:nvGrpSpPr>
      <p:grpSpPr>
        <a:xfrm>
          <a:off x="0" y="0"/>
          <a:ext cx="0" cy="0"/>
          <a:chOff x="0" y="0"/>
          <a:chExt cx="0" cy="0"/>
        </a:xfrm>
      </p:grpSpPr>
      <p:sp>
        <p:nvSpPr>
          <p:cNvPr id="2" name="íşlîďé">
            <a:extLst>
              <a:ext uri="{FF2B5EF4-FFF2-40B4-BE49-F238E27FC236}">
                <a16:creationId xmlns:a16="http://schemas.microsoft.com/office/drawing/2014/main" id="{113A3D32-96D7-413D-9B91-A1947312F2CC}"/>
              </a:ext>
            </a:extLst>
          </p:cNvPr>
          <p:cNvSpPr>
            <a:spLocks noGrp="1"/>
          </p:cNvSpPr>
          <p:nvPr>
            <p:ph type="title"/>
          </p:nvPr>
        </p:nvSpPr>
        <p:spPr/>
        <p:txBody>
          <a:bodyPr/>
          <a:lstStyle/>
          <a:p>
            <a:r>
              <a:rPr lang="en-US" altLang="zh-CN" dirty="0"/>
              <a:t>Click to edit </a:t>
            </a:r>
            <a:r>
              <a:rPr lang="en-US" altLang="zh-CN"/>
              <a:t>Master </a:t>
            </a:r>
            <a:r>
              <a:rPr lang="en-US" altLang="zh-CN" sz="100"/>
              <a:t> </a:t>
            </a:r>
            <a:r>
              <a:rPr lang="en-US" altLang="zh-CN"/>
              <a:t>title </a:t>
            </a:r>
            <a:r>
              <a:rPr lang="en-US" altLang="zh-CN" dirty="0"/>
              <a:t>style</a:t>
            </a:r>
            <a:endParaRPr lang="zh-CN" altLang="en-US" dirty="0"/>
          </a:p>
        </p:txBody>
      </p:sp>
      <p:sp>
        <p:nvSpPr>
          <p:cNvPr id="3" name="ïŝļiḑè">
            <a:extLst>
              <a:ext uri="{FF2B5EF4-FFF2-40B4-BE49-F238E27FC236}">
                <a16:creationId xmlns:a16="http://schemas.microsoft.com/office/drawing/2014/main" id="{97D02450-9384-4513-8BEE-FA265548CEA9}"/>
              </a:ext>
            </a:extLst>
          </p:cNvPr>
          <p:cNvSpPr>
            <a:spLocks noGrp="1"/>
          </p:cNvSpPr>
          <p:nvPr>
            <p:ph type="ftr" sz="quarter" idx="11"/>
          </p:nvPr>
        </p:nvSpPr>
        <p:spPr/>
        <p:txBody>
          <a:bodyPr/>
          <a:lstStyle/>
          <a:p>
            <a:r>
              <a:rPr lang="zh-CN" altLang="en-US"/>
              <a:t>请在插入菜单</a:t>
            </a:r>
            <a:r>
              <a:rPr lang="en-US" altLang="zh-CN"/>
              <a:t>—</a:t>
            </a:r>
            <a:r>
              <a:rPr lang="zh-CN" altLang="en-US"/>
              <a:t>页眉和页</a:t>
            </a:r>
            <a:r>
              <a:rPr lang="zh-CN" altLang="en-US" sz="100"/>
              <a:t> </a:t>
            </a:r>
            <a:r>
              <a:rPr lang="zh-CN" altLang="en-US"/>
              <a:t>脚中修改此文本</a:t>
            </a:r>
            <a:endParaRPr lang="zh-CN" altLang="en-US" dirty="0"/>
          </a:p>
        </p:txBody>
      </p:sp>
      <p:sp>
        <p:nvSpPr>
          <p:cNvPr id="4" name="iṡ1ïďê">
            <a:extLst>
              <a:ext uri="{FF2B5EF4-FFF2-40B4-BE49-F238E27FC236}">
                <a16:creationId xmlns:a16="http://schemas.microsoft.com/office/drawing/2014/main" id="{54F048B2-0F47-4223-8A9F-9D1E1D035C5C}"/>
              </a:ext>
            </a:extLst>
          </p:cNvPr>
          <p:cNvSpPr>
            <a:spLocks noGrp="1"/>
          </p:cNvSpPr>
          <p:nvPr>
            <p:ph type="sldNum" sz="quarter" idx="12"/>
          </p:nvPr>
        </p:nvSpPr>
        <p:spPr/>
        <p:txBody>
          <a:bodyPr/>
          <a:lstStyle/>
          <a:p>
            <a:fld id="{5DD3DB80-B894-403A-B48E-6FDC1A72010E}" type="slidenum">
              <a:rPr lang="zh-CN" altLang="en-US" smtClean="0"/>
              <a:pPr/>
              <a:t>21</a:t>
            </a:fld>
            <a:r>
              <a:rPr lang="zh-CN" altLang="en-US" sz="100"/>
              <a:t> </a:t>
            </a:r>
          </a:p>
        </p:txBody>
      </p:sp>
      <p:grpSp>
        <p:nvGrpSpPr>
          <p:cNvPr id="5" name="ísliḓ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746CD17A-6899-4A26-84FA-C855D4E9E14D}"/>
              </a:ext>
            </a:extLst>
          </p:cNvPr>
          <p:cNvGrpSpPr>
            <a:grpSpLocks noChangeAspect="1"/>
          </p:cNvGrpSpPr>
          <p:nvPr>
            <p:custDataLst>
              <p:tags r:id="rId3"/>
            </p:custDataLst>
          </p:nvPr>
        </p:nvGrpSpPr>
        <p:grpSpPr>
          <a:xfrm>
            <a:off x="673100" y="2176801"/>
            <a:ext cx="10845800" cy="2923498"/>
            <a:chOff x="673100" y="2176801"/>
            <a:chExt cx="10845800" cy="2923498"/>
          </a:xfrm>
        </p:grpSpPr>
        <p:sp>
          <p:nvSpPr>
            <p:cNvPr id="6" name="ïŝľíďê">
              <a:extLst>
                <a:ext uri="{FF2B5EF4-FFF2-40B4-BE49-F238E27FC236}">
                  <a16:creationId xmlns:a16="http://schemas.microsoft.com/office/drawing/2014/main" id="{9A5754BD-B79C-4A9D-90C9-611B6919BA2F}"/>
                </a:ext>
              </a:extLst>
            </p:cNvPr>
            <p:cNvSpPr/>
            <p:nvPr/>
          </p:nvSpPr>
          <p:spPr>
            <a:xfrm rot="60000">
              <a:off x="4397406" y="3059160"/>
              <a:ext cx="955599" cy="945264"/>
            </a:xfrm>
            <a:custGeom>
              <a:avLst/>
              <a:gdLst/>
              <a:ahLst/>
              <a:cxnLst>
                <a:cxn ang="0">
                  <a:pos x="wd2" y="hd2"/>
                </a:cxn>
                <a:cxn ang="5400000">
                  <a:pos x="wd2" y="hd2"/>
                </a:cxn>
                <a:cxn ang="10800000">
                  <a:pos x="wd2" y="hd2"/>
                </a:cxn>
                <a:cxn ang="16200000">
                  <a:pos x="wd2" y="hd2"/>
                </a:cxn>
              </a:cxnLst>
              <a:rect l="0" t="0" r="r" b="b"/>
              <a:pathLst>
                <a:path w="20378" h="21255" extrusionOk="0">
                  <a:moveTo>
                    <a:pt x="4821" y="21029"/>
                  </a:moveTo>
                  <a:cubicBezTo>
                    <a:pt x="7341" y="20448"/>
                    <a:pt x="9857" y="19848"/>
                    <a:pt x="12364" y="19214"/>
                  </a:cubicBezTo>
                  <a:cubicBezTo>
                    <a:pt x="14094" y="18776"/>
                    <a:pt x="15896" y="18405"/>
                    <a:pt x="17429" y="17491"/>
                  </a:cubicBezTo>
                  <a:cubicBezTo>
                    <a:pt x="18820" y="16662"/>
                    <a:pt x="19908" y="15325"/>
                    <a:pt x="20249" y="13793"/>
                  </a:cubicBezTo>
                  <a:cubicBezTo>
                    <a:pt x="20723" y="11668"/>
                    <a:pt x="19843" y="9700"/>
                    <a:pt x="18304" y="8178"/>
                  </a:cubicBezTo>
                  <a:cubicBezTo>
                    <a:pt x="17865" y="7744"/>
                    <a:pt x="17395" y="7331"/>
                    <a:pt x="16911" y="6940"/>
                  </a:cubicBezTo>
                  <a:cubicBezTo>
                    <a:pt x="15857" y="6088"/>
                    <a:pt x="14774" y="5266"/>
                    <a:pt x="13694" y="4443"/>
                  </a:cubicBezTo>
                  <a:cubicBezTo>
                    <a:pt x="13052" y="3954"/>
                    <a:pt x="12408" y="3467"/>
                    <a:pt x="11762" y="2982"/>
                  </a:cubicBezTo>
                  <a:cubicBezTo>
                    <a:pt x="10967" y="2385"/>
                    <a:pt x="10168" y="1791"/>
                    <a:pt x="9368" y="1200"/>
                  </a:cubicBezTo>
                  <a:cubicBezTo>
                    <a:pt x="8466" y="532"/>
                    <a:pt x="7650" y="146"/>
                    <a:pt x="6927" y="21"/>
                  </a:cubicBezTo>
                  <a:cubicBezTo>
                    <a:pt x="5183" y="-280"/>
                    <a:pt x="2445" y="2586"/>
                    <a:pt x="784" y="9830"/>
                  </a:cubicBezTo>
                  <a:cubicBezTo>
                    <a:pt x="-877" y="17073"/>
                    <a:pt x="360" y="20748"/>
                    <a:pt x="2081" y="21152"/>
                  </a:cubicBezTo>
                  <a:cubicBezTo>
                    <a:pt x="2795" y="21320"/>
                    <a:pt x="3706" y="21286"/>
                    <a:pt x="4821" y="21029"/>
                  </a:cubicBezTo>
                  <a:close/>
                </a:path>
              </a:pathLst>
            </a:custGeom>
            <a:noFill/>
            <a:ln w="19050" cap="flat">
              <a:solidFill>
                <a:schemeClr val="bg1">
                  <a:lumMod val="85000"/>
                </a:schemeClr>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endParaRPr/>
            </a:p>
          </p:txBody>
        </p:sp>
        <p:sp>
          <p:nvSpPr>
            <p:cNvPr id="7" name="ïs1ïḋè">
              <a:extLst>
                <a:ext uri="{FF2B5EF4-FFF2-40B4-BE49-F238E27FC236}">
                  <a16:creationId xmlns:a16="http://schemas.microsoft.com/office/drawing/2014/main" id="{A07B437A-9041-4824-9EE3-A98AC6B7EC91}"/>
                </a:ext>
              </a:extLst>
            </p:cNvPr>
            <p:cNvSpPr/>
            <p:nvPr/>
          </p:nvSpPr>
          <p:spPr bwMode="auto">
            <a:xfrm>
              <a:off x="4534685" y="3193236"/>
              <a:ext cx="681040" cy="677112"/>
            </a:xfrm>
            <a:custGeom>
              <a:avLst/>
              <a:gdLst>
                <a:gd name="T0" fmla="*/ 2159 w 8291"/>
                <a:gd name="T1" fmla="*/ 8650 h 8758"/>
                <a:gd name="T2" fmla="*/ 5054 w 8291"/>
                <a:gd name="T3" fmla="*/ 7950 h 8758"/>
                <a:gd name="T4" fmla="*/ 7001 w 8291"/>
                <a:gd name="T5" fmla="*/ 7275 h 8758"/>
                <a:gd name="T6" fmla="*/ 8099 w 8291"/>
                <a:gd name="T7" fmla="*/ 5787 h 8758"/>
                <a:gd name="T8" fmla="*/ 7383 w 8291"/>
                <a:gd name="T9" fmla="*/ 3498 h 8758"/>
                <a:gd name="T10" fmla="*/ 6857 w 8291"/>
                <a:gd name="T11" fmla="*/ 2989 h 8758"/>
                <a:gd name="T12" fmla="*/ 5639 w 8291"/>
                <a:gd name="T13" fmla="*/ 1959 h 8758"/>
                <a:gd name="T14" fmla="*/ 4908 w 8291"/>
                <a:gd name="T15" fmla="*/ 1357 h 8758"/>
                <a:gd name="T16" fmla="*/ 4001 w 8291"/>
                <a:gd name="T17" fmla="*/ 621 h 8758"/>
                <a:gd name="T18" fmla="*/ 3073 w 8291"/>
                <a:gd name="T19" fmla="*/ 131 h 8758"/>
                <a:gd name="T20" fmla="*/ 673 w 8291"/>
                <a:gd name="T21" fmla="*/ 4084 h 8758"/>
                <a:gd name="T22" fmla="*/ 1110 w 8291"/>
                <a:gd name="T23" fmla="*/ 8687 h 8758"/>
                <a:gd name="T24" fmla="*/ 2159 w 8291"/>
                <a:gd name="T25" fmla="*/ 8650 h 8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1" h="8758">
                  <a:moveTo>
                    <a:pt x="2159" y="8650"/>
                  </a:moveTo>
                  <a:cubicBezTo>
                    <a:pt x="3126" y="8426"/>
                    <a:pt x="4092" y="8195"/>
                    <a:pt x="5054" y="7950"/>
                  </a:cubicBezTo>
                  <a:cubicBezTo>
                    <a:pt x="5718" y="7780"/>
                    <a:pt x="6409" y="7639"/>
                    <a:pt x="7001" y="7275"/>
                  </a:cubicBezTo>
                  <a:cubicBezTo>
                    <a:pt x="7537" y="6945"/>
                    <a:pt x="7960" y="6407"/>
                    <a:pt x="8099" y="5787"/>
                  </a:cubicBezTo>
                  <a:cubicBezTo>
                    <a:pt x="8291" y="4926"/>
                    <a:pt x="7964" y="4123"/>
                    <a:pt x="7383" y="3498"/>
                  </a:cubicBezTo>
                  <a:cubicBezTo>
                    <a:pt x="7217" y="3320"/>
                    <a:pt x="7040" y="3149"/>
                    <a:pt x="6857" y="2989"/>
                  </a:cubicBezTo>
                  <a:cubicBezTo>
                    <a:pt x="6458" y="2638"/>
                    <a:pt x="6048" y="2299"/>
                    <a:pt x="5639" y="1959"/>
                  </a:cubicBezTo>
                  <a:cubicBezTo>
                    <a:pt x="5396" y="1758"/>
                    <a:pt x="5152" y="1557"/>
                    <a:pt x="4908" y="1357"/>
                  </a:cubicBezTo>
                  <a:cubicBezTo>
                    <a:pt x="4606" y="1110"/>
                    <a:pt x="4304" y="865"/>
                    <a:pt x="4001" y="621"/>
                  </a:cubicBezTo>
                  <a:cubicBezTo>
                    <a:pt x="3659" y="346"/>
                    <a:pt x="3349" y="185"/>
                    <a:pt x="3073" y="131"/>
                  </a:cubicBezTo>
                  <a:cubicBezTo>
                    <a:pt x="2407" y="0"/>
                    <a:pt x="1346" y="1150"/>
                    <a:pt x="673" y="4084"/>
                  </a:cubicBezTo>
                  <a:cubicBezTo>
                    <a:pt x="0" y="7016"/>
                    <a:pt x="454" y="8514"/>
                    <a:pt x="1110" y="8687"/>
                  </a:cubicBezTo>
                  <a:cubicBezTo>
                    <a:pt x="1383" y="8758"/>
                    <a:pt x="1731" y="8748"/>
                    <a:pt x="2159" y="8650"/>
                  </a:cubicBezTo>
                </a:path>
              </a:pathLst>
            </a:custGeom>
            <a:solidFill>
              <a:schemeClr val="accent1"/>
            </a:solidFill>
            <a:ln w="0">
              <a:noFill/>
              <a:prstDash val="solid"/>
              <a:round/>
              <a:headEnd/>
              <a:tailEnd/>
            </a:ln>
          </p:spPr>
          <p:txBody>
            <a:bodyPr vert="horz" wrap="square" lIns="91440" tIns="45720" rIns="91440" bIns="45720" numCol="1" anchor="ctr" anchorCtr="0" compatLnSpc="1">
              <a:prstTxWarp prst="textNoShape">
                <a:avLst/>
              </a:prstTxWarp>
              <a:normAutofit/>
            </a:bodyPr>
            <a:lstStyle/>
            <a:p>
              <a:pPr algn="ctr"/>
              <a:r>
                <a:rPr lang="en-US" altLang="zh-CN" sz="1600" b="1">
                  <a:solidFill>
                    <a:schemeClr val="bg1"/>
                  </a:solidFill>
                </a:rPr>
                <a:t>0</a:t>
              </a:r>
              <a:r>
                <a:rPr lang="en-US" altLang="zh-CN" sz="100" b="1">
                  <a:solidFill>
                    <a:schemeClr val="bg1"/>
                  </a:solidFill>
                </a:rPr>
                <a:t> </a:t>
              </a:r>
              <a:r>
                <a:rPr lang="en-US" altLang="zh-CN" sz="1600" b="1">
                  <a:solidFill>
                    <a:schemeClr val="bg1"/>
                  </a:solidFill>
                </a:rPr>
                <a:t>2</a:t>
              </a:r>
              <a:endParaRPr lang="zh-CN" altLang="en-US" sz="1600" b="1" dirty="0">
                <a:solidFill>
                  <a:schemeClr val="bg1"/>
                </a:solidFill>
              </a:endParaRPr>
            </a:p>
          </p:txBody>
        </p:sp>
        <p:sp>
          <p:nvSpPr>
            <p:cNvPr id="8" name="îṣľíḑè">
              <a:extLst>
                <a:ext uri="{FF2B5EF4-FFF2-40B4-BE49-F238E27FC236}">
                  <a16:creationId xmlns:a16="http://schemas.microsoft.com/office/drawing/2014/main" id="{5A65C812-8D3C-4B12-9815-5B80F6E2410C}"/>
                </a:ext>
              </a:extLst>
            </p:cNvPr>
            <p:cNvSpPr/>
            <p:nvPr/>
          </p:nvSpPr>
          <p:spPr>
            <a:xfrm rot="60000">
              <a:off x="4684682" y="4155035"/>
              <a:ext cx="955599" cy="945264"/>
            </a:xfrm>
            <a:custGeom>
              <a:avLst/>
              <a:gdLst/>
              <a:ahLst/>
              <a:cxnLst>
                <a:cxn ang="0">
                  <a:pos x="wd2" y="hd2"/>
                </a:cxn>
                <a:cxn ang="5400000">
                  <a:pos x="wd2" y="hd2"/>
                </a:cxn>
                <a:cxn ang="10800000">
                  <a:pos x="wd2" y="hd2"/>
                </a:cxn>
                <a:cxn ang="16200000">
                  <a:pos x="wd2" y="hd2"/>
                </a:cxn>
              </a:cxnLst>
              <a:rect l="0" t="0" r="r" b="b"/>
              <a:pathLst>
                <a:path w="20761" h="20724" extrusionOk="0">
                  <a:moveTo>
                    <a:pt x="16007" y="18283"/>
                  </a:moveTo>
                  <a:cubicBezTo>
                    <a:pt x="17050" y="16026"/>
                    <a:pt x="18075" y="13761"/>
                    <a:pt x="19068" y="11481"/>
                  </a:cubicBezTo>
                  <a:cubicBezTo>
                    <a:pt x="19753" y="9907"/>
                    <a:pt x="20534" y="8322"/>
                    <a:pt x="20723" y="6594"/>
                  </a:cubicBezTo>
                  <a:cubicBezTo>
                    <a:pt x="20895" y="5026"/>
                    <a:pt x="20481" y="3364"/>
                    <a:pt x="19468" y="2136"/>
                  </a:cubicBezTo>
                  <a:cubicBezTo>
                    <a:pt x="18063" y="434"/>
                    <a:pt x="15974" y="-154"/>
                    <a:pt x="13847" y="34"/>
                  </a:cubicBezTo>
                  <a:cubicBezTo>
                    <a:pt x="13240" y="88"/>
                    <a:pt x="12631" y="177"/>
                    <a:pt x="12032" y="292"/>
                  </a:cubicBezTo>
                  <a:cubicBezTo>
                    <a:pt x="10726" y="542"/>
                    <a:pt x="9426" y="832"/>
                    <a:pt x="8128" y="1119"/>
                  </a:cubicBezTo>
                  <a:cubicBezTo>
                    <a:pt x="7356" y="1290"/>
                    <a:pt x="6585" y="1464"/>
                    <a:pt x="5814" y="1640"/>
                  </a:cubicBezTo>
                  <a:cubicBezTo>
                    <a:pt x="4865" y="1857"/>
                    <a:pt x="3917" y="2079"/>
                    <a:pt x="2969" y="2303"/>
                  </a:cubicBezTo>
                  <a:cubicBezTo>
                    <a:pt x="1900" y="2556"/>
                    <a:pt x="1107" y="2922"/>
                    <a:pt x="576" y="3385"/>
                  </a:cubicBezTo>
                  <a:cubicBezTo>
                    <a:pt x="-705" y="4501"/>
                    <a:pt x="-63" y="8368"/>
                    <a:pt x="4701" y="14206"/>
                  </a:cubicBezTo>
                  <a:cubicBezTo>
                    <a:pt x="9463" y="20043"/>
                    <a:pt x="13121" y="21446"/>
                    <a:pt x="14470" y="20413"/>
                  </a:cubicBezTo>
                  <a:cubicBezTo>
                    <a:pt x="15029" y="19985"/>
                    <a:pt x="15545" y="19280"/>
                    <a:pt x="16007" y="18283"/>
                  </a:cubicBezTo>
                  <a:close/>
                </a:path>
              </a:pathLst>
            </a:custGeom>
            <a:noFill/>
            <a:ln w="19050" cap="flat">
              <a:solidFill>
                <a:schemeClr val="bg1">
                  <a:lumMod val="85000"/>
                </a:schemeClr>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90000"/>
                </a:lnSpc>
                <a:defRPr sz="4000">
                  <a:solidFill>
                    <a:srgbClr val="FFFFFF"/>
                  </a:solidFill>
                </a:defRPr>
              </a:pPr>
              <a:endParaRPr/>
            </a:p>
          </p:txBody>
        </p:sp>
        <p:sp>
          <p:nvSpPr>
            <p:cNvPr id="9" name="ïṡḷíďê">
              <a:extLst>
                <a:ext uri="{FF2B5EF4-FFF2-40B4-BE49-F238E27FC236}">
                  <a16:creationId xmlns:a16="http://schemas.microsoft.com/office/drawing/2014/main" id="{AB9B5C37-7A97-4897-A559-1757DA316B42}"/>
                </a:ext>
              </a:extLst>
            </p:cNvPr>
            <p:cNvSpPr/>
            <p:nvPr/>
          </p:nvSpPr>
          <p:spPr bwMode="auto">
            <a:xfrm>
              <a:off x="4821961" y="4289111"/>
              <a:ext cx="681040" cy="677112"/>
            </a:xfrm>
            <a:custGeom>
              <a:avLst/>
              <a:gdLst>
                <a:gd name="T0" fmla="*/ 1508 w 8640"/>
                <a:gd name="T1" fmla="*/ 776 h 8602"/>
                <a:gd name="T2" fmla="*/ 4441 w 8640"/>
                <a:gd name="T3" fmla="*/ 258 h 8602"/>
                <a:gd name="T4" fmla="*/ 6495 w 8640"/>
                <a:gd name="T5" fmla="*/ 96 h 8602"/>
                <a:gd name="T6" fmla="*/ 8097 w 8640"/>
                <a:gd name="T7" fmla="*/ 1020 h 8602"/>
                <a:gd name="T8" fmla="*/ 8358 w 8640"/>
                <a:gd name="T9" fmla="*/ 3404 h 8602"/>
                <a:gd name="T10" fmla="*/ 8080 w 8640"/>
                <a:gd name="T11" fmla="*/ 4081 h 8602"/>
                <a:gd name="T12" fmla="*/ 7376 w 8640"/>
                <a:gd name="T13" fmla="*/ 5512 h 8602"/>
                <a:gd name="T14" fmla="*/ 6948 w 8640"/>
                <a:gd name="T15" fmla="*/ 6357 h 8602"/>
                <a:gd name="T16" fmla="*/ 6411 w 8640"/>
                <a:gd name="T17" fmla="*/ 7394 h 8602"/>
                <a:gd name="T18" fmla="*/ 5758 w 8640"/>
                <a:gd name="T19" fmla="*/ 8215 h 8602"/>
                <a:gd name="T20" fmla="*/ 1975 w 8640"/>
                <a:gd name="T21" fmla="*/ 5555 h 8602"/>
                <a:gd name="T22" fmla="*/ 532 w 8640"/>
                <a:gd name="T23" fmla="*/ 1162 h 8602"/>
                <a:gd name="T24" fmla="*/ 1508 w 8640"/>
                <a:gd name="T25" fmla="*/ 776 h 8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0" h="8602">
                  <a:moveTo>
                    <a:pt x="1508" y="776"/>
                  </a:moveTo>
                  <a:cubicBezTo>
                    <a:pt x="2484" y="593"/>
                    <a:pt x="3461" y="419"/>
                    <a:pt x="4441" y="258"/>
                  </a:cubicBezTo>
                  <a:cubicBezTo>
                    <a:pt x="5117" y="147"/>
                    <a:pt x="5807" y="0"/>
                    <a:pt x="6495" y="96"/>
                  </a:cubicBezTo>
                  <a:cubicBezTo>
                    <a:pt x="7118" y="184"/>
                    <a:pt x="7721" y="507"/>
                    <a:pt x="8097" y="1020"/>
                  </a:cubicBezTo>
                  <a:cubicBezTo>
                    <a:pt x="8617" y="1731"/>
                    <a:pt x="8640" y="2598"/>
                    <a:pt x="8358" y="3404"/>
                  </a:cubicBezTo>
                  <a:cubicBezTo>
                    <a:pt x="8277" y="3633"/>
                    <a:pt x="8183" y="3861"/>
                    <a:pt x="8080" y="4081"/>
                  </a:cubicBezTo>
                  <a:cubicBezTo>
                    <a:pt x="7855" y="4563"/>
                    <a:pt x="7615" y="5037"/>
                    <a:pt x="7376" y="5512"/>
                  </a:cubicBezTo>
                  <a:cubicBezTo>
                    <a:pt x="7234" y="5794"/>
                    <a:pt x="7091" y="6076"/>
                    <a:pt x="6948" y="6357"/>
                  </a:cubicBezTo>
                  <a:cubicBezTo>
                    <a:pt x="6770" y="6704"/>
                    <a:pt x="6591" y="7049"/>
                    <a:pt x="6411" y="7394"/>
                  </a:cubicBezTo>
                  <a:cubicBezTo>
                    <a:pt x="6209" y="7783"/>
                    <a:pt x="5989" y="8055"/>
                    <a:pt x="5758" y="8215"/>
                  </a:cubicBezTo>
                  <a:cubicBezTo>
                    <a:pt x="5200" y="8602"/>
                    <a:pt x="3766" y="7973"/>
                    <a:pt x="1975" y="5555"/>
                  </a:cubicBezTo>
                  <a:cubicBezTo>
                    <a:pt x="184" y="3138"/>
                    <a:pt x="0" y="1583"/>
                    <a:pt x="532" y="1162"/>
                  </a:cubicBezTo>
                  <a:cubicBezTo>
                    <a:pt x="753" y="988"/>
                    <a:pt x="1076" y="857"/>
                    <a:pt x="1508" y="776"/>
                  </a:cubicBezTo>
                </a:path>
              </a:pathLst>
            </a:custGeom>
            <a:solidFill>
              <a:schemeClr val="accent1"/>
            </a:solidFill>
            <a:ln w="19050" cap="flat">
              <a:noFill/>
              <a:miter lim="400000"/>
            </a:ln>
            <a:effectLst/>
          </p:spPr>
          <p:txBody>
            <a:bodyPr vert="horz" wrap="square" lIns="91440" tIns="45720" rIns="91440" bIns="45720" numCol="1" anchor="ctr" anchorCtr="0">
              <a:normAutofit/>
            </a:bodyPr>
            <a:lstStyle/>
            <a:p>
              <a:pPr algn="ctr"/>
              <a:r>
                <a:rPr lang="en-US" altLang="zh-CN" sz="1600" b="1">
                  <a:solidFill>
                    <a:schemeClr val="bg1"/>
                  </a:solidFill>
                </a:rPr>
                <a:t>0</a:t>
              </a:r>
              <a:r>
                <a:rPr lang="en-US" altLang="zh-CN" sz="100" b="1">
                  <a:solidFill>
                    <a:schemeClr val="bg1"/>
                  </a:solidFill>
                </a:rPr>
                <a:t> </a:t>
              </a:r>
              <a:r>
                <a:rPr lang="en-US" altLang="zh-CN" sz="1600" b="1">
                  <a:solidFill>
                    <a:schemeClr val="bg1"/>
                  </a:solidFill>
                </a:rPr>
                <a:t>1</a:t>
              </a:r>
              <a:endParaRPr lang="zh-CN" altLang="en-US" sz="1600" b="1" dirty="0">
                <a:solidFill>
                  <a:schemeClr val="bg1"/>
                </a:solidFill>
              </a:endParaRPr>
            </a:p>
          </p:txBody>
        </p:sp>
        <p:sp>
          <p:nvSpPr>
            <p:cNvPr id="10" name="íṩļíḑé">
              <a:extLst>
                <a:ext uri="{FF2B5EF4-FFF2-40B4-BE49-F238E27FC236}">
                  <a16:creationId xmlns:a16="http://schemas.microsoft.com/office/drawing/2014/main" id="{564759CE-5866-4343-84FA-8256DF891A90}"/>
                </a:ext>
              </a:extLst>
            </p:cNvPr>
            <p:cNvSpPr/>
            <p:nvPr/>
          </p:nvSpPr>
          <p:spPr>
            <a:xfrm rot="60000">
              <a:off x="5109237" y="2310877"/>
              <a:ext cx="681040" cy="677112"/>
            </a:xfrm>
            <a:custGeom>
              <a:avLst/>
              <a:gdLst/>
              <a:ahLst/>
              <a:cxnLst>
                <a:cxn ang="0">
                  <a:pos x="wd2" y="hd2"/>
                </a:cxn>
                <a:cxn ang="5400000">
                  <a:pos x="wd2" y="hd2"/>
                </a:cxn>
                <a:cxn ang="10800000">
                  <a:pos x="wd2" y="hd2"/>
                </a:cxn>
                <a:cxn ang="16200000">
                  <a:pos x="wd2" y="hd2"/>
                </a:cxn>
              </a:cxnLst>
              <a:rect l="0" t="0" r="r" b="b"/>
              <a:pathLst>
                <a:path w="21002" h="20734" extrusionOk="0">
                  <a:moveTo>
                    <a:pt x="1921" y="13034"/>
                  </a:moveTo>
                  <a:cubicBezTo>
                    <a:pt x="3951" y="14584"/>
                    <a:pt x="5994" y="16117"/>
                    <a:pt x="8059" y="17621"/>
                  </a:cubicBezTo>
                  <a:cubicBezTo>
                    <a:pt x="9484" y="18659"/>
                    <a:pt x="10899" y="19796"/>
                    <a:pt x="12594" y="20376"/>
                  </a:cubicBezTo>
                  <a:cubicBezTo>
                    <a:pt x="14131" y="20902"/>
                    <a:pt x="15899" y="20868"/>
                    <a:pt x="17366" y="20139"/>
                  </a:cubicBezTo>
                  <a:cubicBezTo>
                    <a:pt x="19401" y="19127"/>
                    <a:pt x="20472" y="17183"/>
                    <a:pt x="20772" y="15025"/>
                  </a:cubicBezTo>
                  <a:cubicBezTo>
                    <a:pt x="20857" y="14409"/>
                    <a:pt x="20907" y="13783"/>
                    <a:pt x="20929" y="13162"/>
                  </a:cubicBezTo>
                  <a:cubicBezTo>
                    <a:pt x="20978" y="11806"/>
                    <a:pt x="20985" y="10448"/>
                    <a:pt x="20994" y="9091"/>
                  </a:cubicBezTo>
                  <a:cubicBezTo>
                    <a:pt x="21000" y="8285"/>
                    <a:pt x="21002" y="7479"/>
                    <a:pt x="21002" y="6673"/>
                  </a:cubicBezTo>
                  <a:cubicBezTo>
                    <a:pt x="21002" y="5679"/>
                    <a:pt x="20997" y="4686"/>
                    <a:pt x="20989" y="3692"/>
                  </a:cubicBezTo>
                  <a:cubicBezTo>
                    <a:pt x="20980" y="2572"/>
                    <a:pt x="20794" y="1700"/>
                    <a:pt x="20451" y="1067"/>
                  </a:cubicBezTo>
                  <a:cubicBezTo>
                    <a:pt x="19623" y="-460"/>
                    <a:pt x="15585" y="-698"/>
                    <a:pt x="8619" y="2715"/>
                  </a:cubicBezTo>
                  <a:cubicBezTo>
                    <a:pt x="1654" y="6128"/>
                    <a:pt x="-598" y="9447"/>
                    <a:pt x="131" y="11022"/>
                  </a:cubicBezTo>
                  <a:cubicBezTo>
                    <a:pt x="433" y="11676"/>
                    <a:pt x="1024" y="12349"/>
                    <a:pt x="1921" y="13034"/>
                  </a:cubicBezTo>
                  <a:close/>
                </a:path>
              </a:pathLst>
            </a:custGeom>
            <a:solidFill>
              <a:schemeClr val="accent1"/>
            </a:solidFill>
            <a:ln w="19050" cap="flat">
              <a:noFill/>
              <a:miter lim="400000"/>
            </a:ln>
            <a:effectLst/>
          </p:spPr>
          <p:txBody>
            <a:bodyPr vert="horz" wrap="square" lIns="91440" tIns="45720" rIns="91440" bIns="45720" numCol="1" anchor="ctr" anchorCtr="0">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sz="1600" b="1">
                  <a:solidFill>
                    <a:schemeClr val="bg1"/>
                  </a:solidFill>
                </a:rPr>
                <a:t>0</a:t>
              </a:r>
              <a:r>
                <a:rPr lang="en-US" altLang="zh-CN" sz="100" b="1">
                  <a:solidFill>
                    <a:schemeClr val="bg1"/>
                  </a:solidFill>
                </a:rPr>
                <a:t> </a:t>
              </a:r>
              <a:r>
                <a:rPr lang="en-US" altLang="zh-CN" sz="1600" b="1">
                  <a:solidFill>
                    <a:schemeClr val="bg1"/>
                  </a:solidFill>
                </a:rPr>
                <a:t>3</a:t>
              </a:r>
              <a:endParaRPr sz="1600" b="1" dirty="0">
                <a:solidFill>
                  <a:schemeClr val="bg1"/>
                </a:solidFill>
              </a:endParaRPr>
            </a:p>
          </p:txBody>
        </p:sp>
        <p:sp>
          <p:nvSpPr>
            <p:cNvPr id="11" name="ï$lîḓè">
              <a:extLst>
                <a:ext uri="{FF2B5EF4-FFF2-40B4-BE49-F238E27FC236}">
                  <a16:creationId xmlns:a16="http://schemas.microsoft.com/office/drawing/2014/main" id="{531411BF-3B56-4170-8C58-F4D256946AB2}"/>
                </a:ext>
              </a:extLst>
            </p:cNvPr>
            <p:cNvSpPr/>
            <p:nvPr/>
          </p:nvSpPr>
          <p:spPr>
            <a:xfrm rot="60000">
              <a:off x="4971958" y="2176801"/>
              <a:ext cx="955599" cy="945264"/>
            </a:xfrm>
            <a:custGeom>
              <a:avLst/>
              <a:gdLst/>
              <a:ahLst/>
              <a:cxnLst>
                <a:cxn ang="0">
                  <a:pos x="wd2" y="hd2"/>
                </a:cxn>
                <a:cxn ang="5400000">
                  <a:pos x="wd2" y="hd2"/>
                </a:cxn>
                <a:cxn ang="10800000">
                  <a:pos x="wd2" y="hd2"/>
                </a:cxn>
                <a:cxn ang="16200000">
                  <a:pos x="wd2" y="hd2"/>
                </a:cxn>
              </a:cxnLst>
              <a:rect l="0" t="0" r="r" b="b"/>
              <a:pathLst>
                <a:path w="21002" h="20734" extrusionOk="0">
                  <a:moveTo>
                    <a:pt x="1921" y="13034"/>
                  </a:moveTo>
                  <a:cubicBezTo>
                    <a:pt x="3951" y="14584"/>
                    <a:pt x="5994" y="16117"/>
                    <a:pt x="8059" y="17621"/>
                  </a:cubicBezTo>
                  <a:cubicBezTo>
                    <a:pt x="9484" y="18659"/>
                    <a:pt x="10899" y="19796"/>
                    <a:pt x="12594" y="20376"/>
                  </a:cubicBezTo>
                  <a:cubicBezTo>
                    <a:pt x="14131" y="20902"/>
                    <a:pt x="15899" y="20868"/>
                    <a:pt x="17366" y="20139"/>
                  </a:cubicBezTo>
                  <a:cubicBezTo>
                    <a:pt x="19401" y="19127"/>
                    <a:pt x="20472" y="17183"/>
                    <a:pt x="20772" y="15025"/>
                  </a:cubicBezTo>
                  <a:cubicBezTo>
                    <a:pt x="20857" y="14409"/>
                    <a:pt x="20907" y="13783"/>
                    <a:pt x="20929" y="13162"/>
                  </a:cubicBezTo>
                  <a:cubicBezTo>
                    <a:pt x="20978" y="11806"/>
                    <a:pt x="20985" y="10448"/>
                    <a:pt x="20994" y="9091"/>
                  </a:cubicBezTo>
                  <a:cubicBezTo>
                    <a:pt x="21000" y="8285"/>
                    <a:pt x="21002" y="7479"/>
                    <a:pt x="21002" y="6673"/>
                  </a:cubicBezTo>
                  <a:cubicBezTo>
                    <a:pt x="21002" y="5679"/>
                    <a:pt x="20997" y="4686"/>
                    <a:pt x="20989" y="3692"/>
                  </a:cubicBezTo>
                  <a:cubicBezTo>
                    <a:pt x="20980" y="2572"/>
                    <a:pt x="20794" y="1700"/>
                    <a:pt x="20451" y="1067"/>
                  </a:cubicBezTo>
                  <a:cubicBezTo>
                    <a:pt x="19623" y="-460"/>
                    <a:pt x="15585" y="-698"/>
                    <a:pt x="8619" y="2715"/>
                  </a:cubicBezTo>
                  <a:cubicBezTo>
                    <a:pt x="1654" y="6128"/>
                    <a:pt x="-598" y="9447"/>
                    <a:pt x="131" y="11022"/>
                  </a:cubicBezTo>
                  <a:cubicBezTo>
                    <a:pt x="433" y="11676"/>
                    <a:pt x="1024" y="12349"/>
                    <a:pt x="1921" y="13034"/>
                  </a:cubicBezTo>
                  <a:close/>
                </a:path>
              </a:pathLst>
            </a:custGeom>
            <a:noFill/>
            <a:ln w="19050" cap="flat">
              <a:solidFill>
                <a:schemeClr val="bg1">
                  <a:lumMod val="85000"/>
                </a:schemeClr>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endParaRPr/>
            </a:p>
          </p:txBody>
        </p:sp>
        <p:sp>
          <p:nvSpPr>
            <p:cNvPr id="12" name="íṩḷîḋè">
              <a:extLst>
                <a:ext uri="{FF2B5EF4-FFF2-40B4-BE49-F238E27FC236}">
                  <a16:creationId xmlns:a16="http://schemas.microsoft.com/office/drawing/2014/main" id="{75D947F3-DE78-4237-8551-9494D4599141}"/>
                </a:ext>
              </a:extLst>
            </p:cNvPr>
            <p:cNvSpPr/>
            <p:nvPr/>
          </p:nvSpPr>
          <p:spPr>
            <a:xfrm rot="21540000" flipH="1">
              <a:off x="6360290" y="2310877"/>
              <a:ext cx="681040" cy="677112"/>
            </a:xfrm>
            <a:custGeom>
              <a:avLst/>
              <a:gdLst/>
              <a:ahLst/>
              <a:cxnLst>
                <a:cxn ang="0">
                  <a:pos x="wd2" y="hd2"/>
                </a:cxn>
                <a:cxn ang="5400000">
                  <a:pos x="wd2" y="hd2"/>
                </a:cxn>
                <a:cxn ang="10800000">
                  <a:pos x="wd2" y="hd2"/>
                </a:cxn>
                <a:cxn ang="16200000">
                  <a:pos x="wd2" y="hd2"/>
                </a:cxn>
              </a:cxnLst>
              <a:rect l="0" t="0" r="r" b="b"/>
              <a:pathLst>
                <a:path w="21002" h="20734" extrusionOk="0">
                  <a:moveTo>
                    <a:pt x="1921" y="13034"/>
                  </a:moveTo>
                  <a:cubicBezTo>
                    <a:pt x="3951" y="14584"/>
                    <a:pt x="5994" y="16117"/>
                    <a:pt x="8059" y="17621"/>
                  </a:cubicBezTo>
                  <a:cubicBezTo>
                    <a:pt x="9484" y="18659"/>
                    <a:pt x="10899" y="19796"/>
                    <a:pt x="12594" y="20376"/>
                  </a:cubicBezTo>
                  <a:cubicBezTo>
                    <a:pt x="14131" y="20902"/>
                    <a:pt x="15899" y="20868"/>
                    <a:pt x="17366" y="20139"/>
                  </a:cubicBezTo>
                  <a:cubicBezTo>
                    <a:pt x="19401" y="19127"/>
                    <a:pt x="20472" y="17183"/>
                    <a:pt x="20772" y="15025"/>
                  </a:cubicBezTo>
                  <a:cubicBezTo>
                    <a:pt x="20857" y="14409"/>
                    <a:pt x="20907" y="13783"/>
                    <a:pt x="20929" y="13162"/>
                  </a:cubicBezTo>
                  <a:cubicBezTo>
                    <a:pt x="20978" y="11806"/>
                    <a:pt x="20985" y="10448"/>
                    <a:pt x="20994" y="9091"/>
                  </a:cubicBezTo>
                  <a:cubicBezTo>
                    <a:pt x="21000" y="8285"/>
                    <a:pt x="21002" y="7479"/>
                    <a:pt x="21002" y="6673"/>
                  </a:cubicBezTo>
                  <a:cubicBezTo>
                    <a:pt x="21002" y="5679"/>
                    <a:pt x="20997" y="4686"/>
                    <a:pt x="20989" y="3692"/>
                  </a:cubicBezTo>
                  <a:cubicBezTo>
                    <a:pt x="20980" y="2572"/>
                    <a:pt x="20794" y="1700"/>
                    <a:pt x="20451" y="1067"/>
                  </a:cubicBezTo>
                  <a:cubicBezTo>
                    <a:pt x="19623" y="-460"/>
                    <a:pt x="15585" y="-698"/>
                    <a:pt x="8619" y="2715"/>
                  </a:cubicBezTo>
                  <a:cubicBezTo>
                    <a:pt x="1654" y="6128"/>
                    <a:pt x="-598" y="9447"/>
                    <a:pt x="131" y="11022"/>
                  </a:cubicBezTo>
                  <a:cubicBezTo>
                    <a:pt x="433" y="11676"/>
                    <a:pt x="1024" y="12349"/>
                    <a:pt x="1921" y="13034"/>
                  </a:cubicBezTo>
                  <a:close/>
                </a:path>
              </a:pathLst>
            </a:custGeom>
            <a:solidFill>
              <a:schemeClr val="accent1"/>
            </a:solidFill>
            <a:ln w="19050" cap="flat">
              <a:noFill/>
              <a:miter lim="400000"/>
            </a:ln>
            <a:effectLst/>
          </p:spPr>
          <p:txBody>
            <a:bodyPr vert="horz" wrap="square" lIns="91440" tIns="45720" rIns="91440" bIns="45720" numCol="1" anchor="ctr" anchorCtr="0">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en-US" altLang="zh-CN" sz="1600" b="1">
                  <a:solidFill>
                    <a:schemeClr val="bg1"/>
                  </a:solidFill>
                </a:rPr>
                <a:t>0</a:t>
              </a:r>
              <a:r>
                <a:rPr lang="en-US" altLang="zh-CN" sz="100" b="1">
                  <a:solidFill>
                    <a:schemeClr val="bg1"/>
                  </a:solidFill>
                </a:rPr>
                <a:t> </a:t>
              </a:r>
              <a:r>
                <a:rPr lang="en-US" altLang="zh-CN" sz="1600" b="1">
                  <a:solidFill>
                    <a:schemeClr val="bg1"/>
                  </a:solidFill>
                </a:rPr>
                <a:t>4</a:t>
              </a:r>
              <a:endParaRPr sz="1600" b="1" dirty="0">
                <a:solidFill>
                  <a:schemeClr val="bg1"/>
                </a:solidFill>
              </a:endParaRPr>
            </a:p>
          </p:txBody>
        </p:sp>
        <p:sp>
          <p:nvSpPr>
            <p:cNvPr id="13" name="í$1îḋe">
              <a:extLst>
                <a:ext uri="{FF2B5EF4-FFF2-40B4-BE49-F238E27FC236}">
                  <a16:creationId xmlns:a16="http://schemas.microsoft.com/office/drawing/2014/main" id="{DBAC1F68-7974-4867-BFA9-718E483BDC9A}"/>
                </a:ext>
              </a:extLst>
            </p:cNvPr>
            <p:cNvSpPr/>
            <p:nvPr/>
          </p:nvSpPr>
          <p:spPr>
            <a:xfrm rot="60000">
              <a:off x="6223010" y="2176801"/>
              <a:ext cx="955599" cy="945264"/>
            </a:xfrm>
            <a:custGeom>
              <a:avLst/>
              <a:gdLst/>
              <a:ahLst/>
              <a:cxnLst>
                <a:cxn ang="0">
                  <a:pos x="wd2" y="hd2"/>
                </a:cxn>
                <a:cxn ang="5400000">
                  <a:pos x="wd2" y="hd2"/>
                </a:cxn>
                <a:cxn ang="10800000">
                  <a:pos x="wd2" y="hd2"/>
                </a:cxn>
                <a:cxn ang="16200000">
                  <a:pos x="wd2" y="hd2"/>
                </a:cxn>
              </a:cxnLst>
              <a:rect l="0" t="0" r="r" b="b"/>
              <a:pathLst>
                <a:path w="21012" h="20459" extrusionOk="0">
                  <a:moveTo>
                    <a:pt x="1" y="3733"/>
                  </a:moveTo>
                  <a:cubicBezTo>
                    <a:pt x="40" y="6242"/>
                    <a:pt x="101" y="8751"/>
                    <a:pt x="198" y="11259"/>
                  </a:cubicBezTo>
                  <a:cubicBezTo>
                    <a:pt x="264" y="12990"/>
                    <a:pt x="246" y="14775"/>
                    <a:pt x="841" y="16429"/>
                  </a:cubicBezTo>
                  <a:cubicBezTo>
                    <a:pt x="1380" y="17930"/>
                    <a:pt x="2502" y="19260"/>
                    <a:pt x="3984" y="19932"/>
                  </a:cubicBezTo>
                  <a:cubicBezTo>
                    <a:pt x="6041" y="20864"/>
                    <a:pt x="8234" y="20483"/>
                    <a:pt x="10117" y="19380"/>
                  </a:cubicBezTo>
                  <a:cubicBezTo>
                    <a:pt x="10654" y="19065"/>
                    <a:pt x="11178" y="18717"/>
                    <a:pt x="11680" y="18350"/>
                  </a:cubicBezTo>
                  <a:cubicBezTo>
                    <a:pt x="12777" y="17550"/>
                    <a:pt x="13849" y="16717"/>
                    <a:pt x="14922" y="15887"/>
                  </a:cubicBezTo>
                  <a:cubicBezTo>
                    <a:pt x="15559" y="15393"/>
                    <a:pt x="16195" y="14897"/>
                    <a:pt x="16829" y="14399"/>
                  </a:cubicBezTo>
                  <a:cubicBezTo>
                    <a:pt x="17611" y="13786"/>
                    <a:pt x="18389" y="13168"/>
                    <a:pt x="19165" y="12549"/>
                  </a:cubicBezTo>
                  <a:cubicBezTo>
                    <a:pt x="20041" y="11851"/>
                    <a:pt x="20611" y="11170"/>
                    <a:pt x="20897" y="10517"/>
                  </a:cubicBezTo>
                  <a:cubicBezTo>
                    <a:pt x="21584" y="8941"/>
                    <a:pt x="19270" y="5706"/>
                    <a:pt x="12268" y="2485"/>
                  </a:cubicBezTo>
                  <a:cubicBezTo>
                    <a:pt x="5268" y="-736"/>
                    <a:pt x="1262" y="-409"/>
                    <a:pt x="475" y="1121"/>
                  </a:cubicBezTo>
                  <a:cubicBezTo>
                    <a:pt x="148" y="1756"/>
                    <a:pt x="-16" y="2624"/>
                    <a:pt x="1" y="3733"/>
                  </a:cubicBezTo>
                  <a:close/>
                </a:path>
              </a:pathLst>
            </a:custGeom>
            <a:noFill/>
            <a:ln w="19050" cap="flat">
              <a:solidFill>
                <a:schemeClr val="bg1">
                  <a:lumMod val="85000"/>
                </a:schemeClr>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14" name="ísļîḋè">
              <a:extLst>
                <a:ext uri="{FF2B5EF4-FFF2-40B4-BE49-F238E27FC236}">
                  <a16:creationId xmlns:a16="http://schemas.microsoft.com/office/drawing/2014/main" id="{57DD8B5B-AFAB-4E2E-9D47-DCD7465E66A0}"/>
                </a:ext>
              </a:extLst>
            </p:cNvPr>
            <p:cNvSpPr/>
            <p:nvPr/>
          </p:nvSpPr>
          <p:spPr>
            <a:xfrm rot="60000">
              <a:off x="6838995" y="3059160"/>
              <a:ext cx="955599" cy="945264"/>
            </a:xfrm>
            <a:custGeom>
              <a:avLst/>
              <a:gdLst/>
              <a:ahLst/>
              <a:cxnLst>
                <a:cxn ang="0">
                  <a:pos x="wd2" y="hd2"/>
                </a:cxn>
                <a:cxn ang="5400000">
                  <a:pos x="wd2" y="hd2"/>
                </a:cxn>
                <a:cxn ang="10800000">
                  <a:pos x="wd2" y="hd2"/>
                </a:cxn>
                <a:cxn ang="16200000">
                  <a:pos x="wd2" y="hd2"/>
                </a:cxn>
              </a:cxnLst>
              <a:rect l="0" t="0" r="r" b="b"/>
              <a:pathLst>
                <a:path w="20462" h="21229" extrusionOk="0">
                  <a:moveTo>
                    <a:pt x="10730" y="1262"/>
                  </a:moveTo>
                  <a:cubicBezTo>
                    <a:pt x="8726" y="2820"/>
                    <a:pt x="6735" y="4393"/>
                    <a:pt x="4769" y="5994"/>
                  </a:cubicBezTo>
                  <a:cubicBezTo>
                    <a:pt x="3412" y="7098"/>
                    <a:pt x="1958" y="8172"/>
                    <a:pt x="998" y="9627"/>
                  </a:cubicBezTo>
                  <a:cubicBezTo>
                    <a:pt x="126" y="10946"/>
                    <a:pt x="-237" y="12599"/>
                    <a:pt x="160" y="14124"/>
                  </a:cubicBezTo>
                  <a:cubicBezTo>
                    <a:pt x="712" y="16237"/>
                    <a:pt x="2411" y="17654"/>
                    <a:pt x="4499" y="18398"/>
                  </a:cubicBezTo>
                  <a:cubicBezTo>
                    <a:pt x="5094" y="18610"/>
                    <a:pt x="5708" y="18792"/>
                    <a:pt x="6323" y="18946"/>
                  </a:cubicBezTo>
                  <a:cubicBezTo>
                    <a:pt x="7666" y="19283"/>
                    <a:pt x="9020" y="19582"/>
                    <a:pt x="10373" y="19883"/>
                  </a:cubicBezTo>
                  <a:cubicBezTo>
                    <a:pt x="11176" y="20061"/>
                    <a:pt x="11980" y="20237"/>
                    <a:pt x="12785" y="20411"/>
                  </a:cubicBezTo>
                  <a:cubicBezTo>
                    <a:pt x="13778" y="20624"/>
                    <a:pt x="14770" y="20833"/>
                    <a:pt x="15764" y="21040"/>
                  </a:cubicBezTo>
                  <a:cubicBezTo>
                    <a:pt x="16884" y="21272"/>
                    <a:pt x="17797" y="21287"/>
                    <a:pt x="18506" y="21103"/>
                  </a:cubicBezTo>
                  <a:cubicBezTo>
                    <a:pt x="20216" y="20661"/>
                    <a:pt x="21363" y="16950"/>
                    <a:pt x="19524" y="9724"/>
                  </a:cubicBezTo>
                  <a:cubicBezTo>
                    <a:pt x="17685" y="2499"/>
                    <a:pt x="14878" y="-313"/>
                    <a:pt x="13141" y="27"/>
                  </a:cubicBezTo>
                  <a:cubicBezTo>
                    <a:pt x="12421" y="168"/>
                    <a:pt x="11616" y="573"/>
                    <a:pt x="10730" y="1262"/>
                  </a:cubicBezTo>
                  <a:close/>
                </a:path>
              </a:pathLst>
            </a:custGeom>
            <a:noFill/>
            <a:ln w="19050" cap="flat">
              <a:solidFill>
                <a:schemeClr val="bg1">
                  <a:lumMod val="85000"/>
                </a:schemeClr>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endParaRPr/>
            </a:p>
          </p:txBody>
        </p:sp>
        <p:sp>
          <p:nvSpPr>
            <p:cNvPr id="15" name="ïṩḷîdè">
              <a:extLst>
                <a:ext uri="{FF2B5EF4-FFF2-40B4-BE49-F238E27FC236}">
                  <a16:creationId xmlns:a16="http://schemas.microsoft.com/office/drawing/2014/main" id="{7E00716F-ED13-4935-B34E-10DD936E01CF}"/>
                </a:ext>
              </a:extLst>
            </p:cNvPr>
            <p:cNvSpPr/>
            <p:nvPr/>
          </p:nvSpPr>
          <p:spPr bwMode="auto">
            <a:xfrm>
              <a:off x="6976275" y="3193236"/>
              <a:ext cx="681040" cy="677112"/>
            </a:xfrm>
            <a:custGeom>
              <a:avLst/>
              <a:gdLst>
                <a:gd name="T0" fmla="*/ 6132 w 8291"/>
                <a:gd name="T1" fmla="*/ 8649 h 8758"/>
                <a:gd name="T2" fmla="*/ 3237 w 8291"/>
                <a:gd name="T3" fmla="*/ 7949 h 8758"/>
                <a:gd name="T4" fmla="*/ 1290 w 8291"/>
                <a:gd name="T5" fmla="*/ 7274 h 8758"/>
                <a:gd name="T6" fmla="*/ 193 w 8291"/>
                <a:gd name="T7" fmla="*/ 5786 h 8758"/>
                <a:gd name="T8" fmla="*/ 908 w 8291"/>
                <a:gd name="T9" fmla="*/ 3497 h 8758"/>
                <a:gd name="T10" fmla="*/ 1434 w 8291"/>
                <a:gd name="T11" fmla="*/ 2988 h 8758"/>
                <a:gd name="T12" fmla="*/ 2652 w 8291"/>
                <a:gd name="T13" fmla="*/ 1959 h 8758"/>
                <a:gd name="T14" fmla="*/ 3383 w 8291"/>
                <a:gd name="T15" fmla="*/ 1356 h 8758"/>
                <a:gd name="T16" fmla="*/ 4290 w 8291"/>
                <a:gd name="T17" fmla="*/ 621 h 8758"/>
                <a:gd name="T18" fmla="*/ 5218 w 8291"/>
                <a:gd name="T19" fmla="*/ 130 h 8758"/>
                <a:gd name="T20" fmla="*/ 7619 w 8291"/>
                <a:gd name="T21" fmla="*/ 4083 h 8758"/>
                <a:gd name="T22" fmla="*/ 7181 w 8291"/>
                <a:gd name="T23" fmla="*/ 8686 h 8758"/>
                <a:gd name="T24" fmla="*/ 6132 w 8291"/>
                <a:gd name="T25" fmla="*/ 8649 h 8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91" h="8758">
                  <a:moveTo>
                    <a:pt x="6132" y="8649"/>
                  </a:moveTo>
                  <a:cubicBezTo>
                    <a:pt x="5165" y="8426"/>
                    <a:pt x="4199" y="8194"/>
                    <a:pt x="3237" y="7949"/>
                  </a:cubicBezTo>
                  <a:cubicBezTo>
                    <a:pt x="2573" y="7780"/>
                    <a:pt x="1882" y="7638"/>
                    <a:pt x="1290" y="7274"/>
                  </a:cubicBezTo>
                  <a:cubicBezTo>
                    <a:pt x="754" y="6944"/>
                    <a:pt x="331" y="6407"/>
                    <a:pt x="193" y="5786"/>
                  </a:cubicBezTo>
                  <a:cubicBezTo>
                    <a:pt x="0" y="4926"/>
                    <a:pt x="327" y="4123"/>
                    <a:pt x="908" y="3497"/>
                  </a:cubicBezTo>
                  <a:cubicBezTo>
                    <a:pt x="1074" y="3319"/>
                    <a:pt x="1251" y="3149"/>
                    <a:pt x="1434" y="2988"/>
                  </a:cubicBezTo>
                  <a:cubicBezTo>
                    <a:pt x="1833" y="2637"/>
                    <a:pt x="2243" y="2298"/>
                    <a:pt x="2652" y="1959"/>
                  </a:cubicBezTo>
                  <a:cubicBezTo>
                    <a:pt x="2895" y="1757"/>
                    <a:pt x="3139" y="1556"/>
                    <a:pt x="3383" y="1356"/>
                  </a:cubicBezTo>
                  <a:cubicBezTo>
                    <a:pt x="3685" y="1110"/>
                    <a:pt x="3987" y="865"/>
                    <a:pt x="4290" y="621"/>
                  </a:cubicBezTo>
                  <a:cubicBezTo>
                    <a:pt x="4632" y="345"/>
                    <a:pt x="4942" y="185"/>
                    <a:pt x="5218" y="130"/>
                  </a:cubicBezTo>
                  <a:cubicBezTo>
                    <a:pt x="5884" y="0"/>
                    <a:pt x="6946" y="1150"/>
                    <a:pt x="7619" y="4083"/>
                  </a:cubicBezTo>
                  <a:cubicBezTo>
                    <a:pt x="8291" y="7016"/>
                    <a:pt x="7837" y="8513"/>
                    <a:pt x="7181" y="8686"/>
                  </a:cubicBezTo>
                  <a:cubicBezTo>
                    <a:pt x="6909" y="8758"/>
                    <a:pt x="6560" y="8748"/>
                    <a:pt x="6132" y="8649"/>
                  </a:cubicBezTo>
                </a:path>
              </a:pathLst>
            </a:custGeom>
            <a:solidFill>
              <a:schemeClr val="accent1"/>
            </a:solidFill>
            <a:ln w="0">
              <a:noFill/>
              <a:prstDash val="solid"/>
              <a:round/>
              <a:headEnd/>
              <a:tailEnd/>
            </a:ln>
          </p:spPr>
          <p:txBody>
            <a:bodyPr vert="horz" wrap="square" lIns="91440" tIns="45720" rIns="91440" bIns="45720" numCol="1" anchor="ctr" anchorCtr="0" compatLnSpc="1">
              <a:prstTxWarp prst="textNoShape">
                <a:avLst/>
              </a:prstTxWarp>
              <a:normAutofit/>
            </a:bodyPr>
            <a:lstStyle/>
            <a:p>
              <a:pPr algn="ctr"/>
              <a:r>
                <a:rPr lang="en-US" altLang="zh-CN" sz="1600" b="1">
                  <a:solidFill>
                    <a:schemeClr val="bg1"/>
                  </a:solidFill>
                </a:rPr>
                <a:t>0</a:t>
              </a:r>
              <a:r>
                <a:rPr lang="en-US" altLang="zh-CN" sz="100" b="1">
                  <a:solidFill>
                    <a:schemeClr val="bg1"/>
                  </a:solidFill>
                </a:rPr>
                <a:t> </a:t>
              </a:r>
              <a:r>
                <a:rPr lang="en-US" altLang="zh-CN" sz="1600" b="1">
                  <a:solidFill>
                    <a:schemeClr val="bg1"/>
                  </a:solidFill>
                </a:rPr>
                <a:t>5</a:t>
              </a:r>
              <a:endParaRPr lang="zh-CN" altLang="en-US" sz="1600" b="1" dirty="0">
                <a:solidFill>
                  <a:schemeClr val="bg1"/>
                </a:solidFill>
              </a:endParaRPr>
            </a:p>
          </p:txBody>
        </p:sp>
        <p:sp>
          <p:nvSpPr>
            <p:cNvPr id="16" name="íṩļídê">
              <a:extLst>
                <a:ext uri="{FF2B5EF4-FFF2-40B4-BE49-F238E27FC236}">
                  <a16:creationId xmlns:a16="http://schemas.microsoft.com/office/drawing/2014/main" id="{93486940-E474-4BE8-8CCA-7569FEC1DD84}"/>
                </a:ext>
              </a:extLst>
            </p:cNvPr>
            <p:cNvSpPr/>
            <p:nvPr/>
          </p:nvSpPr>
          <p:spPr>
            <a:xfrm rot="60000">
              <a:off x="6531002" y="4155035"/>
              <a:ext cx="955599" cy="945264"/>
            </a:xfrm>
            <a:custGeom>
              <a:avLst/>
              <a:gdLst/>
              <a:ahLst/>
              <a:cxnLst>
                <a:cxn ang="0">
                  <a:pos x="wd2" y="hd2"/>
                </a:cxn>
                <a:cxn ang="5400000">
                  <a:pos x="wd2" y="hd2"/>
                </a:cxn>
                <a:cxn ang="10800000">
                  <a:pos x="wd2" y="hd2"/>
                </a:cxn>
                <a:cxn ang="16200000">
                  <a:pos x="wd2" y="hd2"/>
                </a:cxn>
              </a:cxnLst>
              <a:rect l="0" t="0" r="r" b="b"/>
              <a:pathLst>
                <a:path w="20646" h="20738" extrusionOk="0">
                  <a:moveTo>
                    <a:pt x="17625" y="2056"/>
                  </a:moveTo>
                  <a:cubicBezTo>
                    <a:pt x="15204" y="1539"/>
                    <a:pt x="12777" y="1043"/>
                    <a:pt x="10344" y="581"/>
                  </a:cubicBezTo>
                  <a:cubicBezTo>
                    <a:pt x="8665" y="262"/>
                    <a:pt x="6953" y="-148"/>
                    <a:pt x="5233" y="53"/>
                  </a:cubicBezTo>
                  <a:cubicBezTo>
                    <a:pt x="3673" y="234"/>
                    <a:pt x="2151" y="1009"/>
                    <a:pt x="1184" y="2272"/>
                  </a:cubicBezTo>
                  <a:cubicBezTo>
                    <a:pt x="-156" y="4023"/>
                    <a:pt x="-264" y="6195"/>
                    <a:pt x="390" y="8232"/>
                  </a:cubicBezTo>
                  <a:cubicBezTo>
                    <a:pt x="577" y="8812"/>
                    <a:pt x="799" y="9388"/>
                    <a:pt x="1043" y="9947"/>
                  </a:cubicBezTo>
                  <a:cubicBezTo>
                    <a:pt x="1575" y="11167"/>
                    <a:pt x="2145" y="12372"/>
                    <a:pt x="2712" y="13577"/>
                  </a:cubicBezTo>
                  <a:cubicBezTo>
                    <a:pt x="3049" y="14292"/>
                    <a:pt x="3389" y="15007"/>
                    <a:pt x="3730" y="15721"/>
                  </a:cubicBezTo>
                  <a:cubicBezTo>
                    <a:pt x="4152" y="16600"/>
                    <a:pt x="4577" y="17477"/>
                    <a:pt x="5005" y="18353"/>
                  </a:cubicBezTo>
                  <a:cubicBezTo>
                    <a:pt x="5488" y="19340"/>
                    <a:pt x="6019" y="20034"/>
                    <a:pt x="6586" y="20450"/>
                  </a:cubicBezTo>
                  <a:cubicBezTo>
                    <a:pt x="7953" y="21452"/>
                    <a:pt x="11565" y="19963"/>
                    <a:pt x="16175" y="14009"/>
                  </a:cubicBezTo>
                  <a:cubicBezTo>
                    <a:pt x="20785" y="8056"/>
                    <a:pt x="21336" y="4170"/>
                    <a:pt x="20035" y="3083"/>
                  </a:cubicBezTo>
                  <a:cubicBezTo>
                    <a:pt x="19495" y="2632"/>
                    <a:pt x="18696" y="2284"/>
                    <a:pt x="17625" y="2056"/>
                  </a:cubicBezTo>
                  <a:close/>
                </a:path>
              </a:pathLst>
            </a:custGeom>
            <a:noFill/>
            <a:ln w="19050" cap="flat">
              <a:solidFill>
                <a:schemeClr val="bg1">
                  <a:lumMod val="85000"/>
                </a:schemeClr>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endParaRPr/>
            </a:p>
          </p:txBody>
        </p:sp>
        <p:sp>
          <p:nvSpPr>
            <p:cNvPr id="17" name="iSḻiďe">
              <a:extLst>
                <a:ext uri="{FF2B5EF4-FFF2-40B4-BE49-F238E27FC236}">
                  <a16:creationId xmlns:a16="http://schemas.microsoft.com/office/drawing/2014/main" id="{6320D8F4-1778-45BB-8298-A770D54B4C8C}"/>
                </a:ext>
              </a:extLst>
            </p:cNvPr>
            <p:cNvSpPr/>
            <p:nvPr/>
          </p:nvSpPr>
          <p:spPr bwMode="auto">
            <a:xfrm>
              <a:off x="6668282" y="4289111"/>
              <a:ext cx="681040" cy="677112"/>
            </a:xfrm>
            <a:custGeom>
              <a:avLst/>
              <a:gdLst>
                <a:gd name="T0" fmla="*/ 7132 w 8640"/>
                <a:gd name="T1" fmla="*/ 777 h 8602"/>
                <a:gd name="T2" fmla="*/ 4199 w 8640"/>
                <a:gd name="T3" fmla="*/ 258 h 8602"/>
                <a:gd name="T4" fmla="*/ 2145 w 8640"/>
                <a:gd name="T5" fmla="*/ 97 h 8602"/>
                <a:gd name="T6" fmla="*/ 543 w 8640"/>
                <a:gd name="T7" fmla="*/ 1020 h 8602"/>
                <a:gd name="T8" fmla="*/ 282 w 8640"/>
                <a:gd name="T9" fmla="*/ 3404 h 8602"/>
                <a:gd name="T10" fmla="*/ 560 w 8640"/>
                <a:gd name="T11" fmla="*/ 4082 h 8602"/>
                <a:gd name="T12" fmla="*/ 1264 w 8640"/>
                <a:gd name="T13" fmla="*/ 5513 h 8602"/>
                <a:gd name="T14" fmla="*/ 1692 w 8640"/>
                <a:gd name="T15" fmla="*/ 6358 h 8602"/>
                <a:gd name="T16" fmla="*/ 2229 w 8640"/>
                <a:gd name="T17" fmla="*/ 7395 h 8602"/>
                <a:gd name="T18" fmla="*/ 2882 w 8640"/>
                <a:gd name="T19" fmla="*/ 8216 h 8602"/>
                <a:gd name="T20" fmla="*/ 6665 w 8640"/>
                <a:gd name="T21" fmla="*/ 5556 h 8602"/>
                <a:gd name="T22" fmla="*/ 8108 w 8640"/>
                <a:gd name="T23" fmla="*/ 1163 h 8602"/>
                <a:gd name="T24" fmla="*/ 7132 w 8640"/>
                <a:gd name="T25" fmla="*/ 777 h 8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0" h="8602">
                  <a:moveTo>
                    <a:pt x="7132" y="777"/>
                  </a:moveTo>
                  <a:cubicBezTo>
                    <a:pt x="6156" y="594"/>
                    <a:pt x="5179" y="419"/>
                    <a:pt x="4199" y="258"/>
                  </a:cubicBezTo>
                  <a:cubicBezTo>
                    <a:pt x="3523" y="148"/>
                    <a:pt x="2833" y="0"/>
                    <a:pt x="2145" y="97"/>
                  </a:cubicBezTo>
                  <a:cubicBezTo>
                    <a:pt x="1522" y="184"/>
                    <a:pt x="919" y="508"/>
                    <a:pt x="543" y="1020"/>
                  </a:cubicBezTo>
                  <a:cubicBezTo>
                    <a:pt x="23" y="1732"/>
                    <a:pt x="0" y="2599"/>
                    <a:pt x="282" y="3404"/>
                  </a:cubicBezTo>
                  <a:cubicBezTo>
                    <a:pt x="363" y="3634"/>
                    <a:pt x="457" y="3861"/>
                    <a:pt x="560" y="4082"/>
                  </a:cubicBezTo>
                  <a:cubicBezTo>
                    <a:pt x="785" y="4563"/>
                    <a:pt x="1025" y="5038"/>
                    <a:pt x="1264" y="5513"/>
                  </a:cubicBezTo>
                  <a:cubicBezTo>
                    <a:pt x="1406" y="5795"/>
                    <a:pt x="1549" y="6076"/>
                    <a:pt x="1692" y="6358"/>
                  </a:cubicBezTo>
                  <a:cubicBezTo>
                    <a:pt x="1870" y="6704"/>
                    <a:pt x="2049" y="7050"/>
                    <a:pt x="2229" y="7395"/>
                  </a:cubicBezTo>
                  <a:cubicBezTo>
                    <a:pt x="2431" y="7784"/>
                    <a:pt x="2651" y="8055"/>
                    <a:pt x="2882" y="8216"/>
                  </a:cubicBezTo>
                  <a:cubicBezTo>
                    <a:pt x="3440" y="8602"/>
                    <a:pt x="4874" y="7974"/>
                    <a:pt x="6665" y="5556"/>
                  </a:cubicBezTo>
                  <a:cubicBezTo>
                    <a:pt x="8456" y="3138"/>
                    <a:pt x="8640" y="1584"/>
                    <a:pt x="8108" y="1163"/>
                  </a:cubicBezTo>
                  <a:cubicBezTo>
                    <a:pt x="7887" y="988"/>
                    <a:pt x="7564" y="857"/>
                    <a:pt x="7132" y="777"/>
                  </a:cubicBezTo>
                </a:path>
              </a:pathLst>
            </a:custGeom>
            <a:solidFill>
              <a:schemeClr val="accent1"/>
            </a:solidFill>
            <a:ln w="0">
              <a:noFill/>
              <a:prstDash val="solid"/>
              <a:round/>
              <a:headEnd/>
              <a:tailEnd/>
            </a:ln>
          </p:spPr>
          <p:txBody>
            <a:bodyPr vert="horz" wrap="square" lIns="91440" tIns="45720" rIns="91440" bIns="45720" numCol="1" anchor="ctr" anchorCtr="0" compatLnSpc="1">
              <a:prstTxWarp prst="textNoShape">
                <a:avLst/>
              </a:prstTxWarp>
              <a:normAutofit/>
            </a:bodyPr>
            <a:lstStyle/>
            <a:p>
              <a:pPr algn="ctr"/>
              <a:r>
                <a:rPr lang="en-US" altLang="zh-CN" sz="1600" b="1">
                  <a:solidFill>
                    <a:schemeClr val="bg1"/>
                  </a:solidFill>
                </a:rPr>
                <a:t>0</a:t>
              </a:r>
              <a:r>
                <a:rPr lang="en-US" altLang="zh-CN" sz="100" b="1">
                  <a:solidFill>
                    <a:schemeClr val="bg1"/>
                  </a:solidFill>
                </a:rPr>
                <a:t> </a:t>
              </a:r>
              <a:r>
                <a:rPr lang="en-US" altLang="zh-CN" sz="1600" b="1">
                  <a:solidFill>
                    <a:schemeClr val="bg1"/>
                  </a:solidFill>
                </a:rPr>
                <a:t>6</a:t>
              </a:r>
              <a:endParaRPr lang="zh-CN" altLang="en-US" sz="1600" b="1" dirty="0">
                <a:solidFill>
                  <a:schemeClr val="bg1"/>
                </a:solidFill>
              </a:endParaRPr>
            </a:p>
          </p:txBody>
        </p:sp>
        <p:sp>
          <p:nvSpPr>
            <p:cNvPr id="18" name="îś1ídé">
              <a:extLst>
                <a:ext uri="{FF2B5EF4-FFF2-40B4-BE49-F238E27FC236}">
                  <a16:creationId xmlns:a16="http://schemas.microsoft.com/office/drawing/2014/main" id="{9EF6C480-800B-4E82-A2B1-CC317561941B}"/>
                </a:ext>
              </a:extLst>
            </p:cNvPr>
            <p:cNvSpPr txBox="1"/>
            <p:nvPr/>
          </p:nvSpPr>
          <p:spPr bwMode="auto">
            <a:xfrm>
              <a:off x="960376" y="4283678"/>
              <a:ext cx="3545024" cy="3300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pPr>
              <a:r>
                <a:rPr lang="en-US" altLang="zh-CN" sz="1600" b="1"/>
                <a:t>Text </a:t>
              </a:r>
              <a:r>
                <a:rPr lang="en-US" altLang="zh-CN" sz="100" b="1"/>
                <a:t> </a:t>
              </a:r>
              <a:r>
                <a:rPr lang="en-US" altLang="zh-CN" sz="1600" b="1"/>
                <a:t>here</a:t>
              </a:r>
              <a:endParaRPr lang="en-US" altLang="zh-CN" sz="1600" b="1" dirty="0"/>
            </a:p>
          </p:txBody>
        </p:sp>
        <p:sp>
          <p:nvSpPr>
            <p:cNvPr id="19" name="ïṧ1íḓè">
              <a:extLst>
                <a:ext uri="{FF2B5EF4-FFF2-40B4-BE49-F238E27FC236}">
                  <a16:creationId xmlns:a16="http://schemas.microsoft.com/office/drawing/2014/main" id="{4569851C-0FE3-4E5F-A410-47B0E56415B6}"/>
                </a:ext>
              </a:extLst>
            </p:cNvPr>
            <p:cNvSpPr/>
            <p:nvPr/>
          </p:nvSpPr>
          <p:spPr bwMode="auto">
            <a:xfrm>
              <a:off x="960376" y="4613681"/>
              <a:ext cx="3545024" cy="35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50000"/>
                </a:lnSpc>
              </a:pPr>
              <a:r>
                <a:rPr lang="en-US" altLang="zh-CN" sz="1100" dirty="0"/>
                <a:t>Copy paste fonts. Choose the </a:t>
              </a:r>
              <a:r>
                <a:rPr lang="en-US" altLang="zh-CN" sz="1100"/>
                <a:t>only opti</a:t>
              </a:r>
              <a:r>
                <a:rPr lang="en-US" altLang="zh-CN" sz="100"/>
                <a:t> </a:t>
              </a:r>
              <a:r>
                <a:rPr lang="en-US" altLang="zh-CN" sz="1100"/>
                <a:t>on </a:t>
              </a:r>
              <a:r>
                <a:rPr lang="en-US" altLang="zh-CN" sz="1100" dirty="0"/>
                <a:t>to retain text.</a:t>
              </a:r>
            </a:p>
          </p:txBody>
        </p:sp>
        <p:cxnSp>
          <p:nvCxnSpPr>
            <p:cNvPr id="20" name="iSḻïḓe">
              <a:extLst>
                <a:ext uri="{FF2B5EF4-FFF2-40B4-BE49-F238E27FC236}">
                  <a16:creationId xmlns:a16="http://schemas.microsoft.com/office/drawing/2014/main" id="{86246AD5-56D4-4585-A33E-9AFAEA93DAEC}"/>
                </a:ext>
              </a:extLst>
            </p:cNvPr>
            <p:cNvCxnSpPr/>
            <p:nvPr/>
          </p:nvCxnSpPr>
          <p:spPr>
            <a:xfrm>
              <a:off x="1012628" y="4613681"/>
              <a:ext cx="344052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1" name="íṧľíḋê">
              <a:extLst>
                <a:ext uri="{FF2B5EF4-FFF2-40B4-BE49-F238E27FC236}">
                  <a16:creationId xmlns:a16="http://schemas.microsoft.com/office/drawing/2014/main" id="{9EF6C480-800B-4E82-A2B1-CC317561941B}"/>
                </a:ext>
              </a:extLst>
            </p:cNvPr>
            <p:cNvSpPr txBox="1"/>
            <p:nvPr/>
          </p:nvSpPr>
          <p:spPr bwMode="auto">
            <a:xfrm>
              <a:off x="673100" y="3187803"/>
              <a:ext cx="3545024" cy="3300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pPr>
              <a:r>
                <a:rPr lang="en-US" altLang="zh-CN" sz="1600" b="1"/>
                <a:t>Text </a:t>
              </a:r>
              <a:r>
                <a:rPr lang="en-US" altLang="zh-CN" sz="100" b="1"/>
                <a:t> </a:t>
              </a:r>
              <a:r>
                <a:rPr lang="en-US" altLang="zh-CN" sz="1600" b="1"/>
                <a:t>here</a:t>
              </a:r>
              <a:endParaRPr lang="en-US" altLang="zh-CN" sz="1600" b="1" dirty="0"/>
            </a:p>
          </p:txBody>
        </p:sp>
        <p:sp>
          <p:nvSpPr>
            <p:cNvPr id="22" name="ïsliḍè">
              <a:extLst>
                <a:ext uri="{FF2B5EF4-FFF2-40B4-BE49-F238E27FC236}">
                  <a16:creationId xmlns:a16="http://schemas.microsoft.com/office/drawing/2014/main" id="{4569851C-0FE3-4E5F-A410-47B0E56415B6}"/>
                </a:ext>
              </a:extLst>
            </p:cNvPr>
            <p:cNvSpPr/>
            <p:nvPr/>
          </p:nvSpPr>
          <p:spPr bwMode="auto">
            <a:xfrm>
              <a:off x="673100" y="3517806"/>
              <a:ext cx="3545024" cy="35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50000"/>
                </a:lnSpc>
              </a:pPr>
              <a:r>
                <a:rPr lang="en-US" altLang="zh-CN" sz="1100" dirty="0"/>
                <a:t>Copy paste fonts. Choose the </a:t>
              </a:r>
              <a:r>
                <a:rPr lang="en-US" altLang="zh-CN" sz="1100"/>
                <a:t>only opti</a:t>
              </a:r>
              <a:r>
                <a:rPr lang="en-US" altLang="zh-CN" sz="100"/>
                <a:t> </a:t>
              </a:r>
              <a:r>
                <a:rPr lang="en-US" altLang="zh-CN" sz="1100"/>
                <a:t>on </a:t>
              </a:r>
              <a:r>
                <a:rPr lang="en-US" altLang="zh-CN" sz="1100" dirty="0"/>
                <a:t>to retain text.</a:t>
              </a:r>
            </a:p>
          </p:txBody>
        </p:sp>
        <p:cxnSp>
          <p:nvCxnSpPr>
            <p:cNvPr id="23" name="íś1îdê">
              <a:extLst>
                <a:ext uri="{FF2B5EF4-FFF2-40B4-BE49-F238E27FC236}">
                  <a16:creationId xmlns:a16="http://schemas.microsoft.com/office/drawing/2014/main" id="{D6E15450-6E79-43F5-B216-A7B6CA589C0F}"/>
                </a:ext>
              </a:extLst>
            </p:cNvPr>
            <p:cNvCxnSpPr/>
            <p:nvPr/>
          </p:nvCxnSpPr>
          <p:spPr>
            <a:xfrm>
              <a:off x="725352" y="3517806"/>
              <a:ext cx="344052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24" name="íṡľiḓe">
              <a:extLst>
                <a:ext uri="{FF2B5EF4-FFF2-40B4-BE49-F238E27FC236}">
                  <a16:creationId xmlns:a16="http://schemas.microsoft.com/office/drawing/2014/main" id="{43CAED1C-FF9B-4C2F-9D78-F5488AD3EA97}"/>
                </a:ext>
              </a:extLst>
            </p:cNvPr>
            <p:cNvGrpSpPr/>
            <p:nvPr/>
          </p:nvGrpSpPr>
          <p:grpSpPr>
            <a:xfrm>
              <a:off x="1247652" y="2305444"/>
              <a:ext cx="3545024" cy="687979"/>
              <a:chOff x="669926" y="4271708"/>
              <a:chExt cx="3545024" cy="687979"/>
            </a:xfrm>
          </p:grpSpPr>
          <p:sp>
            <p:nvSpPr>
              <p:cNvPr id="34" name="í$ḷiḋê">
                <a:extLst>
                  <a:ext uri="{FF2B5EF4-FFF2-40B4-BE49-F238E27FC236}">
                    <a16:creationId xmlns:a16="http://schemas.microsoft.com/office/drawing/2014/main" id="{9EF6C480-800B-4E82-A2B1-CC317561941B}"/>
                  </a:ext>
                </a:extLst>
              </p:cNvPr>
              <p:cNvSpPr txBox="1"/>
              <p:nvPr/>
            </p:nvSpPr>
            <p:spPr bwMode="auto">
              <a:xfrm>
                <a:off x="669926" y="4271708"/>
                <a:ext cx="3545024" cy="3300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pPr>
                <a:r>
                  <a:rPr lang="en-US" altLang="zh-CN" sz="1600" b="1"/>
                  <a:t>Text </a:t>
                </a:r>
                <a:r>
                  <a:rPr lang="en-US" altLang="zh-CN" sz="100" b="1"/>
                  <a:t> </a:t>
                </a:r>
                <a:r>
                  <a:rPr lang="en-US" altLang="zh-CN" sz="1600" b="1"/>
                  <a:t>here</a:t>
                </a:r>
                <a:endParaRPr lang="en-US" altLang="zh-CN" sz="1600" b="1" dirty="0"/>
              </a:p>
            </p:txBody>
          </p:sp>
          <p:sp>
            <p:nvSpPr>
              <p:cNvPr id="35" name="iṡlîḓe">
                <a:extLst>
                  <a:ext uri="{FF2B5EF4-FFF2-40B4-BE49-F238E27FC236}">
                    <a16:creationId xmlns:a16="http://schemas.microsoft.com/office/drawing/2014/main" id="{4569851C-0FE3-4E5F-A410-47B0E56415B6}"/>
                  </a:ext>
                </a:extLst>
              </p:cNvPr>
              <p:cNvSpPr/>
              <p:nvPr/>
            </p:nvSpPr>
            <p:spPr bwMode="auto">
              <a:xfrm>
                <a:off x="669926" y="4601711"/>
                <a:ext cx="3545024" cy="35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50000"/>
                  </a:lnSpc>
                </a:pPr>
                <a:r>
                  <a:rPr lang="en-US" altLang="zh-CN" sz="1100" dirty="0"/>
                  <a:t>Copy paste fonts. Choose the </a:t>
                </a:r>
                <a:r>
                  <a:rPr lang="en-US" altLang="zh-CN" sz="1100"/>
                  <a:t>only opti</a:t>
                </a:r>
                <a:r>
                  <a:rPr lang="en-US" altLang="zh-CN" sz="100"/>
                  <a:t> </a:t>
                </a:r>
                <a:r>
                  <a:rPr lang="en-US" altLang="zh-CN" sz="1100"/>
                  <a:t>on </a:t>
                </a:r>
                <a:r>
                  <a:rPr lang="en-US" altLang="zh-CN" sz="1100" dirty="0"/>
                  <a:t>to retain text.</a:t>
                </a:r>
              </a:p>
            </p:txBody>
          </p:sp>
          <p:cxnSp>
            <p:nvCxnSpPr>
              <p:cNvPr id="36" name="î$1iḑe">
                <a:extLst>
                  <a:ext uri="{FF2B5EF4-FFF2-40B4-BE49-F238E27FC236}">
                    <a16:creationId xmlns:a16="http://schemas.microsoft.com/office/drawing/2014/main" id="{31E84CD9-A9F6-400E-AE1F-BFDE352CD6E4}"/>
                  </a:ext>
                </a:extLst>
              </p:cNvPr>
              <p:cNvCxnSpPr/>
              <p:nvPr/>
            </p:nvCxnSpPr>
            <p:spPr>
              <a:xfrm>
                <a:off x="722178" y="4601711"/>
                <a:ext cx="344052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
          <p:nvSpPr>
            <p:cNvPr id="25" name="îŝľïďé">
              <a:extLst>
                <a:ext uri="{FF2B5EF4-FFF2-40B4-BE49-F238E27FC236}">
                  <a16:creationId xmlns:a16="http://schemas.microsoft.com/office/drawing/2014/main" id="{9EF6C480-800B-4E82-A2B1-CC317561941B}"/>
                </a:ext>
              </a:extLst>
            </p:cNvPr>
            <p:cNvSpPr txBox="1"/>
            <p:nvPr/>
          </p:nvSpPr>
          <p:spPr bwMode="auto">
            <a:xfrm flipH="1">
              <a:off x="7686600" y="4283678"/>
              <a:ext cx="3545024" cy="3300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en-US" altLang="zh-CN" sz="1600" b="1"/>
                <a:t>Text </a:t>
              </a:r>
              <a:r>
                <a:rPr lang="en-US" altLang="zh-CN" sz="100" b="1"/>
                <a:t> </a:t>
              </a:r>
              <a:r>
                <a:rPr lang="en-US" altLang="zh-CN" sz="1600" b="1"/>
                <a:t>here</a:t>
              </a:r>
              <a:endParaRPr lang="en-US" altLang="zh-CN" sz="1600" b="1" dirty="0"/>
            </a:p>
          </p:txBody>
        </p:sp>
        <p:sp>
          <p:nvSpPr>
            <p:cNvPr id="26" name="íṥḻïḍè">
              <a:extLst>
                <a:ext uri="{FF2B5EF4-FFF2-40B4-BE49-F238E27FC236}">
                  <a16:creationId xmlns:a16="http://schemas.microsoft.com/office/drawing/2014/main" id="{4569851C-0FE3-4E5F-A410-47B0E56415B6}"/>
                </a:ext>
              </a:extLst>
            </p:cNvPr>
            <p:cNvSpPr/>
            <p:nvPr/>
          </p:nvSpPr>
          <p:spPr bwMode="auto">
            <a:xfrm flipH="1">
              <a:off x="7686600" y="4613681"/>
              <a:ext cx="3545024" cy="35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dirty="0"/>
                <a:t>Copy paste fonts. Choose the </a:t>
              </a:r>
              <a:r>
                <a:rPr lang="en-US" altLang="zh-CN" sz="1100"/>
                <a:t>only opti</a:t>
              </a:r>
              <a:r>
                <a:rPr lang="en-US" altLang="zh-CN" sz="100"/>
                <a:t> </a:t>
              </a:r>
              <a:r>
                <a:rPr lang="en-US" altLang="zh-CN" sz="1100"/>
                <a:t>on </a:t>
              </a:r>
              <a:r>
                <a:rPr lang="en-US" altLang="zh-CN" sz="1100" dirty="0"/>
                <a:t>to retain text.</a:t>
              </a:r>
            </a:p>
          </p:txBody>
        </p:sp>
        <p:cxnSp>
          <p:nvCxnSpPr>
            <p:cNvPr id="27" name="ïṡ1ide">
              <a:extLst>
                <a:ext uri="{FF2B5EF4-FFF2-40B4-BE49-F238E27FC236}">
                  <a16:creationId xmlns:a16="http://schemas.microsoft.com/office/drawing/2014/main" id="{26980296-2275-4DC6-BD36-4561269B4AFE}"/>
                </a:ext>
              </a:extLst>
            </p:cNvPr>
            <p:cNvCxnSpPr/>
            <p:nvPr/>
          </p:nvCxnSpPr>
          <p:spPr>
            <a:xfrm flipH="1">
              <a:off x="7738852" y="4613681"/>
              <a:ext cx="344052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8" name="iṣḻidê">
              <a:extLst>
                <a:ext uri="{FF2B5EF4-FFF2-40B4-BE49-F238E27FC236}">
                  <a16:creationId xmlns:a16="http://schemas.microsoft.com/office/drawing/2014/main" id="{9EF6C480-800B-4E82-A2B1-CC317561941B}"/>
                </a:ext>
              </a:extLst>
            </p:cNvPr>
            <p:cNvSpPr txBox="1"/>
            <p:nvPr/>
          </p:nvSpPr>
          <p:spPr bwMode="auto">
            <a:xfrm flipH="1">
              <a:off x="7973876" y="3187803"/>
              <a:ext cx="3545024" cy="3300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en-US" altLang="zh-CN" sz="1600" b="1"/>
                <a:t>Text </a:t>
              </a:r>
              <a:r>
                <a:rPr lang="en-US" altLang="zh-CN" sz="100" b="1"/>
                <a:t> </a:t>
              </a:r>
              <a:r>
                <a:rPr lang="en-US" altLang="zh-CN" sz="1600" b="1"/>
                <a:t>here</a:t>
              </a:r>
              <a:endParaRPr lang="en-US" altLang="zh-CN" sz="1600" b="1" dirty="0"/>
            </a:p>
          </p:txBody>
        </p:sp>
        <p:sp>
          <p:nvSpPr>
            <p:cNvPr id="29" name="iṣļïďê">
              <a:extLst>
                <a:ext uri="{FF2B5EF4-FFF2-40B4-BE49-F238E27FC236}">
                  <a16:creationId xmlns:a16="http://schemas.microsoft.com/office/drawing/2014/main" id="{4569851C-0FE3-4E5F-A410-47B0E56415B6}"/>
                </a:ext>
              </a:extLst>
            </p:cNvPr>
            <p:cNvSpPr/>
            <p:nvPr/>
          </p:nvSpPr>
          <p:spPr bwMode="auto">
            <a:xfrm flipH="1">
              <a:off x="7973876" y="3517806"/>
              <a:ext cx="3545024" cy="35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dirty="0"/>
                <a:t>Copy paste fonts. Choose the </a:t>
              </a:r>
              <a:r>
                <a:rPr lang="en-US" altLang="zh-CN" sz="1100"/>
                <a:t>only opti</a:t>
              </a:r>
              <a:r>
                <a:rPr lang="en-US" altLang="zh-CN" sz="100"/>
                <a:t> </a:t>
              </a:r>
              <a:r>
                <a:rPr lang="en-US" altLang="zh-CN" sz="1100"/>
                <a:t>on </a:t>
              </a:r>
              <a:r>
                <a:rPr lang="en-US" altLang="zh-CN" sz="1100" dirty="0"/>
                <a:t>to retain text.</a:t>
              </a:r>
            </a:p>
          </p:txBody>
        </p:sp>
        <p:cxnSp>
          <p:nvCxnSpPr>
            <p:cNvPr id="30" name="ï$ḷíḑe">
              <a:extLst>
                <a:ext uri="{FF2B5EF4-FFF2-40B4-BE49-F238E27FC236}">
                  <a16:creationId xmlns:a16="http://schemas.microsoft.com/office/drawing/2014/main" id="{25CED007-B397-4E14-B628-5DCE82C755E9}"/>
                </a:ext>
              </a:extLst>
            </p:cNvPr>
            <p:cNvCxnSpPr/>
            <p:nvPr/>
          </p:nvCxnSpPr>
          <p:spPr>
            <a:xfrm flipH="1">
              <a:off x="8026128" y="3517806"/>
              <a:ext cx="344052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31" name="ïṩliďé">
              <a:extLst>
                <a:ext uri="{FF2B5EF4-FFF2-40B4-BE49-F238E27FC236}">
                  <a16:creationId xmlns:a16="http://schemas.microsoft.com/office/drawing/2014/main" id="{9EF6C480-800B-4E82-A2B1-CC317561941B}"/>
                </a:ext>
              </a:extLst>
            </p:cNvPr>
            <p:cNvSpPr txBox="1"/>
            <p:nvPr/>
          </p:nvSpPr>
          <p:spPr bwMode="auto">
            <a:xfrm flipH="1">
              <a:off x="7399324" y="2305444"/>
              <a:ext cx="3545024" cy="3300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en-US" altLang="zh-CN" sz="1600" b="1"/>
                <a:t>Text </a:t>
              </a:r>
              <a:r>
                <a:rPr lang="en-US" altLang="zh-CN" sz="100" b="1"/>
                <a:t> </a:t>
              </a:r>
              <a:r>
                <a:rPr lang="en-US" altLang="zh-CN" sz="1600" b="1"/>
                <a:t>here</a:t>
              </a:r>
              <a:endParaRPr lang="en-US" altLang="zh-CN" sz="1600" b="1" dirty="0"/>
            </a:p>
          </p:txBody>
        </p:sp>
        <p:sp>
          <p:nvSpPr>
            <p:cNvPr id="32" name="ïsḻïḓè">
              <a:extLst>
                <a:ext uri="{FF2B5EF4-FFF2-40B4-BE49-F238E27FC236}">
                  <a16:creationId xmlns:a16="http://schemas.microsoft.com/office/drawing/2014/main" id="{4569851C-0FE3-4E5F-A410-47B0E56415B6}"/>
                </a:ext>
              </a:extLst>
            </p:cNvPr>
            <p:cNvSpPr/>
            <p:nvPr/>
          </p:nvSpPr>
          <p:spPr bwMode="auto">
            <a:xfrm flipH="1">
              <a:off x="7399324" y="2635447"/>
              <a:ext cx="3545024" cy="35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dirty="0"/>
                <a:t>Copy paste fonts. Choose the </a:t>
              </a:r>
              <a:r>
                <a:rPr lang="en-US" altLang="zh-CN" sz="1100"/>
                <a:t>only opti</a:t>
              </a:r>
              <a:r>
                <a:rPr lang="en-US" altLang="zh-CN" sz="100"/>
                <a:t> </a:t>
              </a:r>
              <a:r>
                <a:rPr lang="en-US" altLang="zh-CN" sz="1100"/>
                <a:t>on </a:t>
              </a:r>
              <a:r>
                <a:rPr lang="en-US" altLang="zh-CN" sz="1100" dirty="0"/>
                <a:t>to retain text.</a:t>
              </a:r>
            </a:p>
          </p:txBody>
        </p:sp>
        <p:cxnSp>
          <p:nvCxnSpPr>
            <p:cNvPr id="33" name="iṣ1idê">
              <a:extLst>
                <a:ext uri="{FF2B5EF4-FFF2-40B4-BE49-F238E27FC236}">
                  <a16:creationId xmlns:a16="http://schemas.microsoft.com/office/drawing/2014/main" id="{0AFF9DE8-B081-4346-AE9D-CFDE1ED332B6}"/>
                </a:ext>
              </a:extLst>
            </p:cNvPr>
            <p:cNvCxnSpPr/>
            <p:nvPr/>
          </p:nvCxnSpPr>
          <p:spPr>
            <a:xfrm flipH="1">
              <a:off x="7451576" y="2635447"/>
              <a:ext cx="344052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40728411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iśļîḓè"/>
        <p:cNvGrpSpPr/>
        <p:nvPr/>
      </p:nvGrpSpPr>
      <p:grpSpPr>
        <a:xfrm>
          <a:off x="0" y="0"/>
          <a:ext cx="0" cy="0"/>
          <a:chOff x="0" y="0"/>
          <a:chExt cx="0" cy="0"/>
        </a:xfrm>
      </p:grpSpPr>
      <p:sp>
        <p:nvSpPr>
          <p:cNvPr id="2" name="ïśļidè">
            <a:extLst>
              <a:ext uri="{FF2B5EF4-FFF2-40B4-BE49-F238E27FC236}">
                <a16:creationId xmlns:a16="http://schemas.microsoft.com/office/drawing/2014/main" id="{AA87220D-0519-4E09-957F-1AAE11418249}"/>
              </a:ext>
            </a:extLst>
          </p:cNvPr>
          <p:cNvSpPr>
            <a:spLocks noGrp="1"/>
          </p:cNvSpPr>
          <p:nvPr>
            <p:ph type="title"/>
          </p:nvPr>
        </p:nvSpPr>
        <p:spPr/>
        <p:txBody>
          <a:bodyPr/>
          <a:lstStyle/>
          <a:p>
            <a:r>
              <a:rPr lang="en-US" altLang="zh-CN" dirty="0"/>
              <a:t>Click to edit </a:t>
            </a:r>
            <a:r>
              <a:rPr lang="en-US" altLang="zh-CN"/>
              <a:t>Master </a:t>
            </a:r>
            <a:r>
              <a:rPr lang="en-US" altLang="zh-CN" sz="100"/>
              <a:t> </a:t>
            </a:r>
            <a:r>
              <a:rPr lang="en-US" altLang="zh-CN"/>
              <a:t>title </a:t>
            </a:r>
            <a:r>
              <a:rPr lang="en-US" altLang="zh-CN" dirty="0"/>
              <a:t>style</a:t>
            </a:r>
            <a:endParaRPr lang="zh-CN" altLang="en-US" dirty="0"/>
          </a:p>
        </p:txBody>
      </p:sp>
      <p:sp>
        <p:nvSpPr>
          <p:cNvPr id="3" name="îṥḻiḍé">
            <a:extLst>
              <a:ext uri="{FF2B5EF4-FFF2-40B4-BE49-F238E27FC236}">
                <a16:creationId xmlns:a16="http://schemas.microsoft.com/office/drawing/2014/main" id="{1CC3C1B1-5D5B-4D88-979F-EA16A3E9B420}"/>
              </a:ext>
            </a:extLst>
          </p:cNvPr>
          <p:cNvSpPr>
            <a:spLocks noGrp="1"/>
          </p:cNvSpPr>
          <p:nvPr>
            <p:ph type="ftr" sz="quarter" idx="11"/>
          </p:nvPr>
        </p:nvSpPr>
        <p:spPr/>
        <p:txBody>
          <a:bodyPr/>
          <a:lstStyle/>
          <a:p>
            <a:r>
              <a:rPr lang="zh-CN" altLang="en-US"/>
              <a:t>请在插入菜单</a:t>
            </a:r>
            <a:r>
              <a:rPr lang="en-US" altLang="zh-CN"/>
              <a:t>—</a:t>
            </a:r>
            <a:r>
              <a:rPr lang="zh-CN" altLang="en-US"/>
              <a:t>页眉和页</a:t>
            </a:r>
            <a:r>
              <a:rPr lang="zh-CN" altLang="en-US" sz="100"/>
              <a:t> </a:t>
            </a:r>
            <a:r>
              <a:rPr lang="zh-CN" altLang="en-US"/>
              <a:t>脚中修改此文本</a:t>
            </a:r>
            <a:endParaRPr lang="zh-CN" altLang="en-US" dirty="0"/>
          </a:p>
        </p:txBody>
      </p:sp>
      <p:sp>
        <p:nvSpPr>
          <p:cNvPr id="4" name="ïşḷiḋe">
            <a:extLst>
              <a:ext uri="{FF2B5EF4-FFF2-40B4-BE49-F238E27FC236}">
                <a16:creationId xmlns:a16="http://schemas.microsoft.com/office/drawing/2014/main" id="{C8F0D9F1-6263-4B9D-AFD8-33CD550F4478}"/>
              </a:ext>
            </a:extLst>
          </p:cNvPr>
          <p:cNvSpPr>
            <a:spLocks noGrp="1"/>
          </p:cNvSpPr>
          <p:nvPr>
            <p:ph type="sldNum" sz="quarter" idx="12"/>
          </p:nvPr>
        </p:nvSpPr>
        <p:spPr/>
        <p:txBody>
          <a:bodyPr/>
          <a:lstStyle/>
          <a:p>
            <a:fld id="{5DD3DB80-B894-403A-B48E-6FDC1A72010E}" type="slidenum">
              <a:rPr lang="zh-CN" altLang="en-US" smtClean="0"/>
              <a:pPr/>
              <a:t>22</a:t>
            </a:fld>
            <a:r>
              <a:rPr lang="zh-CN" altLang="en-US" sz="100"/>
              <a:t> </a:t>
            </a:r>
          </a:p>
        </p:txBody>
      </p:sp>
      <p:grpSp>
        <p:nvGrpSpPr>
          <p:cNvPr id="37" name="ï$ḷiď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6960AC26-F3D9-460E-BE5E-04BDFF2482C6}"/>
              </a:ext>
            </a:extLst>
          </p:cNvPr>
          <p:cNvGrpSpPr>
            <a:grpSpLocks noChangeAspect="1"/>
          </p:cNvGrpSpPr>
          <p:nvPr/>
        </p:nvGrpSpPr>
        <p:grpSpPr>
          <a:xfrm>
            <a:off x="673102" y="1123950"/>
            <a:ext cx="10845798" cy="5019675"/>
            <a:chOff x="673102" y="1123950"/>
            <a:chExt cx="10845798" cy="5019675"/>
          </a:xfrm>
        </p:grpSpPr>
        <p:sp>
          <p:nvSpPr>
            <p:cNvPr id="38" name="îŝ1ïḋe">
              <a:extLst>
                <a:ext uri="{FF2B5EF4-FFF2-40B4-BE49-F238E27FC236}">
                  <a16:creationId xmlns:a16="http://schemas.microsoft.com/office/drawing/2014/main" id="{4E7BF1B0-B758-4046-90D6-F9420980FA42}"/>
                </a:ext>
              </a:extLst>
            </p:cNvPr>
            <p:cNvSpPr txBox="1"/>
            <p:nvPr/>
          </p:nvSpPr>
          <p:spPr>
            <a:xfrm>
              <a:off x="673103" y="2714881"/>
              <a:ext cx="3670291" cy="714120"/>
            </a:xfrm>
            <a:prstGeom prst="rect">
              <a:avLst/>
            </a:prstGeom>
            <a:noFill/>
            <a:ln>
              <a:noFill/>
            </a:ln>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SzPct val="25000"/>
              </a:pPr>
              <a:r>
                <a:rPr lang="en-US" sz="2000" b="1" dirty="0"/>
                <a:t>Unified fonts make</a:t>
              </a:r>
            </a:p>
            <a:p>
              <a:pPr>
                <a:buSzPct val="25000"/>
              </a:pPr>
              <a:r>
                <a:rPr lang="en-US" sz="2000" b="1"/>
                <a:t>reading</a:t>
              </a:r>
              <a:r>
                <a:rPr lang="en-US" sz="100" b="1"/>
                <a:t> </a:t>
              </a:r>
              <a:r>
                <a:rPr lang="en-US" sz="2000" b="1"/>
                <a:t> </a:t>
              </a:r>
              <a:r>
                <a:rPr lang="en-US" sz="2000" b="1" dirty="0"/>
                <a:t>more fluent.</a:t>
              </a:r>
            </a:p>
          </p:txBody>
        </p:sp>
        <p:sp>
          <p:nvSpPr>
            <p:cNvPr id="39" name="í$ḷïḋé">
              <a:extLst>
                <a:ext uri="{FF2B5EF4-FFF2-40B4-BE49-F238E27FC236}">
                  <a16:creationId xmlns:a16="http://schemas.microsoft.com/office/drawing/2014/main" id="{14DFCFED-CAF9-4807-A871-15BD852F9DD0}"/>
                </a:ext>
              </a:extLst>
            </p:cNvPr>
            <p:cNvSpPr txBox="1"/>
            <p:nvPr/>
          </p:nvSpPr>
          <p:spPr>
            <a:xfrm>
              <a:off x="673102" y="3429000"/>
              <a:ext cx="3670292" cy="911099"/>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buSzPct val="25000"/>
              </a:pPr>
              <a:r>
                <a:rPr lang="en-US" sz="1100" dirty="0"/>
                <a:t>Theme color makes PPT more convenient to change.</a:t>
              </a:r>
            </a:p>
            <a:p>
              <a:pPr>
                <a:lnSpc>
                  <a:spcPct val="150000"/>
                </a:lnSpc>
                <a:buSzPct val="25000"/>
              </a:pPr>
              <a:r>
                <a:rPr lang="en-US" sz="1100" dirty="0"/>
                <a:t>Adjust the spacing to adapt to </a:t>
              </a:r>
              <a:r>
                <a:rPr lang="en-US" sz="1100"/>
                <a:t>Chinese t</a:t>
              </a:r>
              <a:r>
                <a:rPr lang="en-US" sz="100"/>
                <a:t> </a:t>
              </a:r>
              <a:r>
                <a:rPr lang="en-US" sz="1100"/>
                <a:t>ypesetting</a:t>
              </a:r>
              <a:r>
                <a:rPr lang="en-US" sz="1100" dirty="0"/>
                <a:t>, use the reference line in PPT.</a:t>
              </a:r>
            </a:p>
          </p:txBody>
        </p:sp>
        <p:cxnSp>
          <p:nvCxnSpPr>
            <p:cNvPr id="40" name="işḻîḍè">
              <a:extLst>
                <a:ext uri="{FF2B5EF4-FFF2-40B4-BE49-F238E27FC236}">
                  <a16:creationId xmlns:a16="http://schemas.microsoft.com/office/drawing/2014/main" id="{B5AE1D62-B82B-41BE-AA79-FF1A16DBBDF1}"/>
                </a:ext>
              </a:extLst>
            </p:cNvPr>
            <p:cNvCxnSpPr/>
            <p:nvPr/>
          </p:nvCxnSpPr>
          <p:spPr>
            <a:xfrm>
              <a:off x="4500800" y="1123950"/>
              <a:ext cx="0" cy="501967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1" name="íSlîḋe">
              <a:extLst>
                <a:ext uri="{FF2B5EF4-FFF2-40B4-BE49-F238E27FC236}">
                  <a16:creationId xmlns:a16="http://schemas.microsoft.com/office/drawing/2014/main" id="{16B4D332-9C65-4589-8CBA-C532D6548B16}"/>
                </a:ext>
              </a:extLst>
            </p:cNvPr>
            <p:cNvSpPr/>
            <p:nvPr/>
          </p:nvSpPr>
          <p:spPr>
            <a:xfrm>
              <a:off x="4783136" y="2296232"/>
              <a:ext cx="3303462" cy="1843968"/>
            </a:xfrm>
            <a:prstGeom prst="rect">
              <a:avLst/>
            </a:prstGeom>
            <a:blipFill>
              <a:blip r:embed="rId4"/>
              <a:srcRect/>
              <a:stretch>
                <a:fillRect t="-9782" b="-9650"/>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p>
          </p:txBody>
        </p:sp>
        <p:sp>
          <p:nvSpPr>
            <p:cNvPr id="42" name="íS1îḑé">
              <a:extLst>
                <a:ext uri="{FF2B5EF4-FFF2-40B4-BE49-F238E27FC236}">
                  <a16:creationId xmlns:a16="http://schemas.microsoft.com/office/drawing/2014/main" id="{EFCDF1A4-59D4-4FFC-9F3E-2DD3B03A63C9}"/>
                </a:ext>
              </a:extLst>
            </p:cNvPr>
            <p:cNvSpPr/>
            <p:nvPr/>
          </p:nvSpPr>
          <p:spPr>
            <a:xfrm>
              <a:off x="8215430" y="2296232"/>
              <a:ext cx="3303462" cy="1843968"/>
            </a:xfrm>
            <a:prstGeom prst="rect">
              <a:avLst/>
            </a:prstGeom>
            <a:blipFill>
              <a:blip r:embed="rId5"/>
              <a:srcRect/>
              <a:stretch>
                <a:fillRect t="-9830" b="-9696"/>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dirty="0"/>
            </a:p>
          </p:txBody>
        </p:sp>
        <p:sp>
          <p:nvSpPr>
            <p:cNvPr id="43" name="îŝľíḋè">
              <a:extLst>
                <a:ext uri="{FF2B5EF4-FFF2-40B4-BE49-F238E27FC236}">
                  <a16:creationId xmlns:a16="http://schemas.microsoft.com/office/drawing/2014/main" id="{879B6C21-919C-45D2-A972-685E8106A820}"/>
                </a:ext>
              </a:extLst>
            </p:cNvPr>
            <p:cNvSpPr/>
            <p:nvPr/>
          </p:nvSpPr>
          <p:spPr>
            <a:xfrm>
              <a:off x="4783136" y="3733935"/>
              <a:ext cx="3303456" cy="406265"/>
            </a:xfrm>
            <a:prstGeom prst="rect">
              <a:avLst/>
            </a:prstGeom>
            <a:solidFill>
              <a:schemeClr val="tx1">
                <a:lumMod val="50000"/>
                <a:lumOff val="50000"/>
                <a:alpha val="70000"/>
              </a:schemeClr>
            </a:solidFill>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b="1">
                  <a:solidFill>
                    <a:schemeClr val="bg1"/>
                  </a:solidFill>
                </a:rPr>
                <a:t>Text </a:t>
              </a:r>
              <a:r>
                <a:rPr lang="en-US" altLang="zh-CN" sz="100" b="1">
                  <a:solidFill>
                    <a:schemeClr val="bg1"/>
                  </a:solidFill>
                </a:rPr>
                <a:t> </a:t>
              </a:r>
              <a:r>
                <a:rPr lang="en-US" altLang="zh-CN" b="1">
                  <a:solidFill>
                    <a:schemeClr val="bg1"/>
                  </a:solidFill>
                </a:rPr>
                <a:t>here</a:t>
              </a:r>
              <a:endParaRPr lang="zh-CN" altLang="en-US" b="1" dirty="0">
                <a:solidFill>
                  <a:schemeClr val="bg1"/>
                </a:solidFill>
              </a:endParaRPr>
            </a:p>
          </p:txBody>
        </p:sp>
        <p:sp>
          <p:nvSpPr>
            <p:cNvPr id="44" name="iŝľîḑe">
              <a:extLst>
                <a:ext uri="{FF2B5EF4-FFF2-40B4-BE49-F238E27FC236}">
                  <a16:creationId xmlns:a16="http://schemas.microsoft.com/office/drawing/2014/main" id="{B14DE12F-E118-4DA9-B66E-3C3F8BB66237}"/>
                </a:ext>
              </a:extLst>
            </p:cNvPr>
            <p:cNvSpPr/>
            <p:nvPr/>
          </p:nvSpPr>
          <p:spPr>
            <a:xfrm>
              <a:off x="8215424" y="3733935"/>
              <a:ext cx="3303456" cy="406265"/>
            </a:xfrm>
            <a:prstGeom prst="rect">
              <a:avLst/>
            </a:prstGeom>
            <a:solidFill>
              <a:schemeClr val="tx1">
                <a:lumMod val="50000"/>
                <a:lumOff val="50000"/>
                <a:alpha val="70000"/>
              </a:schemeClr>
            </a:solidFill>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altLang="zh-CN" b="1">
                  <a:solidFill>
                    <a:schemeClr val="bg1"/>
                  </a:solidFill>
                </a:rPr>
                <a:t>Text </a:t>
              </a:r>
              <a:r>
                <a:rPr lang="en-US" altLang="zh-CN" sz="100" b="1">
                  <a:solidFill>
                    <a:schemeClr val="bg1"/>
                  </a:solidFill>
                </a:rPr>
                <a:t> </a:t>
              </a:r>
              <a:r>
                <a:rPr lang="en-US" altLang="zh-CN" b="1">
                  <a:solidFill>
                    <a:schemeClr val="bg1"/>
                  </a:solidFill>
                </a:rPr>
                <a:t>here</a:t>
              </a:r>
              <a:endParaRPr lang="zh-CN" altLang="en-US" b="1" dirty="0">
                <a:solidFill>
                  <a:schemeClr val="bg1"/>
                </a:solidFill>
              </a:endParaRPr>
            </a:p>
          </p:txBody>
        </p:sp>
        <p:sp>
          <p:nvSpPr>
            <p:cNvPr id="45" name="ïşḷidè">
              <a:extLst>
                <a:ext uri="{FF2B5EF4-FFF2-40B4-BE49-F238E27FC236}">
                  <a16:creationId xmlns:a16="http://schemas.microsoft.com/office/drawing/2014/main" id="{FA4D6A5E-6F27-46FB-8A90-900E325ACA10}"/>
                </a:ext>
              </a:extLst>
            </p:cNvPr>
            <p:cNvSpPr/>
            <p:nvPr/>
          </p:nvSpPr>
          <p:spPr bwMode="auto">
            <a:xfrm>
              <a:off x="4783136" y="4290885"/>
              <a:ext cx="3303453" cy="1287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150000"/>
                </a:lnSpc>
                <a:buSzPct val="25000"/>
                <a:defRPr/>
              </a:pPr>
              <a:r>
                <a:rPr lang="en-US" altLang="zh-CN" sz="1200" dirty="0"/>
                <a:t>Copy paste fonts. Choose the </a:t>
              </a:r>
              <a:r>
                <a:rPr lang="en-US" altLang="zh-CN" sz="1200"/>
                <a:t>only option</a:t>
              </a:r>
              <a:r>
                <a:rPr lang="en-US" altLang="zh-CN" sz="100"/>
                <a:t> </a:t>
              </a:r>
              <a:r>
                <a:rPr lang="en-US" altLang="zh-CN" sz="1200"/>
                <a:t> </a:t>
              </a:r>
              <a:r>
                <a:rPr lang="en-US" altLang="zh-CN" sz="1200" dirty="0"/>
                <a:t>to retain text.</a:t>
              </a:r>
            </a:p>
            <a:p>
              <a:pPr lvl="0" algn="ctr">
                <a:lnSpc>
                  <a:spcPct val="150000"/>
                </a:lnSpc>
                <a:buSzPct val="25000"/>
                <a:defRPr/>
              </a:pPr>
              <a:endParaRPr lang="en-US" altLang="zh-CN" sz="1200" dirty="0"/>
            </a:p>
            <a:p>
              <a:pPr lvl="0" algn="ctr">
                <a:lnSpc>
                  <a:spcPct val="150000"/>
                </a:lnSpc>
                <a:buSzPct val="25000"/>
                <a:defRPr/>
              </a:pPr>
              <a:r>
                <a:rPr lang="en-US" altLang="zh-CN" sz="1200" dirty="0"/>
                <a:t>……</a:t>
              </a:r>
              <a:endParaRPr lang="de-DE" altLang="zh-CN" sz="1200" dirty="0"/>
            </a:p>
          </p:txBody>
        </p:sp>
        <p:sp>
          <p:nvSpPr>
            <p:cNvPr id="46" name="iśḻîḓê">
              <a:extLst>
                <a:ext uri="{FF2B5EF4-FFF2-40B4-BE49-F238E27FC236}">
                  <a16:creationId xmlns:a16="http://schemas.microsoft.com/office/drawing/2014/main" id="{CBE9DAF2-AE96-4A5B-B46E-1F1F438E135C}"/>
                </a:ext>
              </a:extLst>
            </p:cNvPr>
            <p:cNvSpPr/>
            <p:nvPr/>
          </p:nvSpPr>
          <p:spPr bwMode="auto">
            <a:xfrm>
              <a:off x="8215447" y="4290885"/>
              <a:ext cx="3303453" cy="1287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150000"/>
                </a:lnSpc>
                <a:buSzPct val="25000"/>
                <a:defRPr/>
              </a:pPr>
              <a:r>
                <a:rPr lang="en-US" altLang="zh-CN" sz="1200" dirty="0"/>
                <a:t>Copy paste fonts. Choose the </a:t>
              </a:r>
              <a:r>
                <a:rPr lang="en-US" altLang="zh-CN" sz="1200"/>
                <a:t>only option</a:t>
              </a:r>
              <a:r>
                <a:rPr lang="en-US" altLang="zh-CN" sz="100"/>
                <a:t> </a:t>
              </a:r>
              <a:r>
                <a:rPr lang="en-US" altLang="zh-CN" sz="1200"/>
                <a:t> </a:t>
              </a:r>
              <a:r>
                <a:rPr lang="en-US" altLang="zh-CN" sz="1200" dirty="0"/>
                <a:t>to retain text.</a:t>
              </a:r>
            </a:p>
            <a:p>
              <a:pPr lvl="0" algn="ctr">
                <a:lnSpc>
                  <a:spcPct val="150000"/>
                </a:lnSpc>
                <a:buSzPct val="25000"/>
                <a:defRPr/>
              </a:pPr>
              <a:endParaRPr lang="en-US" altLang="zh-CN" sz="1200" dirty="0"/>
            </a:p>
            <a:p>
              <a:pPr lvl="0" algn="ctr">
                <a:lnSpc>
                  <a:spcPct val="150000"/>
                </a:lnSpc>
                <a:buSzPct val="25000"/>
                <a:defRPr/>
              </a:pPr>
              <a:r>
                <a:rPr lang="en-US" altLang="zh-CN" sz="1200" dirty="0"/>
                <a:t>……</a:t>
              </a:r>
              <a:endParaRPr lang="de-DE" altLang="zh-CN" sz="1200" dirty="0"/>
            </a:p>
          </p:txBody>
        </p:sp>
      </p:grpSp>
    </p:spTree>
    <p:custDataLst>
      <p:tags r:id="rId2"/>
    </p:custDataLst>
    <p:extLst>
      <p:ext uri="{BB962C8B-B14F-4D97-AF65-F5344CB8AC3E}">
        <p14:creationId xmlns:p14="http://schemas.microsoft.com/office/powerpoint/2010/main" val="42545589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isľiḑe"/>
        <p:cNvGrpSpPr/>
        <p:nvPr/>
      </p:nvGrpSpPr>
      <p:grpSpPr>
        <a:xfrm>
          <a:off x="0" y="0"/>
          <a:ext cx="0" cy="0"/>
          <a:chOff x="0" y="0"/>
          <a:chExt cx="0" cy="0"/>
        </a:xfrm>
      </p:grpSpPr>
      <p:sp>
        <p:nvSpPr>
          <p:cNvPr id="2" name="işļiḋè">
            <a:extLst>
              <a:ext uri="{FF2B5EF4-FFF2-40B4-BE49-F238E27FC236}">
                <a16:creationId xmlns:a16="http://schemas.microsoft.com/office/drawing/2014/main" id="{0F91C988-414B-4E5F-85DC-B23A92E08D2F}"/>
              </a:ext>
            </a:extLst>
          </p:cNvPr>
          <p:cNvSpPr>
            <a:spLocks noGrp="1"/>
          </p:cNvSpPr>
          <p:nvPr>
            <p:ph type="title"/>
          </p:nvPr>
        </p:nvSpPr>
        <p:spPr/>
        <p:txBody>
          <a:bodyPr/>
          <a:lstStyle/>
          <a:p>
            <a:r>
              <a:rPr lang="en-US" altLang="zh-CN" dirty="0"/>
              <a:t>Click to edit </a:t>
            </a:r>
            <a:r>
              <a:rPr lang="en-US" altLang="zh-CN"/>
              <a:t>Master </a:t>
            </a:r>
            <a:r>
              <a:rPr lang="en-US" altLang="zh-CN" sz="100"/>
              <a:t> </a:t>
            </a:r>
            <a:r>
              <a:rPr lang="en-US" altLang="zh-CN"/>
              <a:t>title </a:t>
            </a:r>
            <a:r>
              <a:rPr lang="en-US" altLang="zh-CN" dirty="0"/>
              <a:t>style</a:t>
            </a:r>
            <a:endParaRPr lang="zh-CN" altLang="en-US" dirty="0"/>
          </a:p>
        </p:txBody>
      </p:sp>
      <p:sp>
        <p:nvSpPr>
          <p:cNvPr id="3" name="iŝļîḑé">
            <a:extLst>
              <a:ext uri="{FF2B5EF4-FFF2-40B4-BE49-F238E27FC236}">
                <a16:creationId xmlns:a16="http://schemas.microsoft.com/office/drawing/2014/main" id="{02AA753E-F769-4794-9232-0ABF7BE945BC}"/>
              </a:ext>
            </a:extLst>
          </p:cNvPr>
          <p:cNvSpPr>
            <a:spLocks noGrp="1"/>
          </p:cNvSpPr>
          <p:nvPr>
            <p:ph type="ftr" sz="quarter" idx="11"/>
          </p:nvPr>
        </p:nvSpPr>
        <p:spPr/>
        <p:txBody>
          <a:bodyPr/>
          <a:lstStyle/>
          <a:p>
            <a:r>
              <a:rPr lang="zh-CN" altLang="en-US"/>
              <a:t>请在插入菜单</a:t>
            </a:r>
            <a:r>
              <a:rPr lang="en-US" altLang="zh-CN"/>
              <a:t>—</a:t>
            </a:r>
            <a:r>
              <a:rPr lang="zh-CN" altLang="en-US"/>
              <a:t>页眉和页</a:t>
            </a:r>
            <a:r>
              <a:rPr lang="zh-CN" altLang="en-US" sz="100"/>
              <a:t> </a:t>
            </a:r>
            <a:r>
              <a:rPr lang="zh-CN" altLang="en-US"/>
              <a:t>脚中修改此文本</a:t>
            </a:r>
            <a:endParaRPr lang="zh-CN" altLang="en-US" dirty="0"/>
          </a:p>
        </p:txBody>
      </p:sp>
      <p:sp>
        <p:nvSpPr>
          <p:cNvPr id="4" name="ïṧľiḓè">
            <a:extLst>
              <a:ext uri="{FF2B5EF4-FFF2-40B4-BE49-F238E27FC236}">
                <a16:creationId xmlns:a16="http://schemas.microsoft.com/office/drawing/2014/main" id="{FA455FD5-D3AD-49B0-B449-EC60B7542A12}"/>
              </a:ext>
            </a:extLst>
          </p:cNvPr>
          <p:cNvSpPr>
            <a:spLocks noGrp="1"/>
          </p:cNvSpPr>
          <p:nvPr>
            <p:ph type="sldNum" sz="quarter" idx="12"/>
          </p:nvPr>
        </p:nvSpPr>
        <p:spPr/>
        <p:txBody>
          <a:bodyPr/>
          <a:lstStyle/>
          <a:p>
            <a:fld id="{5DD3DB80-B894-403A-B48E-6FDC1A72010E}" type="slidenum">
              <a:rPr lang="zh-CN" altLang="en-US" smtClean="0"/>
              <a:pPr/>
              <a:t>23</a:t>
            </a:fld>
            <a:r>
              <a:rPr lang="zh-CN" altLang="en-US" sz="100"/>
              <a:t> </a:t>
            </a:r>
          </a:p>
        </p:txBody>
      </p:sp>
      <p:grpSp>
        <p:nvGrpSpPr>
          <p:cNvPr id="65" name="í$ḻïḍ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1BA9EA9-1969-4530-B0D3-87384C0B3EDD}"/>
              </a:ext>
            </a:extLst>
          </p:cNvPr>
          <p:cNvGrpSpPr>
            <a:grpSpLocks noChangeAspect="1"/>
          </p:cNvGrpSpPr>
          <p:nvPr/>
        </p:nvGrpSpPr>
        <p:grpSpPr>
          <a:xfrm>
            <a:off x="669925" y="1435178"/>
            <a:ext cx="10848975" cy="4708447"/>
            <a:chOff x="669925" y="1435178"/>
            <a:chExt cx="10848975" cy="4708447"/>
          </a:xfrm>
        </p:grpSpPr>
        <p:grpSp>
          <p:nvGrpSpPr>
            <p:cNvPr id="66" name="îSḻîḍe">
              <a:extLst>
                <a:ext uri="{FF2B5EF4-FFF2-40B4-BE49-F238E27FC236}">
                  <a16:creationId xmlns:a16="http://schemas.microsoft.com/office/drawing/2014/main" id="{74B3DC25-BB87-45E4-8F86-88A5F5BCCB24}"/>
                </a:ext>
              </a:extLst>
            </p:cNvPr>
            <p:cNvGrpSpPr/>
            <p:nvPr/>
          </p:nvGrpSpPr>
          <p:grpSpPr>
            <a:xfrm>
              <a:off x="669925" y="2434788"/>
              <a:ext cx="4056742" cy="3407135"/>
              <a:chOff x="669925" y="1488214"/>
              <a:chExt cx="4056742" cy="3407135"/>
            </a:xfrm>
          </p:grpSpPr>
          <p:grpSp>
            <p:nvGrpSpPr>
              <p:cNvPr id="83" name="ïS1iḑé">
                <a:extLst>
                  <a:ext uri="{FF2B5EF4-FFF2-40B4-BE49-F238E27FC236}">
                    <a16:creationId xmlns:a16="http://schemas.microsoft.com/office/drawing/2014/main" id="{0A7DE1F9-87F7-4627-947C-3B34124C8D84}"/>
                  </a:ext>
                </a:extLst>
              </p:cNvPr>
              <p:cNvGrpSpPr/>
              <p:nvPr/>
            </p:nvGrpSpPr>
            <p:grpSpPr>
              <a:xfrm>
                <a:off x="669925" y="1488214"/>
                <a:ext cx="4056742" cy="3407135"/>
                <a:chOff x="1127448" y="1664803"/>
                <a:chExt cx="4844146" cy="4068453"/>
              </a:xfrm>
            </p:grpSpPr>
            <p:sp>
              <p:nvSpPr>
                <p:cNvPr id="89" name="îṧḷíďè">
                  <a:extLst>
                    <a:ext uri="{FF2B5EF4-FFF2-40B4-BE49-F238E27FC236}">
                      <a16:creationId xmlns:a16="http://schemas.microsoft.com/office/drawing/2014/main" id="{BFFF8AFB-E25F-40FE-BC94-22AB77EADFE9}"/>
                    </a:ext>
                  </a:extLst>
                </p:cNvPr>
                <p:cNvSpPr/>
                <p:nvPr/>
              </p:nvSpPr>
              <p:spPr bwMode="auto">
                <a:xfrm>
                  <a:off x="2672089" y="5707399"/>
                  <a:ext cx="1779597" cy="25857"/>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a:extLst>
                  <a:ext uri="{91240B29-F687-4f45-9708-019B960494DF}">
                    <a14:hiddenLine xmlns="" xmlns:lc="http://schemas.openxmlformats.org/drawingml/2006/lockedCanvas" xmlns:a16="http://schemas.microsoft.com/office/drawing/2014/main" xmlns:p14="http://schemas.microsoft.com/office/powerpoint/2010/main" xmlns:a14="http://schemas.microsoft.com/office/drawing/2010/main" w="9525" cap="flat">
                      <a:solidFill>
                        <a:srgbClr val="808080"/>
                      </a:solidFill>
                      <a:bevel/>
                      <a:headEnd/>
                      <a:tailEnd/>
                    </a14:hiddenLine>
                  </a:ext>
                  <a:ext uri="{AF507438-7753-43e0-B8FC-AC1667EBCBE1}">
                    <a14:hiddenEffects xmlns="" xmlns:lc="http://schemas.openxmlformats.org/drawingml/2006/lockedCanva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0" name="îṡḷiḑe">
                  <a:extLst>
                    <a:ext uri="{FF2B5EF4-FFF2-40B4-BE49-F238E27FC236}">
                      <a16:creationId xmlns:a16="http://schemas.microsoft.com/office/drawing/2014/main" id="{068A78D5-1E30-43E6-A1EC-D5945E0E8B5D}"/>
                    </a:ext>
                  </a:extLst>
                </p:cNvPr>
                <p:cNvSpPr/>
                <p:nvPr/>
              </p:nvSpPr>
              <p:spPr bwMode="auto">
                <a:xfrm>
                  <a:off x="1127448" y="1664803"/>
                  <a:ext cx="4844146" cy="2931894"/>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chemeClr val="tx1"/>
                </a:solidFill>
                <a:ln>
                  <a:noFill/>
                </a:ln>
                <a:effectLst/>
                <a:extLst>
                  <a:ext uri="{91240B29-F687-4f45-9708-019B960494DF}">
                    <a14:hiddenLine xmlns="" xmlns:lc="http://schemas.openxmlformats.org/drawingml/2006/lockedCanvas" xmlns:a16="http://schemas.microsoft.com/office/drawing/2014/main" xmlns:p14="http://schemas.microsoft.com/office/powerpoint/2010/main" xmlns:a14="http://schemas.microsoft.com/office/drawing/2010/main" w="9525" cap="flat">
                      <a:solidFill>
                        <a:srgbClr val="808080"/>
                      </a:solidFill>
                      <a:bevel/>
                      <a:headEnd/>
                      <a:tailEnd/>
                    </a14:hiddenLine>
                  </a:ext>
                  <a:ext uri="{AF507438-7753-43e0-B8FC-AC1667EBCBE1}">
                    <a14:hiddenEffects xmlns="" xmlns:lc="http://schemas.openxmlformats.org/drawingml/2006/lockedCanva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1" name="íşľiḓè">
                  <a:extLst>
                    <a:ext uri="{FF2B5EF4-FFF2-40B4-BE49-F238E27FC236}">
                      <a16:creationId xmlns:a16="http://schemas.microsoft.com/office/drawing/2014/main" id="{7F330C8D-CD31-4425-BEDF-B10D4CBF0F2F}"/>
                    </a:ext>
                  </a:extLst>
                </p:cNvPr>
                <p:cNvSpPr/>
                <p:nvPr/>
              </p:nvSpPr>
              <p:spPr bwMode="auto">
                <a:xfrm>
                  <a:off x="2672089" y="5131812"/>
                  <a:ext cx="1779597" cy="590202"/>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a:extLst>
                  <a:ext uri="{91240B29-F687-4f45-9708-019B960494DF}">
                    <a14:hiddenLine xmlns="" xmlns:lc="http://schemas.openxmlformats.org/drawingml/2006/lockedCanvas" xmlns:a16="http://schemas.microsoft.com/office/drawing/2014/main" xmlns:p14="http://schemas.microsoft.com/office/powerpoint/2010/main" xmlns:a14="http://schemas.microsoft.com/office/drawing/2010/main" w="9525" cap="flat">
                      <a:solidFill>
                        <a:srgbClr val="808080"/>
                      </a:solidFill>
                      <a:bevel/>
                      <a:headEnd/>
                      <a:tailEnd/>
                    </a14:hiddenLine>
                  </a:ext>
                  <a:ext uri="{AF507438-7753-43e0-B8FC-AC1667EBCBE1}">
                    <a14:hiddenEffects xmlns="" xmlns:lc="http://schemas.openxmlformats.org/drawingml/2006/lockedCanva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2" name="iśľíḍe">
                  <a:extLst>
                    <a:ext uri="{FF2B5EF4-FFF2-40B4-BE49-F238E27FC236}">
                      <a16:creationId xmlns:a16="http://schemas.microsoft.com/office/drawing/2014/main" id="{BA6310AF-64B0-40EC-A6D6-EE0528AB12FD}"/>
                    </a:ext>
                  </a:extLst>
                </p:cNvPr>
                <p:cNvSpPr/>
                <p:nvPr/>
              </p:nvSpPr>
              <p:spPr bwMode="auto">
                <a:xfrm>
                  <a:off x="1127448" y="4596697"/>
                  <a:ext cx="4844146" cy="536240"/>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a:extLst>
                  <a:ext uri="{91240B29-F687-4f45-9708-019B960494DF}">
                    <a14:hiddenLine xmlns="" xmlns:lc="http://schemas.openxmlformats.org/drawingml/2006/lockedCanvas" xmlns:a16="http://schemas.microsoft.com/office/drawing/2014/main" xmlns:p14="http://schemas.microsoft.com/office/powerpoint/2010/main" xmlns:a14="http://schemas.microsoft.com/office/drawing/2010/main" w="9525" cap="flat">
                      <a:solidFill>
                        <a:srgbClr val="808080"/>
                      </a:solidFill>
                      <a:bevel/>
                      <a:headEnd/>
                      <a:tailEnd/>
                    </a14:hiddenLine>
                  </a:ext>
                  <a:ext uri="{AF507438-7753-43e0-B8FC-AC1667EBCBE1}">
                    <a14:hiddenEffects xmlns="" xmlns:lc="http://schemas.openxmlformats.org/drawingml/2006/lockedCanva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3" name="íŝľíḓé">
                  <a:extLst>
                    <a:ext uri="{FF2B5EF4-FFF2-40B4-BE49-F238E27FC236}">
                      <a16:creationId xmlns:a16="http://schemas.microsoft.com/office/drawing/2014/main" id="{D16074E2-99BF-47A1-87BC-4FD78B74E8E0}"/>
                    </a:ext>
                  </a:extLst>
                </p:cNvPr>
                <p:cNvSpPr/>
                <p:nvPr/>
              </p:nvSpPr>
              <p:spPr bwMode="auto">
                <a:xfrm>
                  <a:off x="2672089" y="5679295"/>
                  <a:ext cx="1779597" cy="42719"/>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a:extLst>
                  <a:ext uri="{91240B29-F687-4f45-9708-019B960494DF}">
                    <a14:hiddenLine xmlns="" xmlns:lc="http://schemas.openxmlformats.org/drawingml/2006/lockedCanvas" xmlns:a16="http://schemas.microsoft.com/office/drawing/2014/main" xmlns:p14="http://schemas.microsoft.com/office/powerpoint/2010/main" xmlns:a14="http://schemas.microsoft.com/office/drawing/2010/main" w="9525" cap="flat">
                      <a:solidFill>
                        <a:srgbClr val="808080"/>
                      </a:solidFill>
                      <a:bevel/>
                      <a:headEnd/>
                      <a:tailEnd/>
                    </a14:hiddenLine>
                  </a:ext>
                  <a:ext uri="{AF507438-7753-43e0-B8FC-AC1667EBCBE1}">
                    <a14:hiddenEffects xmlns="" xmlns:lc="http://schemas.openxmlformats.org/drawingml/2006/lockedCanva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4" name="îṧlîḍê">
                  <a:extLst>
                    <a:ext uri="{FF2B5EF4-FFF2-40B4-BE49-F238E27FC236}">
                      <a16:creationId xmlns:a16="http://schemas.microsoft.com/office/drawing/2014/main" id="{16584459-78EF-4FA0-A07B-49ADFB2D6C9D}"/>
                    </a:ext>
                  </a:extLst>
                </p:cNvPr>
                <p:cNvSpPr/>
                <p:nvPr/>
              </p:nvSpPr>
              <p:spPr bwMode="auto">
                <a:xfrm>
                  <a:off x="1354534" y="1877276"/>
                  <a:ext cx="4387724" cy="2485589"/>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solidFill>
                  <a:schemeClr val="bg1"/>
                </a:solidFill>
                <a:ln w="6350" cap="flat" cmpd="sng" algn="ctr">
                  <a:solidFill>
                    <a:schemeClr val="tx1"/>
                  </a:solidFill>
                  <a:prstDash val="solid"/>
                  <a:miter lim="800000"/>
                </a:ln>
                <a:effectLst/>
                <a:extLst>
                  <a:ext uri="{91240B29-F687-4f45-9708-019B960494DF}">
                    <a14:hiddenLine xmlns="" xmlns:lc="http://schemas.openxmlformats.org/drawingml/2006/lockedCanvas" xmlns:a16="http://schemas.microsoft.com/office/drawing/2014/main" xmlns:p14="http://schemas.microsoft.com/office/powerpoint/2010/main" xmlns:a14="http://schemas.microsoft.com/office/drawing/2010/main" w="9525" cap="flat">
                      <a:solidFill>
                        <a:srgbClr val="808080"/>
                      </a:solidFill>
                      <a:bevel/>
                      <a:headEnd/>
                      <a:tailEnd/>
                    </a14:hiddenLine>
                  </a:ext>
                  <a:ext uri="{AF507438-7753-43e0-B8FC-AC1667EBCBE1}">
                    <a14:hiddenEffects xmlns="" xmlns:lc="http://schemas.openxmlformats.org/drawingml/2006/lockedCanva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lt1"/>
                    </a:solidFill>
                  </a:endParaRPr>
                </a:p>
              </p:txBody>
            </p:sp>
          </p:grpSp>
          <p:grpSp>
            <p:nvGrpSpPr>
              <p:cNvPr id="84" name="îšlîde">
                <a:extLst>
                  <a:ext uri="{FF2B5EF4-FFF2-40B4-BE49-F238E27FC236}">
                    <a16:creationId xmlns:a16="http://schemas.microsoft.com/office/drawing/2014/main" id="{9D9342B5-CDB8-4860-B336-817052F6C173}"/>
                  </a:ext>
                </a:extLst>
              </p:cNvPr>
              <p:cNvGrpSpPr/>
              <p:nvPr/>
            </p:nvGrpSpPr>
            <p:grpSpPr>
              <a:xfrm>
                <a:off x="1710607" y="2344538"/>
                <a:ext cx="1975378" cy="724786"/>
                <a:chOff x="675908" y="693106"/>
                <a:chExt cx="9053516" cy="3321826"/>
              </a:xfrm>
            </p:grpSpPr>
            <p:sp>
              <p:nvSpPr>
                <p:cNvPr id="85" name="îṥľïdè">
                  <a:extLst>
                    <a:ext uri="{FF2B5EF4-FFF2-40B4-BE49-F238E27FC236}">
                      <a16:creationId xmlns:a16="http://schemas.microsoft.com/office/drawing/2014/main" id="{EAD340D9-4D80-404B-A22C-371611963578}"/>
                    </a:ext>
                  </a:extLst>
                </p:cNvPr>
                <p:cNvSpPr txBox="1"/>
                <p:nvPr/>
              </p:nvSpPr>
              <p:spPr>
                <a:xfrm>
                  <a:off x="675908" y="693106"/>
                  <a:ext cx="2769328" cy="3321826"/>
                </a:xfrm>
                <a:prstGeom prst="rect">
                  <a:avLst/>
                </a:prstGeom>
                <a:noFill/>
              </p:spPr>
              <p:txBody>
                <a:bodyPr wrap="square" lIns="91440" tIns="45720" rIns="91440" bIns="45720" numCol="1" rtlCol="0">
                  <a:prstTxWarp prst="textPlain">
                    <a:avLst/>
                  </a:prstTxWarp>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9600" dirty="0">
                      <a:solidFill>
                        <a:schemeClr val="accent1">
                          <a:alpha val="33000"/>
                        </a:schemeClr>
                      </a:solidFill>
                      <a:latin typeface="Impact" panose="020B0806030902050204" pitchFamily="34" charset="0"/>
                    </a:rPr>
                    <a:t>2</a:t>
                  </a:r>
                  <a:endParaRPr lang="zh-CN" altLang="en-US" sz="9600" dirty="0">
                    <a:solidFill>
                      <a:schemeClr val="accent1">
                        <a:alpha val="33000"/>
                      </a:schemeClr>
                    </a:solidFill>
                    <a:latin typeface="Impact" panose="020B0806030902050204" pitchFamily="34" charset="0"/>
                  </a:endParaRPr>
                </a:p>
              </p:txBody>
            </p:sp>
            <p:sp>
              <p:nvSpPr>
                <p:cNvPr id="86" name="îşlîďe">
                  <a:extLst>
                    <a:ext uri="{FF2B5EF4-FFF2-40B4-BE49-F238E27FC236}">
                      <a16:creationId xmlns:a16="http://schemas.microsoft.com/office/drawing/2014/main" id="{C5EAAD96-E6A4-40B4-9522-7A0E0AC1C1FC}"/>
                    </a:ext>
                  </a:extLst>
                </p:cNvPr>
                <p:cNvSpPr txBox="1"/>
                <p:nvPr/>
              </p:nvSpPr>
              <p:spPr>
                <a:xfrm>
                  <a:off x="2770637" y="693106"/>
                  <a:ext cx="2769328" cy="3321826"/>
                </a:xfrm>
                <a:prstGeom prst="rect">
                  <a:avLst/>
                </a:prstGeom>
                <a:noFill/>
              </p:spPr>
              <p:txBody>
                <a:bodyPr wrap="square" lIns="91440" tIns="45720" rIns="91440" bIns="45720" numCol="1" rtlCol="0">
                  <a:prstTxWarp prst="textPlain">
                    <a:avLst/>
                  </a:prstTxWarp>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9600" dirty="0">
                      <a:solidFill>
                        <a:schemeClr val="accent1">
                          <a:alpha val="33000"/>
                        </a:schemeClr>
                      </a:solidFill>
                      <a:latin typeface="Impact" panose="020B0806030902050204" pitchFamily="34" charset="0"/>
                    </a:rPr>
                    <a:t>0</a:t>
                  </a:r>
                  <a:endParaRPr lang="zh-CN" altLang="en-US" sz="9600" dirty="0">
                    <a:solidFill>
                      <a:schemeClr val="accent1">
                        <a:alpha val="33000"/>
                      </a:schemeClr>
                    </a:solidFill>
                    <a:latin typeface="Impact" panose="020B0806030902050204" pitchFamily="34" charset="0"/>
                  </a:endParaRPr>
                </a:p>
              </p:txBody>
            </p:sp>
            <p:sp>
              <p:nvSpPr>
                <p:cNvPr id="87" name="iśľîďe">
                  <a:extLst>
                    <a:ext uri="{FF2B5EF4-FFF2-40B4-BE49-F238E27FC236}">
                      <a16:creationId xmlns:a16="http://schemas.microsoft.com/office/drawing/2014/main" id="{304B0029-EDD4-48D6-A2DB-997C474C8A00}"/>
                    </a:ext>
                  </a:extLst>
                </p:cNvPr>
                <p:cNvSpPr txBox="1"/>
                <p:nvPr/>
              </p:nvSpPr>
              <p:spPr>
                <a:xfrm>
                  <a:off x="4865366" y="693106"/>
                  <a:ext cx="2769328" cy="3321826"/>
                </a:xfrm>
                <a:prstGeom prst="rect">
                  <a:avLst/>
                </a:prstGeom>
                <a:noFill/>
              </p:spPr>
              <p:txBody>
                <a:bodyPr wrap="square" lIns="91440" tIns="45720" rIns="91440" bIns="45720" numCol="1" rtlCol="0">
                  <a:prstTxWarp prst="textPlain">
                    <a:avLst/>
                  </a:prstTxWarp>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9600" dirty="0">
                      <a:solidFill>
                        <a:schemeClr val="accent1">
                          <a:alpha val="33000"/>
                        </a:schemeClr>
                      </a:solidFill>
                      <a:latin typeface="Impact" panose="020B0806030902050204" pitchFamily="34" charset="0"/>
                    </a:rPr>
                    <a:t>X</a:t>
                  </a:r>
                  <a:endParaRPr lang="zh-CN" altLang="en-US" sz="9600" dirty="0">
                    <a:solidFill>
                      <a:schemeClr val="accent1">
                        <a:alpha val="33000"/>
                      </a:schemeClr>
                    </a:solidFill>
                    <a:latin typeface="Impact" panose="020B0806030902050204" pitchFamily="34" charset="0"/>
                  </a:endParaRPr>
                </a:p>
              </p:txBody>
            </p:sp>
            <p:sp>
              <p:nvSpPr>
                <p:cNvPr id="88" name="ï$ḷiḓê">
                  <a:extLst>
                    <a:ext uri="{FF2B5EF4-FFF2-40B4-BE49-F238E27FC236}">
                      <a16:creationId xmlns:a16="http://schemas.microsoft.com/office/drawing/2014/main" id="{D570F823-078D-411D-A5D5-FE67A11A21C4}"/>
                    </a:ext>
                  </a:extLst>
                </p:cNvPr>
                <p:cNvSpPr txBox="1"/>
                <p:nvPr/>
              </p:nvSpPr>
              <p:spPr>
                <a:xfrm>
                  <a:off x="6960096" y="693106"/>
                  <a:ext cx="2769328" cy="3321826"/>
                </a:xfrm>
                <a:prstGeom prst="rect">
                  <a:avLst/>
                </a:prstGeom>
                <a:noFill/>
              </p:spPr>
              <p:txBody>
                <a:bodyPr wrap="square" lIns="91440" tIns="45720" rIns="91440" bIns="45720" numCol="1" rtlCol="0">
                  <a:prstTxWarp prst="textPlain">
                    <a:avLst/>
                  </a:prstTxWarp>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9600" dirty="0">
                      <a:solidFill>
                        <a:schemeClr val="accent1">
                          <a:alpha val="33000"/>
                        </a:schemeClr>
                      </a:solidFill>
                      <a:latin typeface="Impact" panose="020B0806030902050204" pitchFamily="34" charset="0"/>
                    </a:rPr>
                    <a:t>X</a:t>
                  </a:r>
                  <a:endParaRPr lang="zh-CN" altLang="en-US" sz="9600" dirty="0">
                    <a:solidFill>
                      <a:schemeClr val="accent1">
                        <a:alpha val="33000"/>
                      </a:schemeClr>
                    </a:solidFill>
                    <a:latin typeface="Impact" panose="020B0806030902050204" pitchFamily="34" charset="0"/>
                  </a:endParaRPr>
                </a:p>
              </p:txBody>
            </p:sp>
          </p:grpSp>
        </p:grpSp>
        <p:sp>
          <p:nvSpPr>
            <p:cNvPr id="67" name="ïṧľîḍê">
              <a:extLst>
                <a:ext uri="{FF2B5EF4-FFF2-40B4-BE49-F238E27FC236}">
                  <a16:creationId xmlns:a16="http://schemas.microsoft.com/office/drawing/2014/main" id="{DA4CF3C1-CF98-4A5C-98A7-A6B03DE64E1C}"/>
                </a:ext>
              </a:extLst>
            </p:cNvPr>
            <p:cNvSpPr/>
            <p:nvPr/>
          </p:nvSpPr>
          <p:spPr>
            <a:xfrm rot="16200000" flipH="1">
              <a:off x="3831161" y="2879272"/>
              <a:ext cx="2904459" cy="1117216"/>
            </a:xfrm>
            <a:custGeom>
              <a:avLst/>
              <a:gdLst>
                <a:gd name="connsiteX0" fmla="*/ 0 w 3622166"/>
                <a:gd name="connsiteY0" fmla="*/ 1548784 h 1548784"/>
                <a:gd name="connsiteX1" fmla="*/ 910437 w 3622166"/>
                <a:gd name="connsiteY1" fmla="*/ 0 h 1548784"/>
                <a:gd name="connsiteX2" fmla="*/ 3622166 w 3622166"/>
                <a:gd name="connsiteY2" fmla="*/ 0 h 1548784"/>
                <a:gd name="connsiteX3" fmla="*/ 2711729 w 3622166"/>
                <a:gd name="connsiteY3" fmla="*/ 1548784 h 1548784"/>
                <a:gd name="connsiteX4" fmla="*/ 0 w 3622166"/>
                <a:gd name="connsiteY4" fmla="*/ 1548784 h 1548784"/>
                <a:gd name="connsiteX0" fmla="*/ 0 w 3622166"/>
                <a:gd name="connsiteY0" fmla="*/ 1548784 h 1548784"/>
                <a:gd name="connsiteX1" fmla="*/ 811377 w 3622166"/>
                <a:gd name="connsiteY1" fmla="*/ 7620 h 1548784"/>
                <a:gd name="connsiteX2" fmla="*/ 3622166 w 3622166"/>
                <a:gd name="connsiteY2" fmla="*/ 0 h 1548784"/>
                <a:gd name="connsiteX3" fmla="*/ 2711729 w 3622166"/>
                <a:gd name="connsiteY3" fmla="*/ 1548784 h 1548784"/>
                <a:gd name="connsiteX4" fmla="*/ 0 w 3622166"/>
                <a:gd name="connsiteY4" fmla="*/ 1548784 h 1548784"/>
                <a:gd name="connsiteX0" fmla="*/ 0 w 3622166"/>
                <a:gd name="connsiteY0" fmla="*/ 1553874 h 1553874"/>
                <a:gd name="connsiteX1" fmla="*/ 762611 w 3622166"/>
                <a:gd name="connsiteY1" fmla="*/ 0 h 1553874"/>
                <a:gd name="connsiteX2" fmla="*/ 3622166 w 3622166"/>
                <a:gd name="connsiteY2" fmla="*/ 5090 h 1553874"/>
                <a:gd name="connsiteX3" fmla="*/ 2711729 w 3622166"/>
                <a:gd name="connsiteY3" fmla="*/ 1553874 h 1553874"/>
                <a:gd name="connsiteX4" fmla="*/ 0 w 3622166"/>
                <a:gd name="connsiteY4" fmla="*/ 1553874 h 1553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166" h="1553874">
                  <a:moveTo>
                    <a:pt x="0" y="1553874"/>
                  </a:moveTo>
                  <a:lnTo>
                    <a:pt x="762611" y="0"/>
                  </a:lnTo>
                  <a:lnTo>
                    <a:pt x="3622166" y="5090"/>
                  </a:lnTo>
                  <a:lnTo>
                    <a:pt x="2711729" y="1553874"/>
                  </a:lnTo>
                  <a:lnTo>
                    <a:pt x="0" y="1553874"/>
                  </a:lnTo>
                  <a:close/>
                </a:path>
              </a:pathLst>
            </a:custGeom>
            <a:gradFill flip="none" rotWithShape="1">
              <a:gsLst>
                <a:gs pos="90000">
                  <a:schemeClr val="bg1"/>
                </a:gs>
                <a:gs pos="1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solidFill>
                  <a:schemeClr val="tx1"/>
                </a:solidFill>
              </a:endParaRPr>
            </a:p>
          </p:txBody>
        </p:sp>
        <p:grpSp>
          <p:nvGrpSpPr>
            <p:cNvPr id="68" name="iṥlíḑê">
              <a:extLst>
                <a:ext uri="{FF2B5EF4-FFF2-40B4-BE49-F238E27FC236}">
                  <a16:creationId xmlns:a16="http://schemas.microsoft.com/office/drawing/2014/main" id="{5A9D01E1-4DD8-4CB3-B00A-82A001D60BF9}"/>
                </a:ext>
              </a:extLst>
            </p:cNvPr>
            <p:cNvGrpSpPr/>
            <p:nvPr/>
          </p:nvGrpSpPr>
          <p:grpSpPr>
            <a:xfrm>
              <a:off x="6880916" y="1435178"/>
              <a:ext cx="805758" cy="805758"/>
              <a:chOff x="6880916" y="1435178"/>
              <a:chExt cx="805758" cy="805758"/>
            </a:xfrm>
          </p:grpSpPr>
          <p:sp>
            <p:nvSpPr>
              <p:cNvPr id="81" name="îṥļïḓé">
                <a:extLst>
                  <a:ext uri="{FF2B5EF4-FFF2-40B4-BE49-F238E27FC236}">
                    <a16:creationId xmlns:a16="http://schemas.microsoft.com/office/drawing/2014/main" id="{1282DF96-CD27-4430-BECC-C7F90FE78481}"/>
                  </a:ext>
                </a:extLst>
              </p:cNvPr>
              <p:cNvSpPr/>
              <p:nvPr/>
            </p:nvSpPr>
            <p:spPr>
              <a:xfrm>
                <a:off x="6880916" y="1435178"/>
                <a:ext cx="805758" cy="805758"/>
              </a:xfrm>
              <a:prstGeom prst="ellipse">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82" name="íṧḷïḑe">
                <a:extLst>
                  <a:ext uri="{FF2B5EF4-FFF2-40B4-BE49-F238E27FC236}">
                    <a16:creationId xmlns:a16="http://schemas.microsoft.com/office/drawing/2014/main" id="{ACD8D591-F08A-41DA-8466-7CDA4C137EDE}"/>
                  </a:ext>
                </a:extLst>
              </p:cNvPr>
              <p:cNvSpPr/>
              <p:nvPr/>
            </p:nvSpPr>
            <p:spPr>
              <a:xfrm>
                <a:off x="7071039" y="1668639"/>
                <a:ext cx="425514" cy="338835"/>
              </a:xfrm>
              <a:custGeom>
                <a:avLst/>
                <a:gdLst>
                  <a:gd name="connsiteX0" fmla="*/ 485775 w 514350"/>
                  <a:gd name="connsiteY0" fmla="*/ 0 h 409575"/>
                  <a:gd name="connsiteX1" fmla="*/ 514350 w 514350"/>
                  <a:gd name="connsiteY1" fmla="*/ 28575 h 409575"/>
                  <a:gd name="connsiteX2" fmla="*/ 514350 w 514350"/>
                  <a:gd name="connsiteY2" fmla="*/ 323850 h 409575"/>
                  <a:gd name="connsiteX3" fmla="*/ 485775 w 514350"/>
                  <a:gd name="connsiteY3" fmla="*/ 352425 h 409575"/>
                  <a:gd name="connsiteX4" fmla="*/ 191167 w 514350"/>
                  <a:gd name="connsiteY4" fmla="*/ 352425 h 409575"/>
                  <a:gd name="connsiteX5" fmla="*/ 114395 w 514350"/>
                  <a:gd name="connsiteY5" fmla="*/ 409575 h 409575"/>
                  <a:gd name="connsiteX6" fmla="*/ 114395 w 514350"/>
                  <a:gd name="connsiteY6" fmla="*/ 352425 h 409575"/>
                  <a:gd name="connsiteX7" fmla="*/ 28575 w 514350"/>
                  <a:gd name="connsiteY7" fmla="*/ 352425 h 409575"/>
                  <a:gd name="connsiteX8" fmla="*/ 0 w 514350"/>
                  <a:gd name="connsiteY8" fmla="*/ 323850 h 409575"/>
                  <a:gd name="connsiteX9" fmla="*/ 0 w 514350"/>
                  <a:gd name="connsiteY9" fmla="*/ 28575 h 409575"/>
                  <a:gd name="connsiteX10" fmla="*/ 28575 w 514350"/>
                  <a:gd name="connsiteY10" fmla="*/ 0 h 409575"/>
                  <a:gd name="connsiteX11" fmla="*/ 485775 w 514350"/>
                  <a:gd name="connsiteY11" fmla="*/ 0 h 409575"/>
                  <a:gd name="connsiteX12" fmla="*/ 123825 w 514350"/>
                  <a:gd name="connsiteY12" fmla="*/ 142875 h 409575"/>
                  <a:gd name="connsiteX13" fmla="*/ 90488 w 514350"/>
                  <a:gd name="connsiteY13" fmla="*/ 176213 h 409575"/>
                  <a:gd name="connsiteX14" fmla="*/ 123825 w 514350"/>
                  <a:gd name="connsiteY14" fmla="*/ 209550 h 409575"/>
                  <a:gd name="connsiteX15" fmla="*/ 157163 w 514350"/>
                  <a:gd name="connsiteY15" fmla="*/ 176213 h 409575"/>
                  <a:gd name="connsiteX16" fmla="*/ 123825 w 514350"/>
                  <a:gd name="connsiteY16" fmla="*/ 142875 h 409575"/>
                  <a:gd name="connsiteX17" fmla="*/ 257175 w 514350"/>
                  <a:gd name="connsiteY17" fmla="*/ 142875 h 409575"/>
                  <a:gd name="connsiteX18" fmla="*/ 223838 w 514350"/>
                  <a:gd name="connsiteY18" fmla="*/ 176213 h 409575"/>
                  <a:gd name="connsiteX19" fmla="*/ 257175 w 514350"/>
                  <a:gd name="connsiteY19" fmla="*/ 209550 h 409575"/>
                  <a:gd name="connsiteX20" fmla="*/ 290513 w 514350"/>
                  <a:gd name="connsiteY20" fmla="*/ 176213 h 409575"/>
                  <a:gd name="connsiteX21" fmla="*/ 257175 w 514350"/>
                  <a:gd name="connsiteY21" fmla="*/ 142875 h 409575"/>
                  <a:gd name="connsiteX22" fmla="*/ 390525 w 514350"/>
                  <a:gd name="connsiteY22" fmla="*/ 142875 h 409575"/>
                  <a:gd name="connsiteX23" fmla="*/ 357188 w 514350"/>
                  <a:gd name="connsiteY23" fmla="*/ 176213 h 409575"/>
                  <a:gd name="connsiteX24" fmla="*/ 390525 w 514350"/>
                  <a:gd name="connsiteY24" fmla="*/ 209550 h 409575"/>
                  <a:gd name="connsiteX25" fmla="*/ 423863 w 514350"/>
                  <a:gd name="connsiteY25" fmla="*/ 176213 h 409575"/>
                  <a:gd name="connsiteX26" fmla="*/ 390525 w 514350"/>
                  <a:gd name="connsiteY26" fmla="*/ 1428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5775" y="0"/>
                    </a:moveTo>
                    <a:cubicBezTo>
                      <a:pt x="501586" y="0"/>
                      <a:pt x="514350" y="12764"/>
                      <a:pt x="514350" y="28575"/>
                    </a:cubicBezTo>
                    <a:lnTo>
                      <a:pt x="514350" y="323850"/>
                    </a:lnTo>
                    <a:cubicBezTo>
                      <a:pt x="514350" y="339662"/>
                      <a:pt x="501586" y="352425"/>
                      <a:pt x="485775" y="352425"/>
                    </a:cubicBezTo>
                    <a:lnTo>
                      <a:pt x="191167" y="352425"/>
                    </a:lnTo>
                    <a:lnTo>
                      <a:pt x="114395" y="409575"/>
                    </a:lnTo>
                    <a:lnTo>
                      <a:pt x="114395" y="352425"/>
                    </a:lnTo>
                    <a:lnTo>
                      <a:pt x="28575" y="352425"/>
                    </a:lnTo>
                    <a:cubicBezTo>
                      <a:pt x="12764" y="352425"/>
                      <a:pt x="0" y="339662"/>
                      <a:pt x="0" y="323850"/>
                    </a:cubicBezTo>
                    <a:lnTo>
                      <a:pt x="0" y="28575"/>
                    </a:lnTo>
                    <a:cubicBezTo>
                      <a:pt x="0" y="12764"/>
                      <a:pt x="12764" y="0"/>
                      <a:pt x="28575" y="0"/>
                    </a:cubicBezTo>
                    <a:lnTo>
                      <a:pt x="485775" y="0"/>
                    </a:lnTo>
                    <a:close/>
                    <a:moveTo>
                      <a:pt x="123825" y="142875"/>
                    </a:moveTo>
                    <a:cubicBezTo>
                      <a:pt x="105442" y="142875"/>
                      <a:pt x="90488" y="157829"/>
                      <a:pt x="90488" y="176213"/>
                    </a:cubicBezTo>
                    <a:cubicBezTo>
                      <a:pt x="90488" y="194596"/>
                      <a:pt x="105442" y="209550"/>
                      <a:pt x="123825" y="209550"/>
                    </a:cubicBezTo>
                    <a:cubicBezTo>
                      <a:pt x="142208" y="209550"/>
                      <a:pt x="157163" y="194596"/>
                      <a:pt x="157163" y="176213"/>
                    </a:cubicBezTo>
                    <a:cubicBezTo>
                      <a:pt x="157163" y="157829"/>
                      <a:pt x="142208" y="142875"/>
                      <a:pt x="123825" y="142875"/>
                    </a:cubicBezTo>
                    <a:close/>
                    <a:moveTo>
                      <a:pt x="257175" y="142875"/>
                    </a:moveTo>
                    <a:cubicBezTo>
                      <a:pt x="238792" y="142875"/>
                      <a:pt x="223838" y="157829"/>
                      <a:pt x="223838" y="176213"/>
                    </a:cubicBezTo>
                    <a:cubicBezTo>
                      <a:pt x="223838" y="194596"/>
                      <a:pt x="238792" y="209550"/>
                      <a:pt x="257175" y="209550"/>
                    </a:cubicBezTo>
                    <a:cubicBezTo>
                      <a:pt x="275558" y="209550"/>
                      <a:pt x="290513" y="194596"/>
                      <a:pt x="290513" y="176213"/>
                    </a:cubicBezTo>
                    <a:cubicBezTo>
                      <a:pt x="290513" y="157829"/>
                      <a:pt x="275558" y="142875"/>
                      <a:pt x="257175" y="142875"/>
                    </a:cubicBezTo>
                    <a:close/>
                    <a:moveTo>
                      <a:pt x="390525" y="142875"/>
                    </a:moveTo>
                    <a:cubicBezTo>
                      <a:pt x="372142" y="142875"/>
                      <a:pt x="357188" y="157829"/>
                      <a:pt x="357188" y="176213"/>
                    </a:cubicBezTo>
                    <a:cubicBezTo>
                      <a:pt x="357188" y="194596"/>
                      <a:pt x="372142" y="209550"/>
                      <a:pt x="390525" y="209550"/>
                    </a:cubicBezTo>
                    <a:cubicBezTo>
                      <a:pt x="408908" y="209550"/>
                      <a:pt x="423863" y="194596"/>
                      <a:pt x="423863" y="176213"/>
                    </a:cubicBezTo>
                    <a:cubicBezTo>
                      <a:pt x="423863" y="157829"/>
                      <a:pt x="408908" y="142875"/>
                      <a:pt x="390525" y="142875"/>
                    </a:cubicBezTo>
                    <a:close/>
                  </a:path>
                </a:pathLst>
              </a:cu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grpSp>
        <p:grpSp>
          <p:nvGrpSpPr>
            <p:cNvPr id="69" name="ís1iḓê">
              <a:extLst>
                <a:ext uri="{FF2B5EF4-FFF2-40B4-BE49-F238E27FC236}">
                  <a16:creationId xmlns:a16="http://schemas.microsoft.com/office/drawing/2014/main" id="{8CD98F44-39F0-411B-8811-204FEEC02920}"/>
                </a:ext>
              </a:extLst>
            </p:cNvPr>
            <p:cNvGrpSpPr/>
            <p:nvPr/>
          </p:nvGrpSpPr>
          <p:grpSpPr>
            <a:xfrm>
              <a:off x="5868184" y="2431059"/>
              <a:ext cx="2831222" cy="2801109"/>
              <a:chOff x="5868184" y="2431059"/>
              <a:chExt cx="2831222" cy="2801109"/>
            </a:xfrm>
          </p:grpSpPr>
          <p:sp>
            <p:nvSpPr>
              <p:cNvPr id="78" name="íṩḷîḋè">
                <a:extLst>
                  <a:ext uri="{FF2B5EF4-FFF2-40B4-BE49-F238E27FC236}">
                    <a16:creationId xmlns:a16="http://schemas.microsoft.com/office/drawing/2014/main" id="{921D2456-A6A6-43F5-AD86-0A010D24A2F0}"/>
                  </a:ext>
                </a:extLst>
              </p:cNvPr>
              <p:cNvSpPr txBox="1"/>
              <p:nvPr/>
            </p:nvSpPr>
            <p:spPr>
              <a:xfrm>
                <a:off x="5868184" y="2431059"/>
                <a:ext cx="2831222" cy="391099"/>
              </a:xfrm>
              <a:prstGeom prst="rect">
                <a:avLst/>
              </a:prstGeom>
              <a:noFill/>
            </p:spPr>
            <p:txBody>
              <a:bodyPr wrap="square" lIns="91440" tIns="45720" rIns="91440" bIns="45720" rtlCol="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400" b="1"/>
                  <a:t>01.Text</a:t>
                </a:r>
                <a:r>
                  <a:rPr lang="en-US" altLang="zh-CN" sz="100" b="1"/>
                  <a:t> </a:t>
                </a:r>
                <a:r>
                  <a:rPr lang="en-US" altLang="zh-CN" sz="1400" b="1"/>
                  <a:t> </a:t>
                </a:r>
                <a:r>
                  <a:rPr lang="en-US" altLang="zh-CN" sz="1400" b="1" dirty="0"/>
                  <a:t>here</a:t>
                </a:r>
                <a:endParaRPr lang="id-ID" sz="1400" b="1" dirty="0"/>
              </a:p>
            </p:txBody>
          </p:sp>
          <p:sp>
            <p:nvSpPr>
              <p:cNvPr id="79" name="ïSļíḑè">
                <a:extLst>
                  <a:ext uri="{FF2B5EF4-FFF2-40B4-BE49-F238E27FC236}">
                    <a16:creationId xmlns:a16="http://schemas.microsoft.com/office/drawing/2014/main" id="{F8E07573-A8E5-42F7-B445-E2E8E3B47ABD}"/>
                  </a:ext>
                </a:extLst>
              </p:cNvPr>
              <p:cNvSpPr/>
              <p:nvPr/>
            </p:nvSpPr>
            <p:spPr bwMode="auto">
              <a:xfrm>
                <a:off x="5868184" y="2936191"/>
                <a:ext cx="2831222" cy="114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altLang="zh-CN" sz="1100" dirty="0"/>
                  <a:t>Copy paste fonts. Choose the </a:t>
                </a:r>
                <a:r>
                  <a:rPr lang="en-US" altLang="zh-CN" sz="1100"/>
                  <a:t>only option</a:t>
                </a:r>
                <a:r>
                  <a:rPr lang="en-US" altLang="zh-CN" sz="100"/>
                  <a:t> </a:t>
                </a:r>
                <a:r>
                  <a:rPr lang="en-US" altLang="zh-CN" sz="1100"/>
                  <a:t> </a:t>
                </a:r>
                <a:r>
                  <a:rPr lang="en-US" altLang="zh-CN" sz="1100" dirty="0"/>
                  <a:t>to retain text.</a:t>
                </a:r>
              </a:p>
              <a:p>
                <a:pPr algn="ctr">
                  <a:lnSpc>
                    <a:spcPct val="150000"/>
                  </a:lnSpc>
                </a:pPr>
                <a:endParaRPr lang="en-US" altLang="zh-CN" sz="1100" dirty="0"/>
              </a:p>
              <a:p>
                <a:pPr algn="ctr">
                  <a:lnSpc>
                    <a:spcPct val="150000"/>
                  </a:lnSpc>
                </a:pPr>
                <a:r>
                  <a:rPr lang="en-US" altLang="zh-CN" sz="1100" dirty="0"/>
                  <a:t>……</a:t>
                </a:r>
              </a:p>
            </p:txBody>
          </p:sp>
          <p:sp>
            <p:nvSpPr>
              <p:cNvPr id="80" name="iṧḷîḓè">
                <a:extLst>
                  <a:ext uri="{FF2B5EF4-FFF2-40B4-BE49-F238E27FC236}">
                    <a16:creationId xmlns:a16="http://schemas.microsoft.com/office/drawing/2014/main" id="{F8E07573-A8E5-42F7-B445-E2E8E3B47ABD}"/>
                  </a:ext>
                </a:extLst>
              </p:cNvPr>
              <p:cNvSpPr/>
              <p:nvPr/>
            </p:nvSpPr>
            <p:spPr bwMode="auto">
              <a:xfrm>
                <a:off x="5868184" y="4084180"/>
                <a:ext cx="2831222" cy="114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altLang="zh-CN" sz="1100" dirty="0"/>
                  <a:t>Copy paste fonts. Choose the </a:t>
                </a:r>
                <a:r>
                  <a:rPr lang="en-US" altLang="zh-CN" sz="1100"/>
                  <a:t>only option</a:t>
                </a:r>
                <a:r>
                  <a:rPr lang="en-US" altLang="zh-CN" sz="100"/>
                  <a:t> </a:t>
                </a:r>
                <a:r>
                  <a:rPr lang="en-US" altLang="zh-CN" sz="1100"/>
                  <a:t> </a:t>
                </a:r>
                <a:r>
                  <a:rPr lang="en-US" altLang="zh-CN" sz="1100" dirty="0"/>
                  <a:t>to retain text.</a:t>
                </a:r>
              </a:p>
              <a:p>
                <a:pPr algn="ctr">
                  <a:lnSpc>
                    <a:spcPct val="150000"/>
                  </a:lnSpc>
                </a:pPr>
                <a:endParaRPr lang="en-US" altLang="zh-CN" sz="1100" dirty="0"/>
              </a:p>
              <a:p>
                <a:pPr algn="ctr">
                  <a:lnSpc>
                    <a:spcPct val="150000"/>
                  </a:lnSpc>
                </a:pPr>
                <a:r>
                  <a:rPr lang="en-US" altLang="zh-CN" sz="1100" dirty="0"/>
                  <a:t>……</a:t>
                </a:r>
              </a:p>
            </p:txBody>
          </p:sp>
        </p:grpSp>
        <p:grpSp>
          <p:nvGrpSpPr>
            <p:cNvPr id="70" name="îSľïďê">
              <a:extLst>
                <a:ext uri="{FF2B5EF4-FFF2-40B4-BE49-F238E27FC236}">
                  <a16:creationId xmlns:a16="http://schemas.microsoft.com/office/drawing/2014/main" id="{FE642C39-6DB5-449B-849D-4940FF15472E}"/>
                </a:ext>
              </a:extLst>
            </p:cNvPr>
            <p:cNvGrpSpPr/>
            <p:nvPr/>
          </p:nvGrpSpPr>
          <p:grpSpPr>
            <a:xfrm>
              <a:off x="9700410" y="1435178"/>
              <a:ext cx="805758" cy="805758"/>
              <a:chOff x="9700410" y="1435178"/>
              <a:chExt cx="805758" cy="805758"/>
            </a:xfrm>
          </p:grpSpPr>
          <p:sp>
            <p:nvSpPr>
              <p:cNvPr id="76" name="iṧlídè">
                <a:extLst>
                  <a:ext uri="{FF2B5EF4-FFF2-40B4-BE49-F238E27FC236}">
                    <a16:creationId xmlns:a16="http://schemas.microsoft.com/office/drawing/2014/main" id="{AD7640F1-E577-4E6C-8582-88A9D713E6B6}"/>
                  </a:ext>
                </a:extLst>
              </p:cNvPr>
              <p:cNvSpPr/>
              <p:nvPr/>
            </p:nvSpPr>
            <p:spPr>
              <a:xfrm>
                <a:off x="9700410" y="1435178"/>
                <a:ext cx="805758" cy="805758"/>
              </a:xfrm>
              <a:prstGeom prst="ellipse">
                <a:avLst/>
              </a:prstGeom>
              <a:solidFill>
                <a:schemeClr val="accent2"/>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77" name="ïSḷide">
                <a:extLst>
                  <a:ext uri="{FF2B5EF4-FFF2-40B4-BE49-F238E27FC236}">
                    <a16:creationId xmlns:a16="http://schemas.microsoft.com/office/drawing/2014/main" id="{8115A0CD-EB83-4683-96D5-338165490FFA}"/>
                  </a:ext>
                </a:extLst>
              </p:cNvPr>
              <p:cNvSpPr/>
              <p:nvPr/>
            </p:nvSpPr>
            <p:spPr>
              <a:xfrm>
                <a:off x="9890532" y="1629099"/>
                <a:ext cx="425514" cy="417915"/>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grpSp>
        <p:grpSp>
          <p:nvGrpSpPr>
            <p:cNvPr id="71" name="isľídé">
              <a:extLst>
                <a:ext uri="{FF2B5EF4-FFF2-40B4-BE49-F238E27FC236}">
                  <a16:creationId xmlns:a16="http://schemas.microsoft.com/office/drawing/2014/main" id="{5FECF596-DE83-4135-A3E3-A9F0CDC0CA11}"/>
                </a:ext>
              </a:extLst>
            </p:cNvPr>
            <p:cNvGrpSpPr/>
            <p:nvPr/>
          </p:nvGrpSpPr>
          <p:grpSpPr>
            <a:xfrm>
              <a:off x="8687678" y="2431059"/>
              <a:ext cx="2831222" cy="2801109"/>
              <a:chOff x="8687678" y="2431059"/>
              <a:chExt cx="2831222" cy="2801109"/>
            </a:xfrm>
          </p:grpSpPr>
          <p:sp>
            <p:nvSpPr>
              <p:cNvPr id="73" name="išlíďé">
                <a:extLst>
                  <a:ext uri="{FF2B5EF4-FFF2-40B4-BE49-F238E27FC236}">
                    <a16:creationId xmlns:a16="http://schemas.microsoft.com/office/drawing/2014/main" id="{921D2456-A6A6-43F5-AD86-0A010D24A2F0}"/>
                  </a:ext>
                </a:extLst>
              </p:cNvPr>
              <p:cNvSpPr txBox="1"/>
              <p:nvPr/>
            </p:nvSpPr>
            <p:spPr>
              <a:xfrm>
                <a:off x="8687678" y="2431059"/>
                <a:ext cx="2831222" cy="391099"/>
              </a:xfrm>
              <a:prstGeom prst="rect">
                <a:avLst/>
              </a:prstGeom>
              <a:noFill/>
            </p:spPr>
            <p:txBody>
              <a:bodyPr wrap="square" lIns="91440" tIns="45720" rIns="91440" bIns="45720" rtlCol="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400" b="1"/>
                  <a:t>02.Tex</a:t>
                </a:r>
                <a:r>
                  <a:rPr lang="en-US" altLang="zh-CN" sz="100" b="1"/>
                  <a:t> </a:t>
                </a:r>
                <a:r>
                  <a:rPr lang="en-US" altLang="zh-CN" sz="1400" b="1"/>
                  <a:t>t </a:t>
                </a:r>
                <a:r>
                  <a:rPr lang="en-US" altLang="zh-CN" sz="1400" b="1" dirty="0"/>
                  <a:t>here</a:t>
                </a:r>
                <a:endParaRPr lang="id-ID" sz="1400" b="1" dirty="0"/>
              </a:p>
            </p:txBody>
          </p:sp>
          <p:sp>
            <p:nvSpPr>
              <p:cNvPr id="74" name="îšlîḑé">
                <a:extLst>
                  <a:ext uri="{FF2B5EF4-FFF2-40B4-BE49-F238E27FC236}">
                    <a16:creationId xmlns:a16="http://schemas.microsoft.com/office/drawing/2014/main" id="{F8E07573-A8E5-42F7-B445-E2E8E3B47ABD}"/>
                  </a:ext>
                </a:extLst>
              </p:cNvPr>
              <p:cNvSpPr/>
              <p:nvPr/>
            </p:nvSpPr>
            <p:spPr bwMode="auto">
              <a:xfrm>
                <a:off x="8687678" y="2936191"/>
                <a:ext cx="2831222" cy="114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altLang="zh-CN" sz="1100" dirty="0"/>
                  <a:t>Copy paste fonts. Choose </a:t>
                </a:r>
                <a:r>
                  <a:rPr lang="en-US" altLang="zh-CN" sz="1100"/>
                  <a:t>the on</a:t>
                </a:r>
                <a:r>
                  <a:rPr lang="en-US" altLang="zh-CN" sz="100"/>
                  <a:t> </a:t>
                </a:r>
                <a:r>
                  <a:rPr lang="en-US" altLang="zh-CN" sz="1100"/>
                  <a:t>ly </a:t>
                </a:r>
                <a:r>
                  <a:rPr lang="en-US" altLang="zh-CN" sz="1100" dirty="0"/>
                  <a:t>option to retain text.</a:t>
                </a:r>
              </a:p>
              <a:p>
                <a:pPr algn="ctr">
                  <a:lnSpc>
                    <a:spcPct val="150000"/>
                  </a:lnSpc>
                </a:pPr>
                <a:endParaRPr lang="en-US" altLang="zh-CN" sz="1100" dirty="0"/>
              </a:p>
              <a:p>
                <a:pPr algn="ctr">
                  <a:lnSpc>
                    <a:spcPct val="150000"/>
                  </a:lnSpc>
                </a:pPr>
                <a:r>
                  <a:rPr lang="en-US" altLang="zh-CN" sz="1100" dirty="0"/>
                  <a:t>……</a:t>
                </a:r>
              </a:p>
            </p:txBody>
          </p:sp>
          <p:sp>
            <p:nvSpPr>
              <p:cNvPr id="75" name="îṡļïḑè">
                <a:extLst>
                  <a:ext uri="{FF2B5EF4-FFF2-40B4-BE49-F238E27FC236}">
                    <a16:creationId xmlns:a16="http://schemas.microsoft.com/office/drawing/2014/main" id="{F8E07573-A8E5-42F7-B445-E2E8E3B47ABD}"/>
                  </a:ext>
                </a:extLst>
              </p:cNvPr>
              <p:cNvSpPr/>
              <p:nvPr/>
            </p:nvSpPr>
            <p:spPr bwMode="auto">
              <a:xfrm>
                <a:off x="8687678" y="4084180"/>
                <a:ext cx="2831222" cy="114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altLang="zh-CN" sz="1100" dirty="0"/>
                  <a:t>Copy paste fonts. Choose </a:t>
                </a:r>
                <a:r>
                  <a:rPr lang="en-US" altLang="zh-CN" sz="1100"/>
                  <a:t>the on</a:t>
                </a:r>
                <a:r>
                  <a:rPr lang="en-US" altLang="zh-CN" sz="100"/>
                  <a:t> </a:t>
                </a:r>
                <a:r>
                  <a:rPr lang="en-US" altLang="zh-CN" sz="1100"/>
                  <a:t>ly </a:t>
                </a:r>
                <a:r>
                  <a:rPr lang="en-US" altLang="zh-CN" sz="1100" dirty="0"/>
                  <a:t>option to retain text.</a:t>
                </a:r>
              </a:p>
              <a:p>
                <a:pPr algn="ctr">
                  <a:lnSpc>
                    <a:spcPct val="150000"/>
                  </a:lnSpc>
                </a:pPr>
                <a:endParaRPr lang="en-US" altLang="zh-CN" sz="1100" dirty="0"/>
              </a:p>
              <a:p>
                <a:pPr algn="ctr">
                  <a:lnSpc>
                    <a:spcPct val="150000"/>
                  </a:lnSpc>
                </a:pPr>
                <a:r>
                  <a:rPr lang="en-US" altLang="zh-CN" sz="1100" dirty="0"/>
                  <a:t>……</a:t>
                </a:r>
              </a:p>
            </p:txBody>
          </p:sp>
        </p:grpSp>
        <p:cxnSp>
          <p:nvCxnSpPr>
            <p:cNvPr id="72" name="ïṣḻiḍé">
              <a:extLst>
                <a:ext uri="{FF2B5EF4-FFF2-40B4-BE49-F238E27FC236}">
                  <a16:creationId xmlns:a16="http://schemas.microsoft.com/office/drawing/2014/main" id="{3C146EC5-74E2-4AA7-8DE4-8873C35E1882}"/>
                </a:ext>
              </a:extLst>
            </p:cNvPr>
            <p:cNvCxnSpPr/>
            <p:nvPr/>
          </p:nvCxnSpPr>
          <p:spPr>
            <a:xfrm>
              <a:off x="8693542" y="2431059"/>
              <a:ext cx="0" cy="371256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4346891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îṧḷîḑé"/>
        <p:cNvGrpSpPr/>
        <p:nvPr/>
      </p:nvGrpSpPr>
      <p:grpSpPr>
        <a:xfrm>
          <a:off x="0" y="0"/>
          <a:ext cx="0" cy="0"/>
          <a:chOff x="0" y="0"/>
          <a:chExt cx="0" cy="0"/>
        </a:xfrm>
      </p:grpSpPr>
      <p:sp>
        <p:nvSpPr>
          <p:cNvPr id="2" name="ï$ḻîḓe">
            <a:extLst>
              <a:ext uri="{FF2B5EF4-FFF2-40B4-BE49-F238E27FC236}">
                <a16:creationId xmlns:a16="http://schemas.microsoft.com/office/drawing/2014/main" id="{C42183C7-C6B4-426B-AD81-DA7640A103AF}"/>
              </a:ext>
            </a:extLst>
          </p:cNvPr>
          <p:cNvSpPr>
            <a:spLocks noGrp="1"/>
          </p:cNvSpPr>
          <p:nvPr>
            <p:ph type="title"/>
          </p:nvPr>
        </p:nvSpPr>
        <p:spPr/>
        <p:txBody>
          <a:bodyPr/>
          <a:lstStyle/>
          <a:p>
            <a:r>
              <a:rPr lang="en-US" altLang="zh-CN" dirty="0"/>
              <a:t>Click to </a:t>
            </a:r>
            <a:r>
              <a:rPr lang="en-US" altLang="zh-CN"/>
              <a:t>edit Ma</a:t>
            </a:r>
            <a:r>
              <a:rPr lang="en-US" altLang="zh-CN" sz="100"/>
              <a:t> </a:t>
            </a:r>
            <a:r>
              <a:rPr lang="en-US" altLang="zh-CN"/>
              <a:t>ster </a:t>
            </a:r>
            <a:r>
              <a:rPr lang="en-US" altLang="zh-CN" dirty="0"/>
              <a:t>title style</a:t>
            </a:r>
            <a:endParaRPr lang="zh-CN" altLang="en-US" dirty="0"/>
          </a:p>
        </p:txBody>
      </p:sp>
      <p:sp>
        <p:nvSpPr>
          <p:cNvPr id="3" name="îṧḻîḓè">
            <a:extLst>
              <a:ext uri="{FF2B5EF4-FFF2-40B4-BE49-F238E27FC236}">
                <a16:creationId xmlns:a16="http://schemas.microsoft.com/office/drawing/2014/main" id="{72E5852B-6535-400D-A675-3906BD3D6153}"/>
              </a:ext>
            </a:extLst>
          </p:cNvPr>
          <p:cNvSpPr>
            <a:spLocks noGrp="1"/>
          </p:cNvSpPr>
          <p:nvPr>
            <p:ph type="ftr" sz="quarter" idx="11"/>
          </p:nvPr>
        </p:nvSpPr>
        <p:spPr/>
        <p:txBody>
          <a:bodyPr/>
          <a:lstStyle/>
          <a:p>
            <a:r>
              <a:rPr lang="zh-CN" altLang="en-US"/>
              <a:t>请在插入菜单</a:t>
            </a:r>
            <a:r>
              <a:rPr lang="en-US" altLang="zh-CN"/>
              <a:t>—</a:t>
            </a:r>
            <a:r>
              <a:rPr lang="zh-CN" altLang="en-US"/>
              <a:t>页眉</a:t>
            </a:r>
            <a:r>
              <a:rPr lang="zh-CN" altLang="en-US" sz="100"/>
              <a:t> </a:t>
            </a:r>
            <a:r>
              <a:rPr lang="zh-CN" altLang="en-US"/>
              <a:t>和页脚中修改此文本</a:t>
            </a:r>
            <a:endParaRPr lang="zh-CN" altLang="en-US" dirty="0"/>
          </a:p>
        </p:txBody>
      </p:sp>
      <p:sp>
        <p:nvSpPr>
          <p:cNvPr id="4" name="ï$ľiḓé">
            <a:extLst>
              <a:ext uri="{FF2B5EF4-FFF2-40B4-BE49-F238E27FC236}">
                <a16:creationId xmlns:a16="http://schemas.microsoft.com/office/drawing/2014/main" id="{7B74498B-D02C-4E67-8277-6B91B8CB0AF3}"/>
              </a:ext>
            </a:extLst>
          </p:cNvPr>
          <p:cNvSpPr>
            <a:spLocks noGrp="1"/>
          </p:cNvSpPr>
          <p:nvPr>
            <p:ph type="sldNum" sz="quarter" idx="12"/>
          </p:nvPr>
        </p:nvSpPr>
        <p:spPr/>
        <p:txBody>
          <a:bodyPr/>
          <a:lstStyle/>
          <a:p>
            <a:fld id="{5DD3DB80-B894-403A-B48E-6FDC1A72010E}" type="slidenum">
              <a:rPr lang="zh-CN" altLang="en-US" smtClean="0"/>
              <a:pPr/>
              <a:t>24</a:t>
            </a:fld>
            <a:r>
              <a:rPr lang="zh-CN" altLang="en-US" sz="100"/>
              <a:t> </a:t>
            </a:r>
          </a:p>
        </p:txBody>
      </p:sp>
      <p:sp>
        <p:nvSpPr>
          <p:cNvPr id="72" name="îsļïḍè">
            <a:extLst>
              <a:ext uri="{FF2B5EF4-FFF2-40B4-BE49-F238E27FC236}">
                <a16:creationId xmlns:a16="http://schemas.microsoft.com/office/drawing/2014/main" id="{C1821AE1-72D8-49A0-868B-E6160C571005}"/>
              </a:ext>
            </a:extLst>
          </p:cNvPr>
          <p:cNvSpPr/>
          <p:nvPr/>
        </p:nvSpPr>
        <p:spPr>
          <a:xfrm>
            <a:off x="673100" y="3564261"/>
            <a:ext cx="2353932" cy="2119740"/>
          </a:xfrm>
          <a:prstGeom prst="rect">
            <a:avLst/>
          </a:prstGeom>
          <a:noFill/>
          <a:ln w="3175">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en-US" altLang="zh-CN" sz="1100" dirty="0">
                <a:solidFill>
                  <a:schemeClr val="dk1">
                    <a:lumMod val="100000"/>
                  </a:schemeClr>
                </a:solidFill>
              </a:rPr>
              <a:t>Copy paste fonts. Choose the only option to retain text.</a:t>
            </a:r>
          </a:p>
          <a:p>
            <a:pPr algn="ctr">
              <a:lnSpc>
                <a:spcPct val="150000"/>
              </a:lnSpc>
            </a:pPr>
            <a:r>
              <a:rPr lang="en-US" altLang="zh-CN" sz="1100" dirty="0">
                <a:solidFill>
                  <a:schemeClr val="dk1">
                    <a:lumMod val="100000"/>
                  </a:schemeClr>
                </a:solidFill>
              </a:rPr>
              <a:t>……</a:t>
            </a:r>
          </a:p>
          <a:p>
            <a:pPr algn="ctr">
              <a:lnSpc>
                <a:spcPct val="150000"/>
              </a:lnSpc>
            </a:pPr>
            <a:r>
              <a:rPr lang="en-US" altLang="zh-CN" sz="1100">
                <a:solidFill>
                  <a:schemeClr val="dk1">
                    <a:lumMod val="100000"/>
                  </a:schemeClr>
                </a:solidFill>
              </a:rPr>
              <a:t>Co</a:t>
            </a:r>
            <a:r>
              <a:rPr lang="en-US" altLang="zh-CN" sz="100">
                <a:solidFill>
                  <a:schemeClr val="dk1">
                    <a:lumMod val="100000"/>
                  </a:schemeClr>
                </a:solidFill>
              </a:rPr>
              <a:t> </a:t>
            </a:r>
            <a:r>
              <a:rPr lang="en-US" altLang="zh-CN" sz="1100">
                <a:solidFill>
                  <a:schemeClr val="dk1">
                    <a:lumMod val="100000"/>
                  </a:schemeClr>
                </a:solidFill>
              </a:rPr>
              <a:t>py </a:t>
            </a:r>
            <a:r>
              <a:rPr lang="en-US" altLang="zh-CN" sz="1100" dirty="0">
                <a:solidFill>
                  <a:schemeClr val="dk1">
                    <a:lumMod val="100000"/>
                  </a:schemeClr>
                </a:solidFill>
              </a:rPr>
              <a:t>paste fonts. Choose the only option to retain text.</a:t>
            </a:r>
          </a:p>
          <a:p>
            <a:pPr algn="ctr">
              <a:lnSpc>
                <a:spcPct val="150000"/>
              </a:lnSpc>
            </a:pPr>
            <a:r>
              <a:rPr lang="en-US" altLang="zh-CN" sz="1100" dirty="0">
                <a:solidFill>
                  <a:schemeClr val="dk1">
                    <a:lumMod val="100000"/>
                  </a:schemeClr>
                </a:solidFill>
              </a:rPr>
              <a:t>……</a:t>
            </a:r>
            <a:endParaRPr lang="zh-CN" altLang="en-US" sz="1100" dirty="0">
              <a:solidFill>
                <a:schemeClr val="dk1">
                  <a:lumMod val="100000"/>
                </a:schemeClr>
              </a:solidFill>
            </a:endParaRPr>
          </a:p>
        </p:txBody>
      </p:sp>
      <p:sp>
        <p:nvSpPr>
          <p:cNvPr id="73" name="ïşľîḑe">
            <a:extLst>
              <a:ext uri="{FF2B5EF4-FFF2-40B4-BE49-F238E27FC236}">
                <a16:creationId xmlns:a16="http://schemas.microsoft.com/office/drawing/2014/main" id="{3A1FCEAF-431B-4CE0-BC0C-5D7A1E00BF1C}"/>
              </a:ext>
            </a:extLst>
          </p:cNvPr>
          <p:cNvSpPr/>
          <p:nvPr/>
        </p:nvSpPr>
        <p:spPr>
          <a:xfrm>
            <a:off x="673100" y="3062174"/>
            <a:ext cx="2353932" cy="502087"/>
          </a:xfrm>
          <a:prstGeom prst="rect">
            <a:avLst/>
          </a:prstGeom>
          <a:solidFill>
            <a:schemeClr val="accent1"/>
          </a:solidFill>
          <a:ln w="3175">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r>
              <a:rPr lang="en-US" altLang="zh-CN" sz="2000" b="1"/>
              <a:t>Text</a:t>
            </a:r>
            <a:r>
              <a:rPr lang="en-US" altLang="zh-CN" sz="100" b="1"/>
              <a:t> </a:t>
            </a:r>
            <a:r>
              <a:rPr lang="en-US" altLang="zh-CN" sz="2000" b="1"/>
              <a:t> </a:t>
            </a:r>
            <a:r>
              <a:rPr lang="en-US" altLang="zh-CN" sz="2000" b="1" dirty="0"/>
              <a:t>here</a:t>
            </a:r>
            <a:endParaRPr lang="zh-CN" altLang="en-US" sz="2000" b="1" dirty="0"/>
          </a:p>
        </p:txBody>
      </p:sp>
      <p:sp>
        <p:nvSpPr>
          <p:cNvPr id="74" name="ïSlîḓè">
            <a:extLst>
              <a:ext uri="{FF2B5EF4-FFF2-40B4-BE49-F238E27FC236}">
                <a16:creationId xmlns:a16="http://schemas.microsoft.com/office/drawing/2014/main" id="{09165670-8F9E-4FC1-8F15-874A48E2051D}"/>
              </a:ext>
            </a:extLst>
          </p:cNvPr>
          <p:cNvSpPr/>
          <p:nvPr/>
        </p:nvSpPr>
        <p:spPr>
          <a:xfrm>
            <a:off x="3503723" y="3564261"/>
            <a:ext cx="2353932" cy="2119740"/>
          </a:xfrm>
          <a:prstGeom prst="rect">
            <a:avLst/>
          </a:prstGeom>
          <a:noFill/>
          <a:ln w="3175">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en-US" altLang="zh-CN" sz="1100" dirty="0">
                <a:solidFill>
                  <a:schemeClr val="dk1">
                    <a:lumMod val="100000"/>
                  </a:schemeClr>
                </a:solidFill>
              </a:rPr>
              <a:t>Copy paste fonts. Choose </a:t>
            </a:r>
            <a:r>
              <a:rPr lang="en-US" altLang="zh-CN" sz="1100">
                <a:solidFill>
                  <a:schemeClr val="dk1">
                    <a:lumMod val="100000"/>
                  </a:schemeClr>
                </a:solidFill>
              </a:rPr>
              <a:t>the o</a:t>
            </a:r>
            <a:r>
              <a:rPr lang="en-US" altLang="zh-CN" sz="100">
                <a:solidFill>
                  <a:schemeClr val="dk1">
                    <a:lumMod val="100000"/>
                  </a:schemeClr>
                </a:solidFill>
              </a:rPr>
              <a:t> </a:t>
            </a:r>
            <a:r>
              <a:rPr lang="en-US" altLang="zh-CN" sz="1100">
                <a:solidFill>
                  <a:schemeClr val="dk1">
                    <a:lumMod val="100000"/>
                  </a:schemeClr>
                </a:solidFill>
              </a:rPr>
              <a:t>nly </a:t>
            </a:r>
            <a:r>
              <a:rPr lang="en-US" altLang="zh-CN" sz="1100" dirty="0">
                <a:solidFill>
                  <a:schemeClr val="dk1">
                    <a:lumMod val="100000"/>
                  </a:schemeClr>
                </a:solidFill>
              </a:rPr>
              <a:t>option to retain text.</a:t>
            </a:r>
          </a:p>
          <a:p>
            <a:pPr algn="ctr">
              <a:lnSpc>
                <a:spcPct val="150000"/>
              </a:lnSpc>
            </a:pPr>
            <a:r>
              <a:rPr lang="en-US" altLang="zh-CN" sz="1100" dirty="0">
                <a:solidFill>
                  <a:schemeClr val="dk1">
                    <a:lumMod val="100000"/>
                  </a:schemeClr>
                </a:solidFill>
              </a:rPr>
              <a:t>……</a:t>
            </a:r>
          </a:p>
        </p:txBody>
      </p:sp>
      <p:sp>
        <p:nvSpPr>
          <p:cNvPr id="75" name="îšļíḋê">
            <a:extLst>
              <a:ext uri="{FF2B5EF4-FFF2-40B4-BE49-F238E27FC236}">
                <a16:creationId xmlns:a16="http://schemas.microsoft.com/office/drawing/2014/main" id="{52B8EA97-D886-40C0-B5D9-79CE7206646F}"/>
              </a:ext>
            </a:extLst>
          </p:cNvPr>
          <p:cNvSpPr/>
          <p:nvPr/>
        </p:nvSpPr>
        <p:spPr>
          <a:xfrm>
            <a:off x="3503723" y="3062174"/>
            <a:ext cx="2353932" cy="502087"/>
          </a:xfrm>
          <a:prstGeom prst="rect">
            <a:avLst/>
          </a:prstGeom>
          <a:solidFill>
            <a:schemeClr val="accent2"/>
          </a:solidFill>
          <a:ln w="3175">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r>
              <a:rPr lang="en-US" altLang="zh-CN" sz="2000" b="1"/>
              <a:t>Text</a:t>
            </a:r>
            <a:r>
              <a:rPr lang="en-US" altLang="zh-CN" sz="100" b="1"/>
              <a:t> </a:t>
            </a:r>
            <a:r>
              <a:rPr lang="en-US" altLang="zh-CN" sz="2000" b="1"/>
              <a:t> </a:t>
            </a:r>
            <a:r>
              <a:rPr lang="en-US" altLang="zh-CN" sz="2000" b="1" dirty="0"/>
              <a:t>here</a:t>
            </a:r>
            <a:endParaRPr lang="zh-CN" altLang="en-US" sz="2000" b="1" dirty="0"/>
          </a:p>
        </p:txBody>
      </p:sp>
      <p:sp>
        <p:nvSpPr>
          <p:cNvPr id="76" name="îṩḻîḋè">
            <a:extLst>
              <a:ext uri="{FF2B5EF4-FFF2-40B4-BE49-F238E27FC236}">
                <a16:creationId xmlns:a16="http://schemas.microsoft.com/office/drawing/2014/main" id="{84EBD0E6-55AA-44C2-A263-D903DB718D8A}"/>
              </a:ext>
            </a:extLst>
          </p:cNvPr>
          <p:cNvSpPr/>
          <p:nvPr/>
        </p:nvSpPr>
        <p:spPr>
          <a:xfrm>
            <a:off x="6334346" y="3564261"/>
            <a:ext cx="2353932" cy="2119740"/>
          </a:xfrm>
          <a:prstGeom prst="rect">
            <a:avLst/>
          </a:prstGeom>
          <a:noFill/>
          <a:ln w="3175">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en-US" altLang="zh-CN" sz="1100" dirty="0">
                <a:solidFill>
                  <a:schemeClr val="dk1">
                    <a:lumMod val="100000"/>
                  </a:schemeClr>
                </a:solidFill>
              </a:rPr>
              <a:t>Copy paste fonts. Choose the only option to retain text.</a:t>
            </a:r>
          </a:p>
          <a:p>
            <a:pPr algn="ctr">
              <a:lnSpc>
                <a:spcPct val="150000"/>
              </a:lnSpc>
            </a:pPr>
            <a:r>
              <a:rPr lang="en-US" altLang="zh-CN" sz="1100" dirty="0">
                <a:solidFill>
                  <a:schemeClr val="dk1">
                    <a:lumMod val="100000"/>
                  </a:schemeClr>
                </a:solidFill>
              </a:rPr>
              <a:t>……</a:t>
            </a:r>
          </a:p>
          <a:p>
            <a:pPr algn="ctr">
              <a:lnSpc>
                <a:spcPct val="150000"/>
              </a:lnSpc>
            </a:pPr>
            <a:r>
              <a:rPr lang="en-US" altLang="zh-CN" sz="1100">
                <a:solidFill>
                  <a:schemeClr val="dk1">
                    <a:lumMod val="100000"/>
                  </a:schemeClr>
                </a:solidFill>
              </a:rPr>
              <a:t>Co</a:t>
            </a:r>
            <a:r>
              <a:rPr lang="en-US" altLang="zh-CN" sz="100">
                <a:solidFill>
                  <a:schemeClr val="dk1">
                    <a:lumMod val="100000"/>
                  </a:schemeClr>
                </a:solidFill>
              </a:rPr>
              <a:t> </a:t>
            </a:r>
            <a:r>
              <a:rPr lang="en-US" altLang="zh-CN" sz="1100">
                <a:solidFill>
                  <a:schemeClr val="dk1">
                    <a:lumMod val="100000"/>
                  </a:schemeClr>
                </a:solidFill>
              </a:rPr>
              <a:t>py </a:t>
            </a:r>
            <a:r>
              <a:rPr lang="en-US" altLang="zh-CN" sz="1100" dirty="0">
                <a:solidFill>
                  <a:schemeClr val="dk1">
                    <a:lumMod val="100000"/>
                  </a:schemeClr>
                </a:solidFill>
              </a:rPr>
              <a:t>paste fonts. Choose the only option to retain text.</a:t>
            </a:r>
          </a:p>
          <a:p>
            <a:pPr algn="ctr">
              <a:lnSpc>
                <a:spcPct val="150000"/>
              </a:lnSpc>
            </a:pPr>
            <a:r>
              <a:rPr lang="en-US" altLang="zh-CN" sz="1100" dirty="0">
                <a:solidFill>
                  <a:schemeClr val="dk1">
                    <a:lumMod val="100000"/>
                  </a:schemeClr>
                </a:solidFill>
              </a:rPr>
              <a:t>……</a:t>
            </a:r>
            <a:endParaRPr lang="zh-CN" altLang="en-US" sz="1100" dirty="0">
              <a:solidFill>
                <a:schemeClr val="dk1">
                  <a:lumMod val="100000"/>
                </a:schemeClr>
              </a:solidFill>
            </a:endParaRPr>
          </a:p>
        </p:txBody>
      </p:sp>
      <p:sp>
        <p:nvSpPr>
          <p:cNvPr id="77" name="iṣ1iďé">
            <a:extLst>
              <a:ext uri="{FF2B5EF4-FFF2-40B4-BE49-F238E27FC236}">
                <a16:creationId xmlns:a16="http://schemas.microsoft.com/office/drawing/2014/main" id="{86235DCC-E5D7-4597-A8D5-D3923BC40266}"/>
              </a:ext>
            </a:extLst>
          </p:cNvPr>
          <p:cNvSpPr/>
          <p:nvPr/>
        </p:nvSpPr>
        <p:spPr>
          <a:xfrm>
            <a:off x="6334346" y="3062174"/>
            <a:ext cx="2353932" cy="502087"/>
          </a:xfrm>
          <a:prstGeom prst="rect">
            <a:avLst/>
          </a:prstGeom>
          <a:solidFill>
            <a:schemeClr val="accent3"/>
          </a:solidFill>
          <a:ln w="3175">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r>
              <a:rPr lang="en-US" altLang="zh-CN" sz="2000" b="1"/>
              <a:t>Text</a:t>
            </a:r>
            <a:r>
              <a:rPr lang="en-US" altLang="zh-CN" sz="100" b="1"/>
              <a:t> </a:t>
            </a:r>
            <a:r>
              <a:rPr lang="en-US" altLang="zh-CN" sz="2000" b="1"/>
              <a:t> </a:t>
            </a:r>
            <a:r>
              <a:rPr lang="en-US" altLang="zh-CN" sz="2000" b="1" dirty="0"/>
              <a:t>here</a:t>
            </a:r>
            <a:endParaRPr lang="zh-CN" altLang="en-US" sz="2000" b="1" dirty="0"/>
          </a:p>
        </p:txBody>
      </p:sp>
      <p:sp>
        <p:nvSpPr>
          <p:cNvPr id="78" name="işḻîďê">
            <a:extLst>
              <a:ext uri="{FF2B5EF4-FFF2-40B4-BE49-F238E27FC236}">
                <a16:creationId xmlns:a16="http://schemas.microsoft.com/office/drawing/2014/main" id="{757449A2-46B1-4A6C-87C7-0F26D34DD44F}"/>
              </a:ext>
            </a:extLst>
          </p:cNvPr>
          <p:cNvSpPr/>
          <p:nvPr/>
        </p:nvSpPr>
        <p:spPr>
          <a:xfrm>
            <a:off x="9164968" y="3564261"/>
            <a:ext cx="2353932" cy="2119740"/>
          </a:xfrm>
          <a:prstGeom prst="rect">
            <a:avLst/>
          </a:prstGeom>
          <a:noFill/>
          <a:ln w="3175">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en-US" altLang="zh-CN" sz="1100" dirty="0">
                <a:solidFill>
                  <a:schemeClr val="dk1">
                    <a:lumMod val="100000"/>
                  </a:schemeClr>
                </a:solidFill>
              </a:rPr>
              <a:t>Copy paste fonts. Choose </a:t>
            </a:r>
            <a:r>
              <a:rPr lang="en-US" altLang="zh-CN" sz="1100">
                <a:solidFill>
                  <a:schemeClr val="dk1">
                    <a:lumMod val="100000"/>
                  </a:schemeClr>
                </a:solidFill>
              </a:rPr>
              <a:t>the o</a:t>
            </a:r>
            <a:r>
              <a:rPr lang="en-US" altLang="zh-CN" sz="100">
                <a:solidFill>
                  <a:schemeClr val="dk1">
                    <a:lumMod val="100000"/>
                  </a:schemeClr>
                </a:solidFill>
              </a:rPr>
              <a:t> </a:t>
            </a:r>
            <a:r>
              <a:rPr lang="en-US" altLang="zh-CN" sz="1100">
                <a:solidFill>
                  <a:schemeClr val="dk1">
                    <a:lumMod val="100000"/>
                  </a:schemeClr>
                </a:solidFill>
              </a:rPr>
              <a:t>nly </a:t>
            </a:r>
            <a:r>
              <a:rPr lang="en-US" altLang="zh-CN" sz="1100" dirty="0">
                <a:solidFill>
                  <a:schemeClr val="dk1">
                    <a:lumMod val="100000"/>
                  </a:schemeClr>
                </a:solidFill>
              </a:rPr>
              <a:t>option to retain text.</a:t>
            </a:r>
          </a:p>
          <a:p>
            <a:pPr algn="ctr">
              <a:lnSpc>
                <a:spcPct val="150000"/>
              </a:lnSpc>
            </a:pPr>
            <a:r>
              <a:rPr lang="en-US" altLang="zh-CN" sz="1100" dirty="0">
                <a:solidFill>
                  <a:schemeClr val="dk1">
                    <a:lumMod val="100000"/>
                  </a:schemeClr>
                </a:solidFill>
              </a:rPr>
              <a:t>……</a:t>
            </a:r>
          </a:p>
        </p:txBody>
      </p:sp>
      <p:sp>
        <p:nvSpPr>
          <p:cNvPr id="79" name="îs1îḑê">
            <a:extLst>
              <a:ext uri="{FF2B5EF4-FFF2-40B4-BE49-F238E27FC236}">
                <a16:creationId xmlns:a16="http://schemas.microsoft.com/office/drawing/2014/main" id="{4B6B4E28-E77D-4BB5-A29B-39FEF7C704AF}"/>
              </a:ext>
            </a:extLst>
          </p:cNvPr>
          <p:cNvSpPr/>
          <p:nvPr/>
        </p:nvSpPr>
        <p:spPr>
          <a:xfrm>
            <a:off x="9164968" y="3062174"/>
            <a:ext cx="2353932" cy="502087"/>
          </a:xfrm>
          <a:prstGeom prst="rect">
            <a:avLst/>
          </a:prstGeom>
          <a:solidFill>
            <a:schemeClr val="accent4"/>
          </a:solidFill>
          <a:ln w="3175">
            <a:solidFill>
              <a:schemeClr val="bg1">
                <a:lumMod val="85000"/>
              </a:schemeClr>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r>
              <a:rPr lang="en-US" altLang="zh-CN" sz="2000" b="1"/>
              <a:t>Text</a:t>
            </a:r>
            <a:r>
              <a:rPr lang="en-US" altLang="zh-CN" sz="100" b="1"/>
              <a:t> </a:t>
            </a:r>
            <a:r>
              <a:rPr lang="en-US" altLang="zh-CN" sz="2000" b="1"/>
              <a:t> </a:t>
            </a:r>
            <a:r>
              <a:rPr lang="en-US" altLang="zh-CN" sz="2000" b="1" dirty="0"/>
              <a:t>here</a:t>
            </a:r>
            <a:endParaRPr lang="zh-CN" altLang="en-US" sz="2000" b="1" dirty="0"/>
          </a:p>
        </p:txBody>
      </p:sp>
      <p:cxnSp>
        <p:nvCxnSpPr>
          <p:cNvPr id="88" name="iśľiḋê">
            <a:extLst>
              <a:ext uri="{FF2B5EF4-FFF2-40B4-BE49-F238E27FC236}">
                <a16:creationId xmlns:a16="http://schemas.microsoft.com/office/drawing/2014/main" id="{D98DFD6A-D412-4F40-89DC-F0706E4F2776}"/>
              </a:ext>
            </a:extLst>
          </p:cNvPr>
          <p:cNvCxnSpPr/>
          <p:nvPr/>
        </p:nvCxnSpPr>
        <p:spPr>
          <a:xfrm>
            <a:off x="673100" y="2455815"/>
            <a:ext cx="10845800" cy="0"/>
          </a:xfrm>
          <a:prstGeom prst="line">
            <a:avLst/>
          </a:prstGeom>
          <a:ln w="1905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89" name="isḻïḍê">
            <a:extLst>
              <a:ext uri="{FF2B5EF4-FFF2-40B4-BE49-F238E27FC236}">
                <a16:creationId xmlns:a16="http://schemas.microsoft.com/office/drawing/2014/main" id="{07D0CC0D-1808-4D17-97E0-21EB38A0B7B4}"/>
              </a:ext>
            </a:extLst>
          </p:cNvPr>
          <p:cNvSpPr/>
          <p:nvPr/>
        </p:nvSpPr>
        <p:spPr>
          <a:xfrm>
            <a:off x="1558961" y="1971588"/>
            <a:ext cx="582211" cy="307777"/>
          </a:xfrm>
          <a:prstGeom prst="rect">
            <a:avLst/>
          </a:prstGeom>
        </p:spPr>
        <p:txBody>
          <a:bodyPr wrap="square" lIns="91440" tIns="45720" rIns="91440" bIns="45720" anchor="ctr" anchorCtr="0">
            <a:normAutofit fontScale="850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b="1"/>
              <a:t>20</a:t>
            </a:r>
            <a:r>
              <a:rPr lang="en-US" altLang="zh-CN" sz="100" b="1"/>
              <a:t> </a:t>
            </a:r>
            <a:r>
              <a:rPr lang="en-US" altLang="zh-CN" sz="1400" b="1"/>
              <a:t>XX</a:t>
            </a:r>
            <a:endParaRPr lang="zh-CN" altLang="en-US" sz="1400" b="1" dirty="0"/>
          </a:p>
        </p:txBody>
      </p:sp>
      <p:sp>
        <p:nvSpPr>
          <p:cNvPr id="90" name="îsḷiḍe">
            <a:extLst>
              <a:ext uri="{FF2B5EF4-FFF2-40B4-BE49-F238E27FC236}">
                <a16:creationId xmlns:a16="http://schemas.microsoft.com/office/drawing/2014/main" id="{C5AC54F3-74B2-4DD9-8DF0-DEC15B0D8D3E}"/>
              </a:ext>
            </a:extLst>
          </p:cNvPr>
          <p:cNvSpPr/>
          <p:nvPr/>
        </p:nvSpPr>
        <p:spPr>
          <a:xfrm>
            <a:off x="4389584" y="1971588"/>
            <a:ext cx="582211" cy="307777"/>
          </a:xfrm>
          <a:prstGeom prst="rect">
            <a:avLst/>
          </a:prstGeom>
        </p:spPr>
        <p:txBody>
          <a:bodyPr wrap="square" lIns="91440" tIns="45720" rIns="91440" bIns="45720" anchor="ctr" anchorCtr="0">
            <a:normAutofit fontScale="850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b="1"/>
              <a:t>20</a:t>
            </a:r>
            <a:r>
              <a:rPr lang="en-US" altLang="zh-CN" sz="100" b="1"/>
              <a:t> </a:t>
            </a:r>
            <a:r>
              <a:rPr lang="en-US" altLang="zh-CN" sz="1400" b="1"/>
              <a:t>XX</a:t>
            </a:r>
            <a:endParaRPr lang="zh-CN" altLang="en-US" sz="1400" b="1" dirty="0"/>
          </a:p>
        </p:txBody>
      </p:sp>
      <p:sp>
        <p:nvSpPr>
          <p:cNvPr id="91" name="ïš1îḑê">
            <a:extLst>
              <a:ext uri="{FF2B5EF4-FFF2-40B4-BE49-F238E27FC236}">
                <a16:creationId xmlns:a16="http://schemas.microsoft.com/office/drawing/2014/main" id="{82F2337F-C55D-4ED6-8FFA-668064BE7A8D}"/>
              </a:ext>
            </a:extLst>
          </p:cNvPr>
          <p:cNvSpPr/>
          <p:nvPr/>
        </p:nvSpPr>
        <p:spPr>
          <a:xfrm>
            <a:off x="7220207" y="1971588"/>
            <a:ext cx="582211" cy="307777"/>
          </a:xfrm>
          <a:prstGeom prst="rect">
            <a:avLst/>
          </a:prstGeom>
        </p:spPr>
        <p:txBody>
          <a:bodyPr wrap="square" lIns="91440" tIns="45720" rIns="91440" bIns="45720" anchor="ctr" anchorCtr="0">
            <a:normAutofit fontScale="850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b="1"/>
              <a:t>20</a:t>
            </a:r>
            <a:r>
              <a:rPr lang="en-US" altLang="zh-CN" sz="100" b="1"/>
              <a:t> </a:t>
            </a:r>
            <a:r>
              <a:rPr lang="en-US" altLang="zh-CN" sz="1400" b="1"/>
              <a:t>XX</a:t>
            </a:r>
            <a:endParaRPr lang="zh-CN" altLang="en-US" sz="1400" b="1" dirty="0"/>
          </a:p>
        </p:txBody>
      </p:sp>
      <p:sp>
        <p:nvSpPr>
          <p:cNvPr id="92" name="í$ḻïďe">
            <a:extLst>
              <a:ext uri="{FF2B5EF4-FFF2-40B4-BE49-F238E27FC236}">
                <a16:creationId xmlns:a16="http://schemas.microsoft.com/office/drawing/2014/main" id="{4C025DFF-4A52-48FA-9C68-50A5727AD61E}"/>
              </a:ext>
            </a:extLst>
          </p:cNvPr>
          <p:cNvSpPr/>
          <p:nvPr/>
        </p:nvSpPr>
        <p:spPr>
          <a:xfrm>
            <a:off x="10050829" y="1971588"/>
            <a:ext cx="582211" cy="307777"/>
          </a:xfrm>
          <a:prstGeom prst="rect">
            <a:avLst/>
          </a:prstGeom>
        </p:spPr>
        <p:txBody>
          <a:bodyPr wrap="square" lIns="91440" tIns="45720" rIns="91440" bIns="45720" anchor="ctr" anchorCtr="0">
            <a:normAutofit fontScale="850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400" b="1"/>
              <a:t>20</a:t>
            </a:r>
            <a:r>
              <a:rPr lang="en-US" altLang="zh-CN" sz="100" b="1"/>
              <a:t> </a:t>
            </a:r>
            <a:r>
              <a:rPr lang="en-US" altLang="zh-CN" sz="1400" b="1"/>
              <a:t>XX</a:t>
            </a:r>
            <a:endParaRPr lang="zh-CN" altLang="en-US" sz="1400" b="1" dirty="0"/>
          </a:p>
        </p:txBody>
      </p:sp>
      <p:sp>
        <p:nvSpPr>
          <p:cNvPr id="5" name="îṧḻiḑê">
            <a:extLst>
              <a:ext uri="{FF2B5EF4-FFF2-40B4-BE49-F238E27FC236}">
                <a16:creationId xmlns:a16="http://schemas.microsoft.com/office/drawing/2014/main" id="{0445DE87-192B-461D-B149-B3C9131B6A68}"/>
              </a:ext>
            </a:extLst>
          </p:cNvPr>
          <p:cNvSpPr/>
          <p:nvPr/>
        </p:nvSpPr>
        <p:spPr>
          <a:xfrm>
            <a:off x="1782618" y="2410691"/>
            <a:ext cx="83127" cy="83127"/>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8" name="ïšlíďé">
            <a:extLst>
              <a:ext uri="{FF2B5EF4-FFF2-40B4-BE49-F238E27FC236}">
                <a16:creationId xmlns:a16="http://schemas.microsoft.com/office/drawing/2014/main" id="{F60960E7-7948-4421-A5F4-39698AB946E9}"/>
              </a:ext>
            </a:extLst>
          </p:cNvPr>
          <p:cNvSpPr/>
          <p:nvPr/>
        </p:nvSpPr>
        <p:spPr>
          <a:xfrm>
            <a:off x="4639125" y="2410691"/>
            <a:ext cx="83127" cy="83127"/>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9" name="î$ļïdê">
            <a:extLst>
              <a:ext uri="{FF2B5EF4-FFF2-40B4-BE49-F238E27FC236}">
                <a16:creationId xmlns:a16="http://schemas.microsoft.com/office/drawing/2014/main" id="{959C0919-ECD1-4963-BA97-2157EB1ADFA3}"/>
              </a:ext>
            </a:extLst>
          </p:cNvPr>
          <p:cNvSpPr/>
          <p:nvPr/>
        </p:nvSpPr>
        <p:spPr>
          <a:xfrm>
            <a:off x="7495632" y="2410691"/>
            <a:ext cx="83127" cy="83127"/>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30" name="iṡļiḓé">
            <a:extLst>
              <a:ext uri="{FF2B5EF4-FFF2-40B4-BE49-F238E27FC236}">
                <a16:creationId xmlns:a16="http://schemas.microsoft.com/office/drawing/2014/main" id="{F5CCBCF0-B389-42F3-8E01-1014CBF01713}"/>
              </a:ext>
            </a:extLst>
          </p:cNvPr>
          <p:cNvSpPr/>
          <p:nvPr/>
        </p:nvSpPr>
        <p:spPr>
          <a:xfrm>
            <a:off x="10352139" y="2410691"/>
            <a:ext cx="83127" cy="83127"/>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Tree>
    <p:custDataLst>
      <p:tags r:id="rId2"/>
    </p:custDataLst>
    <p:extLst>
      <p:ext uri="{BB962C8B-B14F-4D97-AF65-F5344CB8AC3E}">
        <p14:creationId xmlns:p14="http://schemas.microsoft.com/office/powerpoint/2010/main" val="40813115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îṡḷîḓe"/>
        <p:cNvGrpSpPr/>
        <p:nvPr/>
      </p:nvGrpSpPr>
      <p:grpSpPr>
        <a:xfrm>
          <a:off x="0" y="0"/>
          <a:ext cx="0" cy="0"/>
          <a:chOff x="0" y="0"/>
          <a:chExt cx="0" cy="0"/>
        </a:xfrm>
      </p:grpSpPr>
      <p:sp>
        <p:nvSpPr>
          <p:cNvPr id="2" name="ïślïḋé">
            <a:extLst>
              <a:ext uri="{FF2B5EF4-FFF2-40B4-BE49-F238E27FC236}">
                <a16:creationId xmlns:a16="http://schemas.microsoft.com/office/drawing/2014/main" id="{44076028-FE43-4B88-BB54-50F2DC9978A1}"/>
              </a:ext>
            </a:extLst>
          </p:cNvPr>
          <p:cNvSpPr>
            <a:spLocks noGrp="1"/>
          </p:cNvSpPr>
          <p:nvPr>
            <p:ph type="title"/>
          </p:nvPr>
        </p:nvSpPr>
        <p:spPr/>
        <p:txBody>
          <a:bodyPr/>
          <a:lstStyle/>
          <a:p>
            <a:r>
              <a:rPr lang="en-US" altLang="zh-CN" dirty="0"/>
              <a:t>Click to </a:t>
            </a:r>
            <a:r>
              <a:rPr lang="en-US" altLang="zh-CN"/>
              <a:t>edit Ma</a:t>
            </a:r>
            <a:r>
              <a:rPr lang="en-US" altLang="zh-CN" sz="100"/>
              <a:t> </a:t>
            </a:r>
            <a:r>
              <a:rPr lang="en-US" altLang="zh-CN"/>
              <a:t>ster </a:t>
            </a:r>
            <a:r>
              <a:rPr lang="en-US" altLang="zh-CN" dirty="0"/>
              <a:t>title style</a:t>
            </a:r>
            <a:endParaRPr lang="zh-CN" altLang="en-US" dirty="0"/>
          </a:p>
        </p:txBody>
      </p:sp>
      <p:sp>
        <p:nvSpPr>
          <p:cNvPr id="3" name="iṡļîḋé">
            <a:extLst>
              <a:ext uri="{FF2B5EF4-FFF2-40B4-BE49-F238E27FC236}">
                <a16:creationId xmlns:a16="http://schemas.microsoft.com/office/drawing/2014/main" id="{66723271-375C-421A-85A8-D7183650AB60}"/>
              </a:ext>
            </a:extLst>
          </p:cNvPr>
          <p:cNvSpPr>
            <a:spLocks noGrp="1"/>
          </p:cNvSpPr>
          <p:nvPr>
            <p:ph type="ftr" sz="quarter" idx="11"/>
          </p:nvPr>
        </p:nvSpPr>
        <p:spPr/>
        <p:txBody>
          <a:bodyPr/>
          <a:lstStyle/>
          <a:p>
            <a:r>
              <a:rPr lang="zh-CN" altLang="en-US"/>
              <a:t>请在插入菜单</a:t>
            </a:r>
            <a:r>
              <a:rPr lang="en-US" altLang="zh-CN"/>
              <a:t>—</a:t>
            </a:r>
            <a:r>
              <a:rPr lang="zh-CN" altLang="en-US"/>
              <a:t>页眉</a:t>
            </a:r>
            <a:r>
              <a:rPr lang="zh-CN" altLang="en-US" sz="100"/>
              <a:t> </a:t>
            </a:r>
            <a:r>
              <a:rPr lang="zh-CN" altLang="en-US"/>
              <a:t>和页脚中修改此文本</a:t>
            </a:r>
            <a:endParaRPr lang="zh-CN" altLang="en-US" dirty="0"/>
          </a:p>
        </p:txBody>
      </p:sp>
      <p:sp>
        <p:nvSpPr>
          <p:cNvPr id="4" name="ïŝḻídè">
            <a:extLst>
              <a:ext uri="{FF2B5EF4-FFF2-40B4-BE49-F238E27FC236}">
                <a16:creationId xmlns:a16="http://schemas.microsoft.com/office/drawing/2014/main" id="{D0C7B971-AF40-4CAE-B737-8CFE1BBF86A1}"/>
              </a:ext>
            </a:extLst>
          </p:cNvPr>
          <p:cNvSpPr>
            <a:spLocks noGrp="1"/>
          </p:cNvSpPr>
          <p:nvPr>
            <p:ph type="sldNum" sz="quarter" idx="12"/>
          </p:nvPr>
        </p:nvSpPr>
        <p:spPr/>
        <p:txBody>
          <a:bodyPr/>
          <a:lstStyle/>
          <a:p>
            <a:fld id="{5DD3DB80-B894-403A-B48E-6FDC1A72010E}" type="slidenum">
              <a:rPr lang="zh-CN" altLang="en-US" smtClean="0"/>
              <a:pPr/>
              <a:t>25</a:t>
            </a:fld>
            <a:r>
              <a:rPr lang="zh-CN" altLang="en-US" sz="100"/>
              <a:t> </a:t>
            </a:r>
          </a:p>
        </p:txBody>
      </p:sp>
      <p:grpSp>
        <p:nvGrpSpPr>
          <p:cNvPr id="101" name="iṩ1iḓ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B67AA06-90BF-4A9B-8652-ED5E68A212DD}"/>
              </a:ext>
            </a:extLst>
          </p:cNvPr>
          <p:cNvGrpSpPr>
            <a:grpSpLocks noChangeAspect="1"/>
          </p:cNvGrpSpPr>
          <p:nvPr/>
        </p:nvGrpSpPr>
        <p:grpSpPr>
          <a:xfrm>
            <a:off x="673100" y="1761259"/>
            <a:ext cx="10845798" cy="3754583"/>
            <a:chOff x="673100" y="1761259"/>
            <a:chExt cx="10845798" cy="3754583"/>
          </a:xfrm>
        </p:grpSpPr>
        <p:sp>
          <p:nvSpPr>
            <p:cNvPr id="102" name="íṥ1iḑe">
              <a:extLst>
                <a:ext uri="{FF2B5EF4-FFF2-40B4-BE49-F238E27FC236}">
                  <a16:creationId xmlns:a16="http://schemas.microsoft.com/office/drawing/2014/main" id="{1507610B-EBA7-41C3-9773-821374D1CDBA}"/>
                </a:ext>
              </a:extLst>
            </p:cNvPr>
            <p:cNvSpPr/>
            <p:nvPr/>
          </p:nvSpPr>
          <p:spPr>
            <a:xfrm rot="20290814">
              <a:off x="4945780" y="2494002"/>
              <a:ext cx="1184663" cy="1353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03" name="í$1iḋé">
              <a:extLst>
                <a:ext uri="{FF2B5EF4-FFF2-40B4-BE49-F238E27FC236}">
                  <a16:creationId xmlns:a16="http://schemas.microsoft.com/office/drawing/2014/main" id="{656A3534-3A5E-4BA0-920A-C4A2E9F4ADE0}"/>
                </a:ext>
              </a:extLst>
            </p:cNvPr>
            <p:cNvSpPr/>
            <p:nvPr/>
          </p:nvSpPr>
          <p:spPr>
            <a:xfrm>
              <a:off x="5822285" y="1960824"/>
              <a:ext cx="691140" cy="69114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04" name="íṧ1ïďé">
              <a:extLst>
                <a:ext uri="{FF2B5EF4-FFF2-40B4-BE49-F238E27FC236}">
                  <a16:creationId xmlns:a16="http://schemas.microsoft.com/office/drawing/2014/main" id="{DDE9D6D1-5D0C-4B1A-BBEF-EEE23FC1A54F}"/>
                </a:ext>
              </a:extLst>
            </p:cNvPr>
            <p:cNvSpPr/>
            <p:nvPr/>
          </p:nvSpPr>
          <p:spPr>
            <a:xfrm rot="4368681">
              <a:off x="4327753" y="4144395"/>
              <a:ext cx="1184662" cy="1353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05" name="iṡ1iḋe">
              <a:extLst>
                <a:ext uri="{FF2B5EF4-FFF2-40B4-BE49-F238E27FC236}">
                  <a16:creationId xmlns:a16="http://schemas.microsoft.com/office/drawing/2014/main" id="{4BBC49EE-C679-4980-BE20-B0BFF3C22E1D}"/>
                </a:ext>
              </a:extLst>
            </p:cNvPr>
            <p:cNvSpPr/>
            <p:nvPr/>
          </p:nvSpPr>
          <p:spPr>
            <a:xfrm>
              <a:off x="4859294" y="4728724"/>
              <a:ext cx="691140" cy="69114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06" name="îslíḍè">
              <a:extLst>
                <a:ext uri="{FF2B5EF4-FFF2-40B4-BE49-F238E27FC236}">
                  <a16:creationId xmlns:a16="http://schemas.microsoft.com/office/drawing/2014/main" id="{8E1C6B55-1197-435F-8433-4AC64C80C594}"/>
                </a:ext>
              </a:extLst>
            </p:cNvPr>
            <p:cNvSpPr/>
            <p:nvPr/>
          </p:nvSpPr>
          <p:spPr>
            <a:xfrm rot="6672201">
              <a:off x="3456818" y="3861047"/>
              <a:ext cx="1184662" cy="1353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07" name="iṧļïḍé">
              <a:extLst>
                <a:ext uri="{FF2B5EF4-FFF2-40B4-BE49-F238E27FC236}">
                  <a16:creationId xmlns:a16="http://schemas.microsoft.com/office/drawing/2014/main" id="{7B534ABF-3FEE-4680-BBCD-93CB4D529387}"/>
                </a:ext>
              </a:extLst>
            </p:cNvPr>
            <p:cNvSpPr/>
            <p:nvPr/>
          </p:nvSpPr>
          <p:spPr>
            <a:xfrm>
              <a:off x="3460966" y="4224949"/>
              <a:ext cx="691140" cy="69114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08" name="îṧḻíḍe">
              <a:extLst>
                <a:ext uri="{FF2B5EF4-FFF2-40B4-BE49-F238E27FC236}">
                  <a16:creationId xmlns:a16="http://schemas.microsoft.com/office/drawing/2014/main" id="{8843AE6F-8E23-418B-9B4D-360874D1845F}"/>
                </a:ext>
              </a:extLst>
            </p:cNvPr>
            <p:cNvSpPr/>
            <p:nvPr/>
          </p:nvSpPr>
          <p:spPr>
            <a:xfrm rot="20290814">
              <a:off x="6745437" y="4819569"/>
              <a:ext cx="1184663" cy="1353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09" name="íṣľidè">
              <a:extLst>
                <a:ext uri="{FF2B5EF4-FFF2-40B4-BE49-F238E27FC236}">
                  <a16:creationId xmlns:a16="http://schemas.microsoft.com/office/drawing/2014/main" id="{09BEDFC5-4835-4FD8-BC6B-A9AA8EE21BA5}"/>
                </a:ext>
              </a:extLst>
            </p:cNvPr>
            <p:cNvSpPr/>
            <p:nvPr/>
          </p:nvSpPr>
          <p:spPr>
            <a:xfrm>
              <a:off x="6280026" y="4824702"/>
              <a:ext cx="691140" cy="69114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10" name="íśļíďè">
              <a:extLst>
                <a:ext uri="{FF2B5EF4-FFF2-40B4-BE49-F238E27FC236}">
                  <a16:creationId xmlns:a16="http://schemas.microsoft.com/office/drawing/2014/main" id="{5BD4E3EB-2B3E-4592-A01E-6AEA694CCE23}"/>
                </a:ext>
              </a:extLst>
            </p:cNvPr>
            <p:cNvSpPr/>
            <p:nvPr/>
          </p:nvSpPr>
          <p:spPr>
            <a:xfrm rot="6971444">
              <a:off x="7677451" y="3370283"/>
              <a:ext cx="1184663" cy="1353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11" name="íśliḍè">
              <a:extLst>
                <a:ext uri="{FF2B5EF4-FFF2-40B4-BE49-F238E27FC236}">
                  <a16:creationId xmlns:a16="http://schemas.microsoft.com/office/drawing/2014/main" id="{0A2E5E7B-E0A8-4FFD-8F7D-E3163DEC0233}"/>
                </a:ext>
              </a:extLst>
            </p:cNvPr>
            <p:cNvSpPr/>
            <p:nvPr/>
          </p:nvSpPr>
          <p:spPr>
            <a:xfrm>
              <a:off x="8039893" y="2717324"/>
              <a:ext cx="691140" cy="69114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12" name="ïšḷïdé">
              <a:extLst>
                <a:ext uri="{FF2B5EF4-FFF2-40B4-BE49-F238E27FC236}">
                  <a16:creationId xmlns:a16="http://schemas.microsoft.com/office/drawing/2014/main" id="{1E63F38F-62EF-43C0-949B-703540F78AE3}"/>
                </a:ext>
              </a:extLst>
            </p:cNvPr>
            <p:cNvSpPr/>
            <p:nvPr/>
          </p:nvSpPr>
          <p:spPr>
            <a:xfrm rot="2788240">
              <a:off x="6766355" y="3759722"/>
              <a:ext cx="1184662" cy="1353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13" name="iŝľíḍe">
              <a:extLst>
                <a:ext uri="{FF2B5EF4-FFF2-40B4-BE49-F238E27FC236}">
                  <a16:creationId xmlns:a16="http://schemas.microsoft.com/office/drawing/2014/main" id="{A9B56FDF-F1C0-4124-A078-3505BFF99184}"/>
                </a:ext>
              </a:extLst>
            </p:cNvPr>
            <p:cNvSpPr/>
            <p:nvPr/>
          </p:nvSpPr>
          <p:spPr>
            <a:xfrm rot="18000000">
              <a:off x="6477419" y="2604247"/>
              <a:ext cx="1184662" cy="1353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14" name="ïšḻiḑé">
              <a:extLst>
                <a:ext uri="{FF2B5EF4-FFF2-40B4-BE49-F238E27FC236}">
                  <a16:creationId xmlns:a16="http://schemas.microsoft.com/office/drawing/2014/main" id="{C8F090B8-6AF5-44DE-B079-84C9683E98C3}"/>
                </a:ext>
              </a:extLst>
            </p:cNvPr>
            <p:cNvSpPr/>
            <p:nvPr/>
          </p:nvSpPr>
          <p:spPr>
            <a:xfrm>
              <a:off x="6416011" y="2852156"/>
              <a:ext cx="691140" cy="69114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15" name="îṥ1ïde">
              <a:extLst>
                <a:ext uri="{FF2B5EF4-FFF2-40B4-BE49-F238E27FC236}">
                  <a16:creationId xmlns:a16="http://schemas.microsoft.com/office/drawing/2014/main" id="{5E741FF4-575A-4F70-BA69-CA387075C548}"/>
                </a:ext>
              </a:extLst>
            </p:cNvPr>
            <p:cNvSpPr/>
            <p:nvPr/>
          </p:nvSpPr>
          <p:spPr>
            <a:xfrm>
              <a:off x="7078777" y="1761259"/>
              <a:ext cx="691140" cy="69114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16" name="îṣḻiḍe">
              <a:extLst>
                <a:ext uri="{FF2B5EF4-FFF2-40B4-BE49-F238E27FC236}">
                  <a16:creationId xmlns:a16="http://schemas.microsoft.com/office/drawing/2014/main" id="{F0DCCADC-46AF-4F11-986F-0EA19321C2B0}"/>
                </a:ext>
              </a:extLst>
            </p:cNvPr>
            <p:cNvSpPr/>
            <p:nvPr/>
          </p:nvSpPr>
          <p:spPr>
            <a:xfrm rot="2306345">
              <a:off x="4756284" y="3645026"/>
              <a:ext cx="1184662" cy="1353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17" name="íṥľîḍé">
              <a:extLst>
                <a:ext uri="{FF2B5EF4-FFF2-40B4-BE49-F238E27FC236}">
                  <a16:creationId xmlns:a16="http://schemas.microsoft.com/office/drawing/2014/main" id="{46A72915-6F3A-4133-905C-9944BC11F043}"/>
                </a:ext>
              </a:extLst>
            </p:cNvPr>
            <p:cNvSpPr/>
            <p:nvPr/>
          </p:nvSpPr>
          <p:spPr>
            <a:xfrm rot="323843">
              <a:off x="6169250" y="4196467"/>
              <a:ext cx="1184662" cy="1353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grpSp>
          <p:nvGrpSpPr>
            <p:cNvPr id="118" name="iṥļïdè">
              <a:extLst>
                <a:ext uri="{FF2B5EF4-FFF2-40B4-BE49-F238E27FC236}">
                  <a16:creationId xmlns:a16="http://schemas.microsoft.com/office/drawing/2014/main" id="{697DC710-C3C8-494E-B8B0-B333236411C6}"/>
                </a:ext>
              </a:extLst>
            </p:cNvPr>
            <p:cNvGrpSpPr/>
            <p:nvPr/>
          </p:nvGrpSpPr>
          <p:grpSpPr>
            <a:xfrm>
              <a:off x="7250533" y="3730251"/>
              <a:ext cx="1375632" cy="1375632"/>
              <a:chOff x="7250535" y="3730252"/>
              <a:chExt cx="1375632" cy="1375632"/>
            </a:xfrm>
          </p:grpSpPr>
          <p:sp>
            <p:nvSpPr>
              <p:cNvPr id="131" name="ïšḻíḑe">
                <a:extLst>
                  <a:ext uri="{FF2B5EF4-FFF2-40B4-BE49-F238E27FC236}">
                    <a16:creationId xmlns:a16="http://schemas.microsoft.com/office/drawing/2014/main" id="{96D93B92-C476-4019-8F8D-E44E0DDF159A}"/>
                  </a:ext>
                </a:extLst>
              </p:cNvPr>
              <p:cNvSpPr/>
              <p:nvPr/>
            </p:nvSpPr>
            <p:spPr>
              <a:xfrm>
                <a:off x="7250535" y="3730252"/>
                <a:ext cx="1375632" cy="13756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32" name="íśļîḍê">
                <a:extLst>
                  <a:ext uri="{FF2B5EF4-FFF2-40B4-BE49-F238E27FC236}">
                    <a16:creationId xmlns:a16="http://schemas.microsoft.com/office/drawing/2014/main" id="{FDFCD66C-E3A8-4C5F-9BB1-729ABFA27CFA}"/>
                  </a:ext>
                </a:extLst>
              </p:cNvPr>
              <p:cNvSpPr/>
              <p:nvPr/>
            </p:nvSpPr>
            <p:spPr>
              <a:xfrm>
                <a:off x="7601569" y="4055906"/>
                <a:ext cx="673564" cy="724324"/>
              </a:xfrm>
              <a:custGeom>
                <a:avLst/>
                <a:gdLst>
                  <a:gd name="connsiteX0" fmla="*/ 8038 w 487162"/>
                  <a:gd name="connsiteY0" fmla="*/ 513398 h 523875"/>
                  <a:gd name="connsiteX1" fmla="*/ 7467 w 487162"/>
                  <a:gd name="connsiteY1" fmla="*/ 512731 h 523875"/>
                  <a:gd name="connsiteX2" fmla="*/ 7467 w 487162"/>
                  <a:gd name="connsiteY2" fmla="*/ 512731 h 523875"/>
                  <a:gd name="connsiteX3" fmla="*/ 6991 w 487162"/>
                  <a:gd name="connsiteY3" fmla="*/ 512064 h 523875"/>
                  <a:gd name="connsiteX4" fmla="*/ 4990 w 487162"/>
                  <a:gd name="connsiteY4" fmla="*/ 509016 h 523875"/>
                  <a:gd name="connsiteX5" fmla="*/ 4990 w 487162"/>
                  <a:gd name="connsiteY5" fmla="*/ 509016 h 523875"/>
                  <a:gd name="connsiteX6" fmla="*/ 4514 w 487162"/>
                  <a:gd name="connsiteY6" fmla="*/ 508254 h 523875"/>
                  <a:gd name="connsiteX7" fmla="*/ 3752 w 487162"/>
                  <a:gd name="connsiteY7" fmla="*/ 506730 h 523875"/>
                  <a:gd name="connsiteX8" fmla="*/ 3085 w 487162"/>
                  <a:gd name="connsiteY8" fmla="*/ 505111 h 523875"/>
                  <a:gd name="connsiteX9" fmla="*/ 2990 w 487162"/>
                  <a:gd name="connsiteY9" fmla="*/ 504920 h 523875"/>
                  <a:gd name="connsiteX10" fmla="*/ 2895 w 487162"/>
                  <a:gd name="connsiteY10" fmla="*/ 504635 h 523875"/>
                  <a:gd name="connsiteX11" fmla="*/ 2895 w 487162"/>
                  <a:gd name="connsiteY11" fmla="*/ 504444 h 523875"/>
                  <a:gd name="connsiteX12" fmla="*/ 2228 w 487162"/>
                  <a:gd name="connsiteY12" fmla="*/ 502444 h 523875"/>
                  <a:gd name="connsiteX13" fmla="*/ 1847 w 487162"/>
                  <a:gd name="connsiteY13" fmla="*/ 501110 h 523875"/>
                  <a:gd name="connsiteX14" fmla="*/ 1371 w 487162"/>
                  <a:gd name="connsiteY14" fmla="*/ 499205 h 523875"/>
                  <a:gd name="connsiteX15" fmla="*/ 514 w 487162"/>
                  <a:gd name="connsiteY15" fmla="*/ 494919 h 523875"/>
                  <a:gd name="connsiteX16" fmla="*/ 228 w 487162"/>
                  <a:gd name="connsiteY16" fmla="*/ 492443 h 523875"/>
                  <a:gd name="connsiteX17" fmla="*/ 37 w 487162"/>
                  <a:gd name="connsiteY17" fmla="*/ 485870 h 523875"/>
                  <a:gd name="connsiteX18" fmla="*/ 4609 w 487162"/>
                  <a:gd name="connsiteY18" fmla="*/ 467582 h 523875"/>
                  <a:gd name="connsiteX19" fmla="*/ 154247 w 487162"/>
                  <a:gd name="connsiteY19" fmla="*/ 150876 h 523875"/>
                  <a:gd name="connsiteX20" fmla="*/ 157867 w 487162"/>
                  <a:gd name="connsiteY20" fmla="*/ 134588 h 523875"/>
                  <a:gd name="connsiteX21" fmla="*/ 157867 w 487162"/>
                  <a:gd name="connsiteY21" fmla="*/ 19050 h 523875"/>
                  <a:gd name="connsiteX22" fmla="*/ 119767 w 487162"/>
                  <a:gd name="connsiteY22" fmla="*/ 19050 h 523875"/>
                  <a:gd name="connsiteX23" fmla="*/ 119767 w 487162"/>
                  <a:gd name="connsiteY23" fmla="*/ 0 h 523875"/>
                  <a:gd name="connsiteX24" fmla="*/ 367417 w 487162"/>
                  <a:gd name="connsiteY24" fmla="*/ 0 h 523875"/>
                  <a:gd name="connsiteX25" fmla="*/ 367417 w 487162"/>
                  <a:gd name="connsiteY25" fmla="*/ 19050 h 523875"/>
                  <a:gd name="connsiteX26" fmla="*/ 329317 w 487162"/>
                  <a:gd name="connsiteY26" fmla="*/ 19050 h 523875"/>
                  <a:gd name="connsiteX27" fmla="*/ 329317 w 487162"/>
                  <a:gd name="connsiteY27" fmla="*/ 134684 h 523875"/>
                  <a:gd name="connsiteX28" fmla="*/ 332936 w 487162"/>
                  <a:gd name="connsiteY28" fmla="*/ 150971 h 523875"/>
                  <a:gd name="connsiteX29" fmla="*/ 482574 w 487162"/>
                  <a:gd name="connsiteY29" fmla="*/ 467678 h 523875"/>
                  <a:gd name="connsiteX30" fmla="*/ 484098 w 487162"/>
                  <a:gd name="connsiteY30" fmla="*/ 504920 h 523875"/>
                  <a:gd name="connsiteX31" fmla="*/ 484003 w 487162"/>
                  <a:gd name="connsiteY31" fmla="*/ 505111 h 523875"/>
                  <a:gd name="connsiteX32" fmla="*/ 483431 w 487162"/>
                  <a:gd name="connsiteY32" fmla="*/ 506540 h 523875"/>
                  <a:gd name="connsiteX33" fmla="*/ 458571 w 487162"/>
                  <a:gd name="connsiteY33" fmla="*/ 523780 h 523875"/>
                  <a:gd name="connsiteX34" fmla="*/ 456666 w 487162"/>
                  <a:gd name="connsiteY34" fmla="*/ 523875 h 523875"/>
                  <a:gd name="connsiteX35" fmla="*/ 30422 w 487162"/>
                  <a:gd name="connsiteY35" fmla="*/ 523875 h 523875"/>
                  <a:gd name="connsiteX36" fmla="*/ 28612 w 487162"/>
                  <a:gd name="connsiteY36" fmla="*/ 523780 h 523875"/>
                  <a:gd name="connsiteX37" fmla="*/ 26136 w 487162"/>
                  <a:gd name="connsiteY37" fmla="*/ 523494 h 523875"/>
                  <a:gd name="connsiteX38" fmla="*/ 22326 w 487162"/>
                  <a:gd name="connsiteY38" fmla="*/ 522637 h 523875"/>
                  <a:gd name="connsiteX39" fmla="*/ 22326 w 487162"/>
                  <a:gd name="connsiteY39" fmla="*/ 522637 h 523875"/>
                  <a:gd name="connsiteX40" fmla="*/ 16801 w 487162"/>
                  <a:gd name="connsiteY40" fmla="*/ 520351 h 523875"/>
                  <a:gd name="connsiteX41" fmla="*/ 15373 w 487162"/>
                  <a:gd name="connsiteY41" fmla="*/ 519589 h 523875"/>
                  <a:gd name="connsiteX42" fmla="*/ 14420 w 487162"/>
                  <a:gd name="connsiteY42" fmla="*/ 519017 h 523875"/>
                  <a:gd name="connsiteX43" fmla="*/ 9467 w 487162"/>
                  <a:gd name="connsiteY43" fmla="*/ 514922 h 523875"/>
                  <a:gd name="connsiteX44" fmla="*/ 8038 w 487162"/>
                  <a:gd name="connsiteY44" fmla="*/ 513398 h 523875"/>
                  <a:gd name="connsiteX45" fmla="*/ 8038 w 487162"/>
                  <a:gd name="connsiteY45" fmla="*/ 513398 h 523875"/>
                  <a:gd name="connsiteX46" fmla="*/ 254641 w 487162"/>
                  <a:gd name="connsiteY46" fmla="*/ 404146 h 523875"/>
                  <a:gd name="connsiteX47" fmla="*/ 251783 w 487162"/>
                  <a:gd name="connsiteY47" fmla="*/ 405956 h 523875"/>
                  <a:gd name="connsiteX48" fmla="*/ 246259 w 487162"/>
                  <a:gd name="connsiteY48" fmla="*/ 409670 h 523875"/>
                  <a:gd name="connsiteX49" fmla="*/ 54425 w 487162"/>
                  <a:gd name="connsiteY49" fmla="*/ 416243 h 523875"/>
                  <a:gd name="connsiteX50" fmla="*/ 50615 w 487162"/>
                  <a:gd name="connsiteY50" fmla="*/ 414719 h 523875"/>
                  <a:gd name="connsiteX51" fmla="*/ 21754 w 487162"/>
                  <a:gd name="connsiteY51" fmla="*/ 475774 h 523875"/>
                  <a:gd name="connsiteX52" fmla="*/ 20897 w 487162"/>
                  <a:gd name="connsiteY52" fmla="*/ 477679 h 523875"/>
                  <a:gd name="connsiteX53" fmla="*/ 20802 w 487162"/>
                  <a:gd name="connsiteY53" fmla="*/ 498158 h 523875"/>
                  <a:gd name="connsiteX54" fmla="*/ 27945 w 487162"/>
                  <a:gd name="connsiteY54" fmla="*/ 504444 h 523875"/>
                  <a:gd name="connsiteX55" fmla="*/ 29184 w 487162"/>
                  <a:gd name="connsiteY55" fmla="*/ 504635 h 523875"/>
                  <a:gd name="connsiteX56" fmla="*/ 30327 w 487162"/>
                  <a:gd name="connsiteY56" fmla="*/ 504730 h 523875"/>
                  <a:gd name="connsiteX57" fmla="*/ 456570 w 487162"/>
                  <a:gd name="connsiteY57" fmla="*/ 504730 h 523875"/>
                  <a:gd name="connsiteX58" fmla="*/ 457714 w 487162"/>
                  <a:gd name="connsiteY58" fmla="*/ 504635 h 523875"/>
                  <a:gd name="connsiteX59" fmla="*/ 466095 w 487162"/>
                  <a:gd name="connsiteY59" fmla="*/ 498062 h 523875"/>
                  <a:gd name="connsiteX60" fmla="*/ 466667 w 487162"/>
                  <a:gd name="connsiteY60" fmla="*/ 479584 h 523875"/>
                  <a:gd name="connsiteX61" fmla="*/ 466000 w 487162"/>
                  <a:gd name="connsiteY61" fmla="*/ 477584 h 523875"/>
                  <a:gd name="connsiteX62" fmla="*/ 465143 w 487162"/>
                  <a:gd name="connsiteY62" fmla="*/ 475679 h 523875"/>
                  <a:gd name="connsiteX63" fmla="*/ 423519 w 487162"/>
                  <a:gd name="connsiteY63" fmla="*/ 387477 h 523875"/>
                  <a:gd name="connsiteX64" fmla="*/ 254641 w 487162"/>
                  <a:gd name="connsiteY64" fmla="*/ 404146 h 523875"/>
                  <a:gd name="connsiteX65" fmla="*/ 305504 w 487162"/>
                  <a:gd name="connsiteY65" fmla="*/ 257175 h 523875"/>
                  <a:gd name="connsiteX66" fmla="*/ 272167 w 487162"/>
                  <a:gd name="connsiteY66" fmla="*/ 290513 h 523875"/>
                  <a:gd name="connsiteX67" fmla="*/ 305504 w 487162"/>
                  <a:gd name="connsiteY67" fmla="*/ 323850 h 523875"/>
                  <a:gd name="connsiteX68" fmla="*/ 338842 w 487162"/>
                  <a:gd name="connsiteY68" fmla="*/ 290513 h 523875"/>
                  <a:gd name="connsiteX69" fmla="*/ 305504 w 487162"/>
                  <a:gd name="connsiteY69" fmla="*/ 2571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038" y="513398"/>
                    </a:moveTo>
                    <a:lnTo>
                      <a:pt x="7467" y="512731"/>
                    </a:lnTo>
                    <a:lnTo>
                      <a:pt x="7467" y="512731"/>
                    </a:lnTo>
                    <a:lnTo>
                      <a:pt x="6991" y="512064"/>
                    </a:lnTo>
                    <a:cubicBezTo>
                      <a:pt x="6228" y="511112"/>
                      <a:pt x="5657" y="510064"/>
                      <a:pt x="4990" y="509016"/>
                    </a:cubicBezTo>
                    <a:lnTo>
                      <a:pt x="4990" y="509016"/>
                    </a:lnTo>
                    <a:lnTo>
                      <a:pt x="4514" y="508254"/>
                    </a:lnTo>
                    <a:lnTo>
                      <a:pt x="3752" y="506730"/>
                    </a:lnTo>
                    <a:lnTo>
                      <a:pt x="3085" y="505111"/>
                    </a:lnTo>
                    <a:lnTo>
                      <a:pt x="2990" y="504920"/>
                    </a:lnTo>
                    <a:lnTo>
                      <a:pt x="2895" y="504635"/>
                    </a:lnTo>
                    <a:lnTo>
                      <a:pt x="2895" y="504444"/>
                    </a:lnTo>
                    <a:lnTo>
                      <a:pt x="2228" y="502444"/>
                    </a:lnTo>
                    <a:cubicBezTo>
                      <a:pt x="2133" y="501968"/>
                      <a:pt x="1942" y="501587"/>
                      <a:pt x="1847" y="501110"/>
                    </a:cubicBezTo>
                    <a:cubicBezTo>
                      <a:pt x="1657" y="500444"/>
                      <a:pt x="1466" y="499872"/>
                      <a:pt x="1371" y="499205"/>
                    </a:cubicBezTo>
                    <a:cubicBezTo>
                      <a:pt x="990" y="497776"/>
                      <a:pt x="799" y="496348"/>
                      <a:pt x="514" y="494919"/>
                    </a:cubicBezTo>
                    <a:lnTo>
                      <a:pt x="228" y="492443"/>
                    </a:lnTo>
                    <a:cubicBezTo>
                      <a:pt x="37" y="490252"/>
                      <a:pt x="-58" y="488061"/>
                      <a:pt x="37" y="485870"/>
                    </a:cubicBezTo>
                    <a:cubicBezTo>
                      <a:pt x="323" y="479584"/>
                      <a:pt x="1847" y="473393"/>
                      <a:pt x="4609" y="467582"/>
                    </a:cubicBezTo>
                    <a:lnTo>
                      <a:pt x="154247" y="150876"/>
                    </a:lnTo>
                    <a:cubicBezTo>
                      <a:pt x="156628" y="145828"/>
                      <a:pt x="157867" y="140208"/>
                      <a:pt x="157867" y="134588"/>
                    </a:cubicBezTo>
                    <a:lnTo>
                      <a:pt x="157867" y="19050"/>
                    </a:lnTo>
                    <a:lnTo>
                      <a:pt x="119767" y="19050"/>
                    </a:lnTo>
                    <a:lnTo>
                      <a:pt x="119767" y="0"/>
                    </a:lnTo>
                    <a:lnTo>
                      <a:pt x="367417" y="0"/>
                    </a:lnTo>
                    <a:lnTo>
                      <a:pt x="367417" y="19050"/>
                    </a:lnTo>
                    <a:lnTo>
                      <a:pt x="329317" y="19050"/>
                    </a:lnTo>
                    <a:lnTo>
                      <a:pt x="329317" y="134684"/>
                    </a:lnTo>
                    <a:cubicBezTo>
                      <a:pt x="329317" y="140303"/>
                      <a:pt x="330555" y="145828"/>
                      <a:pt x="332936" y="150971"/>
                    </a:cubicBezTo>
                    <a:lnTo>
                      <a:pt x="482574" y="467678"/>
                    </a:lnTo>
                    <a:cubicBezTo>
                      <a:pt x="488098" y="479393"/>
                      <a:pt x="488670" y="492824"/>
                      <a:pt x="484098" y="504920"/>
                    </a:cubicBezTo>
                    <a:lnTo>
                      <a:pt x="484003" y="505111"/>
                    </a:lnTo>
                    <a:lnTo>
                      <a:pt x="483431" y="506540"/>
                    </a:lnTo>
                    <a:cubicBezTo>
                      <a:pt x="478954" y="516446"/>
                      <a:pt x="469429" y="523113"/>
                      <a:pt x="458571" y="523780"/>
                    </a:cubicBezTo>
                    <a:lnTo>
                      <a:pt x="456666" y="523875"/>
                    </a:lnTo>
                    <a:lnTo>
                      <a:pt x="30422" y="523875"/>
                    </a:lnTo>
                    <a:lnTo>
                      <a:pt x="28612" y="523780"/>
                    </a:lnTo>
                    <a:cubicBezTo>
                      <a:pt x="27755" y="523685"/>
                      <a:pt x="26993" y="523685"/>
                      <a:pt x="26136" y="523494"/>
                    </a:cubicBezTo>
                    <a:cubicBezTo>
                      <a:pt x="24802" y="523304"/>
                      <a:pt x="23564" y="523018"/>
                      <a:pt x="22326" y="522637"/>
                    </a:cubicBezTo>
                    <a:lnTo>
                      <a:pt x="22326" y="522637"/>
                    </a:lnTo>
                    <a:cubicBezTo>
                      <a:pt x="20421" y="522065"/>
                      <a:pt x="18516" y="521303"/>
                      <a:pt x="16801" y="520351"/>
                    </a:cubicBezTo>
                    <a:lnTo>
                      <a:pt x="15373" y="519589"/>
                    </a:lnTo>
                    <a:cubicBezTo>
                      <a:pt x="15087" y="519398"/>
                      <a:pt x="14801" y="519208"/>
                      <a:pt x="14420" y="519017"/>
                    </a:cubicBezTo>
                    <a:cubicBezTo>
                      <a:pt x="12610" y="517874"/>
                      <a:pt x="10896" y="516446"/>
                      <a:pt x="9467" y="514922"/>
                    </a:cubicBezTo>
                    <a:lnTo>
                      <a:pt x="8038" y="513398"/>
                    </a:lnTo>
                    <a:lnTo>
                      <a:pt x="8038" y="513398"/>
                    </a:lnTo>
                    <a:close/>
                    <a:moveTo>
                      <a:pt x="254641" y="404146"/>
                    </a:moveTo>
                    <a:lnTo>
                      <a:pt x="251783" y="405956"/>
                    </a:lnTo>
                    <a:lnTo>
                      <a:pt x="246259" y="409670"/>
                    </a:lnTo>
                    <a:cubicBezTo>
                      <a:pt x="199015" y="441008"/>
                      <a:pt x="119481" y="441960"/>
                      <a:pt x="54425" y="416243"/>
                    </a:cubicBezTo>
                    <a:lnTo>
                      <a:pt x="50615" y="414719"/>
                    </a:lnTo>
                    <a:lnTo>
                      <a:pt x="21754" y="475774"/>
                    </a:lnTo>
                    <a:lnTo>
                      <a:pt x="20897" y="477679"/>
                    </a:lnTo>
                    <a:cubicBezTo>
                      <a:pt x="18420" y="484251"/>
                      <a:pt x="18325" y="491490"/>
                      <a:pt x="20802" y="498158"/>
                    </a:cubicBezTo>
                    <a:cubicBezTo>
                      <a:pt x="22040" y="501396"/>
                      <a:pt x="24707" y="503682"/>
                      <a:pt x="27945" y="504444"/>
                    </a:cubicBezTo>
                    <a:lnTo>
                      <a:pt x="29184" y="504635"/>
                    </a:lnTo>
                    <a:lnTo>
                      <a:pt x="30327" y="504730"/>
                    </a:lnTo>
                    <a:lnTo>
                      <a:pt x="456570" y="504730"/>
                    </a:lnTo>
                    <a:lnTo>
                      <a:pt x="457714" y="504635"/>
                    </a:lnTo>
                    <a:cubicBezTo>
                      <a:pt x="461524" y="504254"/>
                      <a:pt x="464762" y="501682"/>
                      <a:pt x="466095" y="498062"/>
                    </a:cubicBezTo>
                    <a:cubicBezTo>
                      <a:pt x="468382" y="492157"/>
                      <a:pt x="468572" y="485585"/>
                      <a:pt x="466667" y="479584"/>
                    </a:cubicBezTo>
                    <a:lnTo>
                      <a:pt x="466000" y="477584"/>
                    </a:lnTo>
                    <a:lnTo>
                      <a:pt x="465143" y="475679"/>
                    </a:lnTo>
                    <a:lnTo>
                      <a:pt x="423519" y="387477"/>
                    </a:lnTo>
                    <a:cubicBezTo>
                      <a:pt x="365416" y="373190"/>
                      <a:pt x="295979" y="378714"/>
                      <a:pt x="254641" y="404146"/>
                    </a:cubicBezTo>
                    <a:close/>
                    <a:moveTo>
                      <a:pt x="305504" y="257175"/>
                    </a:moveTo>
                    <a:cubicBezTo>
                      <a:pt x="287121" y="257175"/>
                      <a:pt x="272167" y="272129"/>
                      <a:pt x="272167" y="290513"/>
                    </a:cubicBezTo>
                    <a:cubicBezTo>
                      <a:pt x="272167" y="308896"/>
                      <a:pt x="287121" y="323850"/>
                      <a:pt x="305504" y="323850"/>
                    </a:cubicBezTo>
                    <a:cubicBezTo>
                      <a:pt x="323887" y="323850"/>
                      <a:pt x="338842" y="308896"/>
                      <a:pt x="338842" y="290513"/>
                    </a:cubicBezTo>
                    <a:cubicBezTo>
                      <a:pt x="338842" y="272129"/>
                      <a:pt x="323887" y="257175"/>
                      <a:pt x="305504" y="25717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grpSp>
        <p:grpSp>
          <p:nvGrpSpPr>
            <p:cNvPr id="119" name="íşḻîḋè">
              <a:extLst>
                <a:ext uri="{FF2B5EF4-FFF2-40B4-BE49-F238E27FC236}">
                  <a16:creationId xmlns:a16="http://schemas.microsoft.com/office/drawing/2014/main" id="{34B40956-96E4-4CB8-BBB1-E4E1C4766290}"/>
                </a:ext>
              </a:extLst>
            </p:cNvPr>
            <p:cNvGrpSpPr/>
            <p:nvPr/>
          </p:nvGrpSpPr>
          <p:grpSpPr>
            <a:xfrm>
              <a:off x="3655047" y="2088313"/>
              <a:ext cx="1705989" cy="1705989"/>
              <a:chOff x="3655049" y="2088314"/>
              <a:chExt cx="1705989" cy="1705989"/>
            </a:xfrm>
          </p:grpSpPr>
          <p:sp>
            <p:nvSpPr>
              <p:cNvPr id="129" name="îşlídê">
                <a:extLst>
                  <a:ext uri="{FF2B5EF4-FFF2-40B4-BE49-F238E27FC236}">
                    <a16:creationId xmlns:a16="http://schemas.microsoft.com/office/drawing/2014/main" id="{ECF79631-4FA0-413C-90F7-347955519AA2}"/>
                  </a:ext>
                </a:extLst>
              </p:cNvPr>
              <p:cNvSpPr/>
              <p:nvPr/>
            </p:nvSpPr>
            <p:spPr>
              <a:xfrm>
                <a:off x="3655049" y="2088314"/>
                <a:ext cx="1705989" cy="170598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30" name="îśľíḓe">
                <a:extLst>
                  <a:ext uri="{FF2B5EF4-FFF2-40B4-BE49-F238E27FC236}">
                    <a16:creationId xmlns:a16="http://schemas.microsoft.com/office/drawing/2014/main" id="{69C505C3-5D68-49EE-A94C-BEA9C5924F9D}"/>
                  </a:ext>
                </a:extLst>
              </p:cNvPr>
              <p:cNvSpPr/>
              <p:nvPr/>
            </p:nvSpPr>
            <p:spPr>
              <a:xfrm>
                <a:off x="4047540" y="2521922"/>
                <a:ext cx="921004" cy="838771"/>
              </a:xfrm>
              <a:custGeom>
                <a:avLst/>
                <a:gdLst>
                  <a:gd name="connsiteX0" fmla="*/ 123825 w 533400"/>
                  <a:gd name="connsiteY0" fmla="*/ 228600 h 485775"/>
                  <a:gd name="connsiteX1" fmla="*/ 123825 w 533400"/>
                  <a:gd name="connsiteY1" fmla="*/ 276225 h 485775"/>
                  <a:gd name="connsiteX2" fmla="*/ 142875 w 533400"/>
                  <a:gd name="connsiteY2" fmla="*/ 276225 h 485775"/>
                  <a:gd name="connsiteX3" fmla="*/ 142875 w 533400"/>
                  <a:gd name="connsiteY3" fmla="*/ 228600 h 485775"/>
                  <a:gd name="connsiteX4" fmla="*/ 390525 w 533400"/>
                  <a:gd name="connsiteY4" fmla="*/ 228600 h 485775"/>
                  <a:gd name="connsiteX5" fmla="*/ 390525 w 533400"/>
                  <a:gd name="connsiteY5" fmla="*/ 276225 h 485775"/>
                  <a:gd name="connsiteX6" fmla="*/ 409575 w 533400"/>
                  <a:gd name="connsiteY6" fmla="*/ 276225 h 485775"/>
                  <a:gd name="connsiteX7" fmla="*/ 409575 w 533400"/>
                  <a:gd name="connsiteY7" fmla="*/ 228600 h 485775"/>
                  <a:gd name="connsiteX8" fmla="*/ 533400 w 533400"/>
                  <a:gd name="connsiteY8" fmla="*/ 228600 h 485775"/>
                  <a:gd name="connsiteX9" fmla="*/ 533400 w 533400"/>
                  <a:gd name="connsiteY9" fmla="*/ 457200 h 485775"/>
                  <a:gd name="connsiteX10" fmla="*/ 504825 w 533400"/>
                  <a:gd name="connsiteY10" fmla="*/ 485775 h 485775"/>
                  <a:gd name="connsiteX11" fmla="*/ 28575 w 533400"/>
                  <a:gd name="connsiteY11" fmla="*/ 485775 h 485775"/>
                  <a:gd name="connsiteX12" fmla="*/ 0 w 533400"/>
                  <a:gd name="connsiteY12" fmla="*/ 457200 h 485775"/>
                  <a:gd name="connsiteX13" fmla="*/ 0 w 533400"/>
                  <a:gd name="connsiteY13" fmla="*/ 228600 h 485775"/>
                  <a:gd name="connsiteX14" fmla="*/ 123825 w 533400"/>
                  <a:gd name="connsiteY14" fmla="*/ 228600 h 485775"/>
                  <a:gd name="connsiteX15" fmla="*/ 371475 w 533400"/>
                  <a:gd name="connsiteY15" fmla="*/ 0 h 485775"/>
                  <a:gd name="connsiteX16" fmla="*/ 409575 w 533400"/>
                  <a:gd name="connsiteY16" fmla="*/ 36195 h 485775"/>
                  <a:gd name="connsiteX17" fmla="*/ 409575 w 533400"/>
                  <a:gd name="connsiteY17" fmla="*/ 38100 h 485775"/>
                  <a:gd name="connsiteX18" fmla="*/ 409575 w 533400"/>
                  <a:gd name="connsiteY18" fmla="*/ 114300 h 485775"/>
                  <a:gd name="connsiteX19" fmla="*/ 504825 w 533400"/>
                  <a:gd name="connsiteY19" fmla="*/ 114300 h 485775"/>
                  <a:gd name="connsiteX20" fmla="*/ 533400 w 533400"/>
                  <a:gd name="connsiteY20" fmla="*/ 142875 h 485775"/>
                  <a:gd name="connsiteX21" fmla="*/ 533400 w 533400"/>
                  <a:gd name="connsiteY21" fmla="*/ 209550 h 485775"/>
                  <a:gd name="connsiteX22" fmla="*/ 0 w 533400"/>
                  <a:gd name="connsiteY22" fmla="*/ 209550 h 485775"/>
                  <a:gd name="connsiteX23" fmla="*/ 0 w 533400"/>
                  <a:gd name="connsiteY23" fmla="*/ 142875 h 485775"/>
                  <a:gd name="connsiteX24" fmla="*/ 28575 w 533400"/>
                  <a:gd name="connsiteY24" fmla="*/ 114300 h 485775"/>
                  <a:gd name="connsiteX25" fmla="*/ 123825 w 533400"/>
                  <a:gd name="connsiteY25" fmla="*/ 114300 h 485775"/>
                  <a:gd name="connsiteX26" fmla="*/ 123825 w 533400"/>
                  <a:gd name="connsiteY26" fmla="*/ 38100 h 485775"/>
                  <a:gd name="connsiteX27" fmla="*/ 160020 w 533400"/>
                  <a:gd name="connsiteY27" fmla="*/ 0 h 485775"/>
                  <a:gd name="connsiteX28" fmla="*/ 161925 w 533400"/>
                  <a:gd name="connsiteY28" fmla="*/ 0 h 485775"/>
                  <a:gd name="connsiteX29" fmla="*/ 371475 w 533400"/>
                  <a:gd name="connsiteY29" fmla="*/ 0 h 485775"/>
                  <a:gd name="connsiteX30" fmla="*/ 371475 w 533400"/>
                  <a:gd name="connsiteY30" fmla="*/ 19050 h 485775"/>
                  <a:gd name="connsiteX31" fmla="*/ 161925 w 533400"/>
                  <a:gd name="connsiteY31" fmla="*/ 19050 h 485775"/>
                  <a:gd name="connsiteX32" fmla="*/ 142970 w 533400"/>
                  <a:gd name="connsiteY32" fmla="*/ 36671 h 485775"/>
                  <a:gd name="connsiteX33" fmla="*/ 142875 w 533400"/>
                  <a:gd name="connsiteY33" fmla="*/ 38100 h 485775"/>
                  <a:gd name="connsiteX34" fmla="*/ 142875 w 533400"/>
                  <a:gd name="connsiteY34" fmla="*/ 114300 h 485775"/>
                  <a:gd name="connsiteX35" fmla="*/ 390525 w 533400"/>
                  <a:gd name="connsiteY35" fmla="*/ 114300 h 485775"/>
                  <a:gd name="connsiteX36" fmla="*/ 390525 w 533400"/>
                  <a:gd name="connsiteY36" fmla="*/ 38100 h 485775"/>
                  <a:gd name="connsiteX37" fmla="*/ 374333 w 533400"/>
                  <a:gd name="connsiteY37" fmla="*/ 19241 h 485775"/>
                  <a:gd name="connsiteX38" fmla="*/ 372904 w 533400"/>
                  <a:gd name="connsiteY38" fmla="*/ 19050 h 485775"/>
                  <a:gd name="connsiteX39" fmla="*/ 371475 w 533400"/>
                  <a:gd name="connsiteY39" fmla="*/ 1905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3825" y="228600"/>
                    </a:moveTo>
                    <a:lnTo>
                      <a:pt x="123825" y="276225"/>
                    </a:lnTo>
                    <a:lnTo>
                      <a:pt x="142875" y="276225"/>
                    </a:lnTo>
                    <a:lnTo>
                      <a:pt x="142875" y="228600"/>
                    </a:lnTo>
                    <a:lnTo>
                      <a:pt x="390525" y="228600"/>
                    </a:lnTo>
                    <a:lnTo>
                      <a:pt x="390525" y="276225"/>
                    </a:lnTo>
                    <a:lnTo>
                      <a:pt x="409575" y="276225"/>
                    </a:lnTo>
                    <a:lnTo>
                      <a:pt x="409575" y="228600"/>
                    </a:lnTo>
                    <a:lnTo>
                      <a:pt x="533400" y="228600"/>
                    </a:lnTo>
                    <a:lnTo>
                      <a:pt x="533400" y="457200"/>
                    </a:lnTo>
                    <a:cubicBezTo>
                      <a:pt x="533400" y="473012"/>
                      <a:pt x="520637" y="485775"/>
                      <a:pt x="504825" y="485775"/>
                    </a:cubicBezTo>
                    <a:lnTo>
                      <a:pt x="28575" y="485775"/>
                    </a:lnTo>
                    <a:cubicBezTo>
                      <a:pt x="12763" y="485775"/>
                      <a:pt x="0" y="473012"/>
                      <a:pt x="0" y="457200"/>
                    </a:cubicBezTo>
                    <a:lnTo>
                      <a:pt x="0" y="228600"/>
                    </a:lnTo>
                    <a:lnTo>
                      <a:pt x="123825" y="228600"/>
                    </a:lnTo>
                    <a:close/>
                    <a:moveTo>
                      <a:pt x="371475" y="0"/>
                    </a:moveTo>
                    <a:cubicBezTo>
                      <a:pt x="391859" y="0"/>
                      <a:pt x="408527" y="16002"/>
                      <a:pt x="409575" y="36195"/>
                    </a:cubicBezTo>
                    <a:lnTo>
                      <a:pt x="409575" y="38100"/>
                    </a:lnTo>
                    <a:lnTo>
                      <a:pt x="409575" y="114300"/>
                    </a:lnTo>
                    <a:lnTo>
                      <a:pt x="504825" y="114300"/>
                    </a:lnTo>
                    <a:cubicBezTo>
                      <a:pt x="520637" y="114300"/>
                      <a:pt x="533400" y="127064"/>
                      <a:pt x="533400" y="142875"/>
                    </a:cubicBezTo>
                    <a:lnTo>
                      <a:pt x="533400" y="209550"/>
                    </a:lnTo>
                    <a:lnTo>
                      <a:pt x="0" y="209550"/>
                    </a:lnTo>
                    <a:lnTo>
                      <a:pt x="0" y="142875"/>
                    </a:lnTo>
                    <a:cubicBezTo>
                      <a:pt x="0" y="127064"/>
                      <a:pt x="12763" y="114300"/>
                      <a:pt x="28575" y="114300"/>
                    </a:cubicBezTo>
                    <a:lnTo>
                      <a:pt x="123825" y="114300"/>
                    </a:lnTo>
                    <a:lnTo>
                      <a:pt x="123825" y="38100"/>
                    </a:lnTo>
                    <a:cubicBezTo>
                      <a:pt x="123825" y="17716"/>
                      <a:pt x="139828" y="1048"/>
                      <a:pt x="160020" y="0"/>
                    </a:cubicBezTo>
                    <a:lnTo>
                      <a:pt x="161925" y="0"/>
                    </a:lnTo>
                    <a:lnTo>
                      <a:pt x="371475" y="0"/>
                    </a:lnTo>
                    <a:close/>
                    <a:moveTo>
                      <a:pt x="371475" y="19050"/>
                    </a:moveTo>
                    <a:lnTo>
                      <a:pt x="161925" y="19050"/>
                    </a:lnTo>
                    <a:cubicBezTo>
                      <a:pt x="151923" y="19050"/>
                      <a:pt x="143637" y="26861"/>
                      <a:pt x="142970" y="36671"/>
                    </a:cubicBezTo>
                    <a:lnTo>
                      <a:pt x="142875" y="38100"/>
                    </a:lnTo>
                    <a:lnTo>
                      <a:pt x="142875" y="114300"/>
                    </a:lnTo>
                    <a:lnTo>
                      <a:pt x="390525" y="114300"/>
                    </a:lnTo>
                    <a:lnTo>
                      <a:pt x="390525" y="38100"/>
                    </a:lnTo>
                    <a:cubicBezTo>
                      <a:pt x="390525" y="28575"/>
                      <a:pt x="383477" y="20669"/>
                      <a:pt x="374333" y="19241"/>
                    </a:cubicBezTo>
                    <a:lnTo>
                      <a:pt x="372904" y="19050"/>
                    </a:lnTo>
                    <a:lnTo>
                      <a:pt x="371475" y="19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grpSp>
        <p:grpSp>
          <p:nvGrpSpPr>
            <p:cNvPr id="120" name="iṧļîde">
              <a:extLst>
                <a:ext uri="{FF2B5EF4-FFF2-40B4-BE49-F238E27FC236}">
                  <a16:creationId xmlns:a16="http://schemas.microsoft.com/office/drawing/2014/main" id="{AE383C62-C85E-40EE-886D-B387663D1252}"/>
                </a:ext>
              </a:extLst>
            </p:cNvPr>
            <p:cNvGrpSpPr/>
            <p:nvPr/>
          </p:nvGrpSpPr>
          <p:grpSpPr>
            <a:xfrm>
              <a:off x="5379858" y="3614117"/>
              <a:ext cx="940075" cy="940075"/>
              <a:chOff x="5379860" y="3614118"/>
              <a:chExt cx="940075" cy="940075"/>
            </a:xfrm>
          </p:grpSpPr>
          <p:sp>
            <p:nvSpPr>
              <p:cNvPr id="127" name="i$1îḓe">
                <a:extLst>
                  <a:ext uri="{FF2B5EF4-FFF2-40B4-BE49-F238E27FC236}">
                    <a16:creationId xmlns:a16="http://schemas.microsoft.com/office/drawing/2014/main" id="{AA60598F-4483-4135-8D3A-69F956C9FAB6}"/>
                  </a:ext>
                </a:extLst>
              </p:cNvPr>
              <p:cNvSpPr/>
              <p:nvPr/>
            </p:nvSpPr>
            <p:spPr>
              <a:xfrm>
                <a:off x="5379860" y="3614118"/>
                <a:ext cx="940075" cy="940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sp>
            <p:nvSpPr>
              <p:cNvPr id="128" name="íṧlíḋè">
                <a:extLst>
                  <a:ext uri="{FF2B5EF4-FFF2-40B4-BE49-F238E27FC236}">
                    <a16:creationId xmlns:a16="http://schemas.microsoft.com/office/drawing/2014/main" id="{097BC863-08D6-4668-901B-199A52C4E7B1}"/>
                  </a:ext>
                </a:extLst>
              </p:cNvPr>
              <p:cNvSpPr/>
              <p:nvPr/>
            </p:nvSpPr>
            <p:spPr>
              <a:xfrm>
                <a:off x="5619042" y="3831103"/>
                <a:ext cx="461709" cy="506104"/>
              </a:xfrm>
              <a:custGeom>
                <a:avLst/>
                <a:gdLst>
                  <a:gd name="connsiteX0" fmla="*/ 247650 w 495300"/>
                  <a:gd name="connsiteY0" fmla="*/ 0 h 542925"/>
                  <a:gd name="connsiteX1" fmla="*/ 495300 w 495300"/>
                  <a:gd name="connsiteY1" fmla="*/ 247650 h 542925"/>
                  <a:gd name="connsiteX2" fmla="*/ 322707 w 495300"/>
                  <a:gd name="connsiteY2" fmla="*/ 483775 h 542925"/>
                  <a:gd name="connsiteX3" fmla="*/ 345853 w 495300"/>
                  <a:gd name="connsiteY3" fmla="*/ 523875 h 542925"/>
                  <a:gd name="connsiteX4" fmla="*/ 419100 w 495300"/>
                  <a:gd name="connsiteY4" fmla="*/ 523875 h 542925"/>
                  <a:gd name="connsiteX5" fmla="*/ 419100 w 495300"/>
                  <a:gd name="connsiteY5" fmla="*/ 542925 h 542925"/>
                  <a:gd name="connsiteX6" fmla="*/ 76200 w 495300"/>
                  <a:gd name="connsiteY6" fmla="*/ 542925 h 542925"/>
                  <a:gd name="connsiteX7" fmla="*/ 76200 w 495300"/>
                  <a:gd name="connsiteY7" fmla="*/ 523875 h 542925"/>
                  <a:gd name="connsiteX8" fmla="*/ 149447 w 495300"/>
                  <a:gd name="connsiteY8" fmla="*/ 523875 h 542925"/>
                  <a:gd name="connsiteX9" fmla="*/ 172593 w 495300"/>
                  <a:gd name="connsiteY9" fmla="*/ 483775 h 542925"/>
                  <a:gd name="connsiteX10" fmla="*/ 0 w 495300"/>
                  <a:gd name="connsiteY10" fmla="*/ 247650 h 542925"/>
                  <a:gd name="connsiteX11" fmla="*/ 247650 w 495300"/>
                  <a:gd name="connsiteY11" fmla="*/ 0 h 542925"/>
                  <a:gd name="connsiteX12" fmla="*/ 191643 w 495300"/>
                  <a:gd name="connsiteY12" fmla="*/ 488918 h 542925"/>
                  <a:gd name="connsiteX13" fmla="*/ 171450 w 495300"/>
                  <a:gd name="connsiteY13" fmla="*/ 523875 h 542925"/>
                  <a:gd name="connsiteX14" fmla="*/ 323850 w 495300"/>
                  <a:gd name="connsiteY14" fmla="*/ 523875 h 542925"/>
                  <a:gd name="connsiteX15" fmla="*/ 303657 w 495300"/>
                  <a:gd name="connsiteY15" fmla="*/ 488918 h 542925"/>
                  <a:gd name="connsiteX16" fmla="*/ 247650 w 495300"/>
                  <a:gd name="connsiteY16" fmla="*/ 495300 h 542925"/>
                  <a:gd name="connsiteX17" fmla="*/ 191643 w 495300"/>
                  <a:gd name="connsiteY17" fmla="*/ 488918 h 542925"/>
                  <a:gd name="connsiteX18" fmla="*/ 247650 w 495300"/>
                  <a:gd name="connsiteY18" fmla="*/ 142875 h 542925"/>
                  <a:gd name="connsiteX19" fmla="*/ 142875 w 495300"/>
                  <a:gd name="connsiteY19" fmla="*/ 247650 h 542925"/>
                  <a:gd name="connsiteX20" fmla="*/ 247650 w 495300"/>
                  <a:gd name="connsiteY20" fmla="*/ 352425 h 542925"/>
                  <a:gd name="connsiteX21" fmla="*/ 352425 w 495300"/>
                  <a:gd name="connsiteY21" fmla="*/ 247650 h 542925"/>
                  <a:gd name="connsiteX22" fmla="*/ 247650 w 495300"/>
                  <a:gd name="connsiteY22" fmla="*/ 142875 h 542925"/>
                  <a:gd name="connsiteX23" fmla="*/ 366713 w 495300"/>
                  <a:gd name="connsiteY23" fmla="*/ 114300 h 542925"/>
                  <a:gd name="connsiteX24" fmla="*/ 352425 w 495300"/>
                  <a:gd name="connsiteY24" fmla="*/ 128588 h 542925"/>
                  <a:gd name="connsiteX25" fmla="*/ 366713 w 495300"/>
                  <a:gd name="connsiteY25" fmla="*/ 142875 h 542925"/>
                  <a:gd name="connsiteX26" fmla="*/ 381000 w 495300"/>
                  <a:gd name="connsiteY26" fmla="*/ 128588 h 542925"/>
                  <a:gd name="connsiteX27" fmla="*/ 366713 w 495300"/>
                  <a:gd name="connsiteY27" fmla="*/ 11430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7650" y="0"/>
                    </a:moveTo>
                    <a:cubicBezTo>
                      <a:pt x="384429" y="0"/>
                      <a:pt x="495300" y="110871"/>
                      <a:pt x="495300" y="247650"/>
                    </a:cubicBezTo>
                    <a:cubicBezTo>
                      <a:pt x="495300" y="358235"/>
                      <a:pt x="422815" y="451961"/>
                      <a:pt x="322707" y="483775"/>
                    </a:cubicBezTo>
                    <a:lnTo>
                      <a:pt x="345853" y="523875"/>
                    </a:lnTo>
                    <a:lnTo>
                      <a:pt x="419100" y="523875"/>
                    </a:lnTo>
                    <a:lnTo>
                      <a:pt x="419100" y="542925"/>
                    </a:lnTo>
                    <a:lnTo>
                      <a:pt x="76200" y="542925"/>
                    </a:lnTo>
                    <a:lnTo>
                      <a:pt x="76200" y="523875"/>
                    </a:lnTo>
                    <a:lnTo>
                      <a:pt x="149447" y="523875"/>
                    </a:lnTo>
                    <a:lnTo>
                      <a:pt x="172593" y="483775"/>
                    </a:lnTo>
                    <a:cubicBezTo>
                      <a:pt x="72485" y="451961"/>
                      <a:pt x="0" y="358235"/>
                      <a:pt x="0" y="247650"/>
                    </a:cubicBezTo>
                    <a:cubicBezTo>
                      <a:pt x="0" y="110871"/>
                      <a:pt x="110871" y="0"/>
                      <a:pt x="247650" y="0"/>
                    </a:cubicBezTo>
                    <a:close/>
                    <a:moveTo>
                      <a:pt x="191643" y="488918"/>
                    </a:moveTo>
                    <a:lnTo>
                      <a:pt x="171450" y="523875"/>
                    </a:lnTo>
                    <a:lnTo>
                      <a:pt x="323850" y="523875"/>
                    </a:lnTo>
                    <a:lnTo>
                      <a:pt x="303657" y="488918"/>
                    </a:lnTo>
                    <a:cubicBezTo>
                      <a:pt x="285655" y="493109"/>
                      <a:pt x="266891" y="495300"/>
                      <a:pt x="247650" y="495300"/>
                    </a:cubicBezTo>
                    <a:cubicBezTo>
                      <a:pt x="228409" y="495300"/>
                      <a:pt x="209645" y="493109"/>
                      <a:pt x="191643" y="488918"/>
                    </a:cubicBezTo>
                    <a:close/>
                    <a:moveTo>
                      <a:pt x="247650" y="142875"/>
                    </a:moveTo>
                    <a:cubicBezTo>
                      <a:pt x="189738" y="142875"/>
                      <a:pt x="142875" y="189738"/>
                      <a:pt x="142875" y="247650"/>
                    </a:cubicBezTo>
                    <a:cubicBezTo>
                      <a:pt x="142875" y="305562"/>
                      <a:pt x="189738" y="352425"/>
                      <a:pt x="247650" y="352425"/>
                    </a:cubicBezTo>
                    <a:cubicBezTo>
                      <a:pt x="305562" y="352425"/>
                      <a:pt x="352425" y="305562"/>
                      <a:pt x="352425" y="247650"/>
                    </a:cubicBezTo>
                    <a:cubicBezTo>
                      <a:pt x="352425" y="189738"/>
                      <a:pt x="305562" y="142875"/>
                      <a:pt x="247650" y="142875"/>
                    </a:cubicBezTo>
                    <a:close/>
                    <a:moveTo>
                      <a:pt x="366713" y="114300"/>
                    </a:moveTo>
                    <a:cubicBezTo>
                      <a:pt x="358807" y="114300"/>
                      <a:pt x="352425" y="120682"/>
                      <a:pt x="352425" y="128588"/>
                    </a:cubicBezTo>
                    <a:cubicBezTo>
                      <a:pt x="352425" y="136493"/>
                      <a:pt x="358807" y="142875"/>
                      <a:pt x="366713" y="142875"/>
                    </a:cubicBezTo>
                    <a:cubicBezTo>
                      <a:pt x="374618" y="142875"/>
                      <a:pt x="381000" y="136493"/>
                      <a:pt x="381000" y="128588"/>
                    </a:cubicBezTo>
                    <a:cubicBezTo>
                      <a:pt x="381000" y="120682"/>
                      <a:pt x="374618" y="114300"/>
                      <a:pt x="366713" y="1143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grpSp>
        <p:grpSp>
          <p:nvGrpSpPr>
            <p:cNvPr id="121" name="îṥľiḋe">
              <a:extLst>
                <a:ext uri="{FF2B5EF4-FFF2-40B4-BE49-F238E27FC236}">
                  <a16:creationId xmlns:a16="http://schemas.microsoft.com/office/drawing/2014/main" id="{EBA71682-1176-4DBE-81E4-0311011800E2}"/>
                </a:ext>
              </a:extLst>
            </p:cNvPr>
            <p:cNvGrpSpPr/>
            <p:nvPr/>
          </p:nvGrpSpPr>
          <p:grpSpPr>
            <a:xfrm>
              <a:off x="8626165" y="3468300"/>
              <a:ext cx="2892733" cy="1899534"/>
              <a:chOff x="8770154" y="4102915"/>
              <a:chExt cx="2748746" cy="1899534"/>
            </a:xfrm>
          </p:grpSpPr>
          <p:sp>
            <p:nvSpPr>
              <p:cNvPr id="125" name="iṣḷiḓè">
                <a:extLst>
                  <a:ext uri="{FF2B5EF4-FFF2-40B4-BE49-F238E27FC236}">
                    <a16:creationId xmlns:a16="http://schemas.microsoft.com/office/drawing/2014/main" id="{6CF84D33-9B5E-4BE8-9A19-2F075E0A2811}"/>
                  </a:ext>
                </a:extLst>
              </p:cNvPr>
              <p:cNvSpPr txBox="1"/>
              <p:nvPr/>
            </p:nvSpPr>
            <p:spPr bwMode="auto">
              <a:xfrm>
                <a:off x="8770154" y="4102915"/>
                <a:ext cx="2748746" cy="404665"/>
              </a:xfrm>
              <a:prstGeom prst="rect">
                <a:avLst/>
              </a:prstGeom>
              <a:noFill/>
              <a:ln>
                <a:noFill/>
              </a:ln>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en-US" altLang="zh-CN" b="1" i="1"/>
                  <a:t>Text</a:t>
                </a:r>
                <a:r>
                  <a:rPr lang="en-US" altLang="zh-CN" sz="100" b="1" i="1"/>
                  <a:t> </a:t>
                </a:r>
                <a:r>
                  <a:rPr lang="en-US" altLang="zh-CN" b="1" i="1"/>
                  <a:t> </a:t>
                </a:r>
                <a:r>
                  <a:rPr lang="en-US" altLang="zh-CN" b="1" i="1" dirty="0"/>
                  <a:t>here</a:t>
                </a:r>
              </a:p>
            </p:txBody>
          </p:sp>
          <p:sp>
            <p:nvSpPr>
              <p:cNvPr id="126" name="îsľîḍé">
                <a:extLst>
                  <a:ext uri="{FF2B5EF4-FFF2-40B4-BE49-F238E27FC236}">
                    <a16:creationId xmlns:a16="http://schemas.microsoft.com/office/drawing/2014/main" id="{FC178AFD-9D9E-4266-BD7D-7B8FA1E65DCA}"/>
                  </a:ext>
                </a:extLst>
              </p:cNvPr>
              <p:cNvSpPr/>
              <p:nvPr/>
            </p:nvSpPr>
            <p:spPr bwMode="auto">
              <a:xfrm>
                <a:off x="8770154" y="4507581"/>
                <a:ext cx="2748746" cy="1494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sz="1100" dirty="0"/>
                  <a:t>Copy paste fonts. Choose the only option to retain text.</a:t>
                </a:r>
              </a:p>
              <a:p>
                <a:pPr>
                  <a:lnSpc>
                    <a:spcPct val="130000"/>
                  </a:lnSpc>
                </a:pPr>
                <a:r>
                  <a:rPr lang="en-US" altLang="zh-CN" sz="1100" dirty="0"/>
                  <a:t>……</a:t>
                </a:r>
              </a:p>
              <a:p>
                <a:pPr>
                  <a:lnSpc>
                    <a:spcPct val="130000"/>
                  </a:lnSpc>
                </a:pPr>
                <a:r>
                  <a:rPr lang="en-US" altLang="zh-CN" sz="1100"/>
                  <a:t>Co</a:t>
                </a:r>
                <a:r>
                  <a:rPr lang="en-US" altLang="zh-CN" sz="100"/>
                  <a:t> </a:t>
                </a:r>
                <a:r>
                  <a:rPr lang="en-US" altLang="zh-CN" sz="1100"/>
                  <a:t>py </a:t>
                </a:r>
                <a:r>
                  <a:rPr lang="en-US" altLang="zh-CN" sz="1100" dirty="0"/>
                  <a:t>paste fonts. Choose the only option to retain text.</a:t>
                </a:r>
              </a:p>
              <a:p>
                <a:pPr>
                  <a:lnSpc>
                    <a:spcPct val="130000"/>
                  </a:lnSpc>
                </a:pPr>
                <a:r>
                  <a:rPr lang="en-US" altLang="zh-CN" sz="1100" dirty="0"/>
                  <a:t>……</a:t>
                </a:r>
              </a:p>
            </p:txBody>
          </p:sp>
        </p:grpSp>
        <p:grpSp>
          <p:nvGrpSpPr>
            <p:cNvPr id="122" name="íṥḻîḍê">
              <a:extLst>
                <a:ext uri="{FF2B5EF4-FFF2-40B4-BE49-F238E27FC236}">
                  <a16:creationId xmlns:a16="http://schemas.microsoft.com/office/drawing/2014/main" id="{9E67BAD6-740B-43E5-ABF1-6CD09738A07E}"/>
                </a:ext>
              </a:extLst>
            </p:cNvPr>
            <p:cNvGrpSpPr/>
            <p:nvPr/>
          </p:nvGrpSpPr>
          <p:grpSpPr>
            <a:xfrm>
              <a:off x="673100" y="1991540"/>
              <a:ext cx="2892733" cy="1899534"/>
              <a:chOff x="8770154" y="4102915"/>
              <a:chExt cx="2748746" cy="1899534"/>
            </a:xfrm>
          </p:grpSpPr>
          <p:sp>
            <p:nvSpPr>
              <p:cNvPr id="123" name="íşliďè">
                <a:extLst>
                  <a:ext uri="{FF2B5EF4-FFF2-40B4-BE49-F238E27FC236}">
                    <a16:creationId xmlns:a16="http://schemas.microsoft.com/office/drawing/2014/main" id="{6CF84D33-9B5E-4BE8-9A19-2F075E0A2811}"/>
                  </a:ext>
                </a:extLst>
              </p:cNvPr>
              <p:cNvSpPr txBox="1"/>
              <p:nvPr/>
            </p:nvSpPr>
            <p:spPr bwMode="auto">
              <a:xfrm>
                <a:off x="8770154" y="4102915"/>
                <a:ext cx="2748746" cy="404665"/>
              </a:xfrm>
              <a:prstGeom prst="rect">
                <a:avLst/>
              </a:prstGeom>
              <a:noFill/>
              <a:ln>
                <a:noFill/>
              </a:ln>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ct val="0"/>
                  </a:spcBef>
                </a:pPr>
                <a:r>
                  <a:rPr lang="en-US" altLang="zh-CN" b="1" i="1"/>
                  <a:t>Text</a:t>
                </a:r>
                <a:r>
                  <a:rPr lang="en-US" altLang="zh-CN" sz="100" b="1" i="1"/>
                  <a:t> </a:t>
                </a:r>
                <a:r>
                  <a:rPr lang="en-US" altLang="zh-CN" b="1" i="1"/>
                  <a:t> </a:t>
                </a:r>
                <a:r>
                  <a:rPr lang="en-US" altLang="zh-CN" b="1" i="1" dirty="0"/>
                  <a:t>here</a:t>
                </a:r>
              </a:p>
            </p:txBody>
          </p:sp>
          <p:sp>
            <p:nvSpPr>
              <p:cNvPr id="124" name="îś1iḑe">
                <a:extLst>
                  <a:ext uri="{FF2B5EF4-FFF2-40B4-BE49-F238E27FC236}">
                    <a16:creationId xmlns:a16="http://schemas.microsoft.com/office/drawing/2014/main" id="{FC178AFD-9D9E-4266-BD7D-7B8FA1E65DCA}"/>
                  </a:ext>
                </a:extLst>
              </p:cNvPr>
              <p:cNvSpPr/>
              <p:nvPr/>
            </p:nvSpPr>
            <p:spPr bwMode="auto">
              <a:xfrm>
                <a:off x="8770154" y="4507581"/>
                <a:ext cx="2748746" cy="1494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30000"/>
                  </a:lnSpc>
                </a:pPr>
                <a:r>
                  <a:rPr lang="en-US" altLang="zh-CN" sz="1100" dirty="0"/>
                  <a:t>Copy paste fonts. Choose the only option to retain text.</a:t>
                </a:r>
              </a:p>
              <a:p>
                <a:pPr algn="r">
                  <a:lnSpc>
                    <a:spcPct val="130000"/>
                  </a:lnSpc>
                </a:pPr>
                <a:r>
                  <a:rPr lang="en-US" altLang="zh-CN" sz="1100" dirty="0"/>
                  <a:t>……</a:t>
                </a:r>
              </a:p>
              <a:p>
                <a:pPr algn="r">
                  <a:lnSpc>
                    <a:spcPct val="130000"/>
                  </a:lnSpc>
                </a:pPr>
                <a:r>
                  <a:rPr lang="en-US" altLang="zh-CN" sz="1100"/>
                  <a:t>Co</a:t>
                </a:r>
                <a:r>
                  <a:rPr lang="en-US" altLang="zh-CN" sz="100"/>
                  <a:t> </a:t>
                </a:r>
                <a:r>
                  <a:rPr lang="en-US" altLang="zh-CN" sz="1100"/>
                  <a:t>py </a:t>
                </a:r>
                <a:r>
                  <a:rPr lang="en-US" altLang="zh-CN" sz="1100" dirty="0"/>
                  <a:t>paste fonts. Choose the only option to retain text.</a:t>
                </a:r>
              </a:p>
              <a:p>
                <a:pPr algn="r">
                  <a:lnSpc>
                    <a:spcPct val="130000"/>
                  </a:lnSpc>
                </a:pPr>
                <a:r>
                  <a:rPr lang="en-US" altLang="zh-CN" sz="1100" dirty="0"/>
                  <a:t>……</a:t>
                </a:r>
              </a:p>
            </p:txBody>
          </p:sp>
        </p:grpSp>
      </p:grpSp>
    </p:spTree>
    <p:custDataLst>
      <p:tags r:id="rId2"/>
    </p:custDataLst>
    <p:extLst>
      <p:ext uri="{BB962C8B-B14F-4D97-AF65-F5344CB8AC3E}">
        <p14:creationId xmlns:p14="http://schemas.microsoft.com/office/powerpoint/2010/main" val="1314285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îşļíḑè"/>
        <p:cNvGrpSpPr/>
        <p:nvPr/>
      </p:nvGrpSpPr>
      <p:grpSpPr>
        <a:xfrm>
          <a:off x="0" y="0"/>
          <a:ext cx="0" cy="0"/>
          <a:chOff x="0" y="0"/>
          <a:chExt cx="0" cy="0"/>
        </a:xfrm>
      </p:grpSpPr>
      <p:sp>
        <p:nvSpPr>
          <p:cNvPr id="2" name="îsľîdé">
            <a:extLst>
              <a:ext uri="{FF2B5EF4-FFF2-40B4-BE49-F238E27FC236}">
                <a16:creationId xmlns:a16="http://schemas.microsoft.com/office/drawing/2014/main" id="{05271703-BB6A-4315-89FD-FE878CBB380E}"/>
              </a:ext>
            </a:extLst>
          </p:cNvPr>
          <p:cNvSpPr>
            <a:spLocks noGrp="1"/>
          </p:cNvSpPr>
          <p:nvPr>
            <p:ph type="title"/>
          </p:nvPr>
        </p:nvSpPr>
        <p:spPr/>
        <p:txBody>
          <a:bodyPr/>
          <a:lstStyle/>
          <a:p>
            <a:r>
              <a:rPr lang="en-US" altLang="zh-CN" dirty="0"/>
              <a:t>Click to </a:t>
            </a:r>
            <a:r>
              <a:rPr lang="en-US" altLang="zh-CN"/>
              <a:t>edit Ma</a:t>
            </a:r>
            <a:r>
              <a:rPr lang="en-US" altLang="zh-CN" sz="100"/>
              <a:t> </a:t>
            </a:r>
            <a:r>
              <a:rPr lang="en-US" altLang="zh-CN"/>
              <a:t>ster </a:t>
            </a:r>
            <a:r>
              <a:rPr lang="en-US" altLang="zh-CN" dirty="0"/>
              <a:t>title style</a:t>
            </a:r>
            <a:endParaRPr lang="zh-CN" altLang="en-US" dirty="0"/>
          </a:p>
        </p:txBody>
      </p:sp>
      <p:sp>
        <p:nvSpPr>
          <p:cNvPr id="3" name="îšlîdé">
            <a:extLst>
              <a:ext uri="{FF2B5EF4-FFF2-40B4-BE49-F238E27FC236}">
                <a16:creationId xmlns:a16="http://schemas.microsoft.com/office/drawing/2014/main" id="{35520212-B2DC-4F6D-9ABC-461DA815FD08}"/>
              </a:ext>
            </a:extLst>
          </p:cNvPr>
          <p:cNvSpPr>
            <a:spLocks noGrp="1"/>
          </p:cNvSpPr>
          <p:nvPr>
            <p:ph type="ftr" sz="quarter" idx="11"/>
          </p:nvPr>
        </p:nvSpPr>
        <p:spPr/>
        <p:txBody>
          <a:bodyPr/>
          <a:lstStyle/>
          <a:p>
            <a:r>
              <a:rPr lang="zh-CN" altLang="en-US"/>
              <a:t>请在插入菜单</a:t>
            </a:r>
            <a:r>
              <a:rPr lang="en-US" altLang="zh-CN"/>
              <a:t>—</a:t>
            </a:r>
            <a:r>
              <a:rPr lang="zh-CN" altLang="en-US"/>
              <a:t>页眉</a:t>
            </a:r>
            <a:r>
              <a:rPr lang="zh-CN" altLang="en-US" sz="100"/>
              <a:t> </a:t>
            </a:r>
            <a:r>
              <a:rPr lang="zh-CN" altLang="en-US"/>
              <a:t>和页脚中修改此文本</a:t>
            </a:r>
            <a:endParaRPr lang="zh-CN" altLang="en-US" dirty="0"/>
          </a:p>
        </p:txBody>
      </p:sp>
      <p:sp>
        <p:nvSpPr>
          <p:cNvPr id="4" name="ís1íḓe">
            <a:extLst>
              <a:ext uri="{FF2B5EF4-FFF2-40B4-BE49-F238E27FC236}">
                <a16:creationId xmlns:a16="http://schemas.microsoft.com/office/drawing/2014/main" id="{14574392-E910-45DD-9A97-22D276D18FC5}"/>
              </a:ext>
            </a:extLst>
          </p:cNvPr>
          <p:cNvSpPr>
            <a:spLocks noGrp="1"/>
          </p:cNvSpPr>
          <p:nvPr>
            <p:ph type="sldNum" sz="quarter" idx="12"/>
          </p:nvPr>
        </p:nvSpPr>
        <p:spPr/>
        <p:txBody>
          <a:bodyPr/>
          <a:lstStyle/>
          <a:p>
            <a:fld id="{5DD3DB80-B894-403A-B48E-6FDC1A72010E}" type="slidenum">
              <a:rPr lang="zh-CN" altLang="en-US" smtClean="0"/>
              <a:pPr/>
              <a:t>26</a:t>
            </a:fld>
            <a:r>
              <a:rPr lang="zh-CN" altLang="en-US" sz="100"/>
              <a:t> </a:t>
            </a:r>
          </a:p>
        </p:txBody>
      </p:sp>
      <p:grpSp>
        <p:nvGrpSpPr>
          <p:cNvPr id="81" name="ïšḷíḍ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F8067B3D-FFB8-435E-802B-D96D7CD7DB66}"/>
              </a:ext>
            </a:extLst>
          </p:cNvPr>
          <p:cNvGrpSpPr>
            <a:grpSpLocks noChangeAspect="1"/>
          </p:cNvGrpSpPr>
          <p:nvPr/>
        </p:nvGrpSpPr>
        <p:grpSpPr>
          <a:xfrm>
            <a:off x="673101" y="1321148"/>
            <a:ext cx="10845798" cy="4933984"/>
            <a:chOff x="673101" y="1196444"/>
            <a:chExt cx="10845798" cy="4933984"/>
          </a:xfrm>
        </p:grpSpPr>
        <p:sp>
          <p:nvSpPr>
            <p:cNvPr id="82" name="iṥľíḓè">
              <a:extLst>
                <a:ext uri="{FF2B5EF4-FFF2-40B4-BE49-F238E27FC236}">
                  <a16:creationId xmlns:a16="http://schemas.microsoft.com/office/drawing/2014/main" id="{FB889E37-B7E8-44E0-9C55-1B772B9621F3}"/>
                </a:ext>
              </a:extLst>
            </p:cNvPr>
            <p:cNvSpPr/>
            <p:nvPr/>
          </p:nvSpPr>
          <p:spPr>
            <a:xfrm>
              <a:off x="4013201" y="2799216"/>
              <a:ext cx="2243112" cy="2243112"/>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3600" dirty="0">
                <a:solidFill>
                  <a:schemeClr val="bg1"/>
                </a:solidFill>
              </a:endParaRPr>
            </a:p>
          </p:txBody>
        </p:sp>
        <p:sp>
          <p:nvSpPr>
            <p:cNvPr id="83" name="ïşḻídè">
              <a:extLst>
                <a:ext uri="{FF2B5EF4-FFF2-40B4-BE49-F238E27FC236}">
                  <a16:creationId xmlns:a16="http://schemas.microsoft.com/office/drawing/2014/main" id="{B67FF9A6-87AB-4DC0-BDCC-BBD51BEEC43A}"/>
                </a:ext>
              </a:extLst>
            </p:cNvPr>
            <p:cNvSpPr/>
            <p:nvPr/>
          </p:nvSpPr>
          <p:spPr>
            <a:xfrm flipH="1" flipV="1">
              <a:off x="6364944" y="2234772"/>
              <a:ext cx="1813857" cy="1813857"/>
            </a:xfrm>
            <a:prstGeom prst="teardrop">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3600" dirty="0">
                <a:solidFill>
                  <a:schemeClr val="bg1"/>
                </a:solidFill>
              </a:endParaRPr>
            </a:p>
          </p:txBody>
        </p:sp>
        <p:sp>
          <p:nvSpPr>
            <p:cNvPr id="84" name="íṧḻíḑê">
              <a:extLst>
                <a:ext uri="{FF2B5EF4-FFF2-40B4-BE49-F238E27FC236}">
                  <a16:creationId xmlns:a16="http://schemas.microsoft.com/office/drawing/2014/main" id="{C92E1FBB-6F91-40F6-8C43-93493F3DAC5B}"/>
                </a:ext>
              </a:extLst>
            </p:cNvPr>
            <p:cNvSpPr/>
            <p:nvPr/>
          </p:nvSpPr>
          <p:spPr bwMode="auto">
            <a:xfrm>
              <a:off x="6988392" y="2684457"/>
              <a:ext cx="566959" cy="609685"/>
            </a:xfrm>
            <a:custGeom>
              <a:avLst/>
              <a:gdLst>
                <a:gd name="connsiteX0" fmla="*/ 8038 w 487162"/>
                <a:gd name="connsiteY0" fmla="*/ 513398 h 523875"/>
                <a:gd name="connsiteX1" fmla="*/ 7467 w 487162"/>
                <a:gd name="connsiteY1" fmla="*/ 512731 h 523875"/>
                <a:gd name="connsiteX2" fmla="*/ 7467 w 487162"/>
                <a:gd name="connsiteY2" fmla="*/ 512731 h 523875"/>
                <a:gd name="connsiteX3" fmla="*/ 6991 w 487162"/>
                <a:gd name="connsiteY3" fmla="*/ 512064 h 523875"/>
                <a:gd name="connsiteX4" fmla="*/ 4990 w 487162"/>
                <a:gd name="connsiteY4" fmla="*/ 509016 h 523875"/>
                <a:gd name="connsiteX5" fmla="*/ 4990 w 487162"/>
                <a:gd name="connsiteY5" fmla="*/ 509016 h 523875"/>
                <a:gd name="connsiteX6" fmla="*/ 4514 w 487162"/>
                <a:gd name="connsiteY6" fmla="*/ 508254 h 523875"/>
                <a:gd name="connsiteX7" fmla="*/ 3752 w 487162"/>
                <a:gd name="connsiteY7" fmla="*/ 506730 h 523875"/>
                <a:gd name="connsiteX8" fmla="*/ 3085 w 487162"/>
                <a:gd name="connsiteY8" fmla="*/ 505111 h 523875"/>
                <a:gd name="connsiteX9" fmla="*/ 2990 w 487162"/>
                <a:gd name="connsiteY9" fmla="*/ 504920 h 523875"/>
                <a:gd name="connsiteX10" fmla="*/ 2895 w 487162"/>
                <a:gd name="connsiteY10" fmla="*/ 504635 h 523875"/>
                <a:gd name="connsiteX11" fmla="*/ 2895 w 487162"/>
                <a:gd name="connsiteY11" fmla="*/ 504444 h 523875"/>
                <a:gd name="connsiteX12" fmla="*/ 2228 w 487162"/>
                <a:gd name="connsiteY12" fmla="*/ 502444 h 523875"/>
                <a:gd name="connsiteX13" fmla="*/ 1847 w 487162"/>
                <a:gd name="connsiteY13" fmla="*/ 501110 h 523875"/>
                <a:gd name="connsiteX14" fmla="*/ 1371 w 487162"/>
                <a:gd name="connsiteY14" fmla="*/ 499205 h 523875"/>
                <a:gd name="connsiteX15" fmla="*/ 514 w 487162"/>
                <a:gd name="connsiteY15" fmla="*/ 494919 h 523875"/>
                <a:gd name="connsiteX16" fmla="*/ 228 w 487162"/>
                <a:gd name="connsiteY16" fmla="*/ 492443 h 523875"/>
                <a:gd name="connsiteX17" fmla="*/ 37 w 487162"/>
                <a:gd name="connsiteY17" fmla="*/ 485870 h 523875"/>
                <a:gd name="connsiteX18" fmla="*/ 4609 w 487162"/>
                <a:gd name="connsiteY18" fmla="*/ 467582 h 523875"/>
                <a:gd name="connsiteX19" fmla="*/ 154247 w 487162"/>
                <a:gd name="connsiteY19" fmla="*/ 150876 h 523875"/>
                <a:gd name="connsiteX20" fmla="*/ 157867 w 487162"/>
                <a:gd name="connsiteY20" fmla="*/ 134588 h 523875"/>
                <a:gd name="connsiteX21" fmla="*/ 157867 w 487162"/>
                <a:gd name="connsiteY21" fmla="*/ 19050 h 523875"/>
                <a:gd name="connsiteX22" fmla="*/ 119767 w 487162"/>
                <a:gd name="connsiteY22" fmla="*/ 19050 h 523875"/>
                <a:gd name="connsiteX23" fmla="*/ 119767 w 487162"/>
                <a:gd name="connsiteY23" fmla="*/ 0 h 523875"/>
                <a:gd name="connsiteX24" fmla="*/ 367417 w 487162"/>
                <a:gd name="connsiteY24" fmla="*/ 0 h 523875"/>
                <a:gd name="connsiteX25" fmla="*/ 367417 w 487162"/>
                <a:gd name="connsiteY25" fmla="*/ 19050 h 523875"/>
                <a:gd name="connsiteX26" fmla="*/ 329317 w 487162"/>
                <a:gd name="connsiteY26" fmla="*/ 19050 h 523875"/>
                <a:gd name="connsiteX27" fmla="*/ 329317 w 487162"/>
                <a:gd name="connsiteY27" fmla="*/ 134684 h 523875"/>
                <a:gd name="connsiteX28" fmla="*/ 332936 w 487162"/>
                <a:gd name="connsiteY28" fmla="*/ 150971 h 523875"/>
                <a:gd name="connsiteX29" fmla="*/ 482574 w 487162"/>
                <a:gd name="connsiteY29" fmla="*/ 467678 h 523875"/>
                <a:gd name="connsiteX30" fmla="*/ 484098 w 487162"/>
                <a:gd name="connsiteY30" fmla="*/ 504920 h 523875"/>
                <a:gd name="connsiteX31" fmla="*/ 484003 w 487162"/>
                <a:gd name="connsiteY31" fmla="*/ 505111 h 523875"/>
                <a:gd name="connsiteX32" fmla="*/ 483431 w 487162"/>
                <a:gd name="connsiteY32" fmla="*/ 506540 h 523875"/>
                <a:gd name="connsiteX33" fmla="*/ 458571 w 487162"/>
                <a:gd name="connsiteY33" fmla="*/ 523780 h 523875"/>
                <a:gd name="connsiteX34" fmla="*/ 456666 w 487162"/>
                <a:gd name="connsiteY34" fmla="*/ 523875 h 523875"/>
                <a:gd name="connsiteX35" fmla="*/ 30422 w 487162"/>
                <a:gd name="connsiteY35" fmla="*/ 523875 h 523875"/>
                <a:gd name="connsiteX36" fmla="*/ 28612 w 487162"/>
                <a:gd name="connsiteY36" fmla="*/ 523780 h 523875"/>
                <a:gd name="connsiteX37" fmla="*/ 26136 w 487162"/>
                <a:gd name="connsiteY37" fmla="*/ 523494 h 523875"/>
                <a:gd name="connsiteX38" fmla="*/ 22326 w 487162"/>
                <a:gd name="connsiteY38" fmla="*/ 522637 h 523875"/>
                <a:gd name="connsiteX39" fmla="*/ 22326 w 487162"/>
                <a:gd name="connsiteY39" fmla="*/ 522637 h 523875"/>
                <a:gd name="connsiteX40" fmla="*/ 16801 w 487162"/>
                <a:gd name="connsiteY40" fmla="*/ 520351 h 523875"/>
                <a:gd name="connsiteX41" fmla="*/ 15373 w 487162"/>
                <a:gd name="connsiteY41" fmla="*/ 519589 h 523875"/>
                <a:gd name="connsiteX42" fmla="*/ 14420 w 487162"/>
                <a:gd name="connsiteY42" fmla="*/ 519017 h 523875"/>
                <a:gd name="connsiteX43" fmla="*/ 9467 w 487162"/>
                <a:gd name="connsiteY43" fmla="*/ 514922 h 523875"/>
                <a:gd name="connsiteX44" fmla="*/ 8038 w 487162"/>
                <a:gd name="connsiteY44" fmla="*/ 513398 h 523875"/>
                <a:gd name="connsiteX45" fmla="*/ 8038 w 487162"/>
                <a:gd name="connsiteY45" fmla="*/ 513398 h 523875"/>
                <a:gd name="connsiteX46" fmla="*/ 254641 w 487162"/>
                <a:gd name="connsiteY46" fmla="*/ 404146 h 523875"/>
                <a:gd name="connsiteX47" fmla="*/ 251783 w 487162"/>
                <a:gd name="connsiteY47" fmla="*/ 405956 h 523875"/>
                <a:gd name="connsiteX48" fmla="*/ 246259 w 487162"/>
                <a:gd name="connsiteY48" fmla="*/ 409670 h 523875"/>
                <a:gd name="connsiteX49" fmla="*/ 54425 w 487162"/>
                <a:gd name="connsiteY49" fmla="*/ 416243 h 523875"/>
                <a:gd name="connsiteX50" fmla="*/ 50615 w 487162"/>
                <a:gd name="connsiteY50" fmla="*/ 414719 h 523875"/>
                <a:gd name="connsiteX51" fmla="*/ 21754 w 487162"/>
                <a:gd name="connsiteY51" fmla="*/ 475774 h 523875"/>
                <a:gd name="connsiteX52" fmla="*/ 20897 w 487162"/>
                <a:gd name="connsiteY52" fmla="*/ 477679 h 523875"/>
                <a:gd name="connsiteX53" fmla="*/ 20802 w 487162"/>
                <a:gd name="connsiteY53" fmla="*/ 498158 h 523875"/>
                <a:gd name="connsiteX54" fmla="*/ 27945 w 487162"/>
                <a:gd name="connsiteY54" fmla="*/ 504444 h 523875"/>
                <a:gd name="connsiteX55" fmla="*/ 29184 w 487162"/>
                <a:gd name="connsiteY55" fmla="*/ 504635 h 523875"/>
                <a:gd name="connsiteX56" fmla="*/ 30327 w 487162"/>
                <a:gd name="connsiteY56" fmla="*/ 504730 h 523875"/>
                <a:gd name="connsiteX57" fmla="*/ 456570 w 487162"/>
                <a:gd name="connsiteY57" fmla="*/ 504730 h 523875"/>
                <a:gd name="connsiteX58" fmla="*/ 457714 w 487162"/>
                <a:gd name="connsiteY58" fmla="*/ 504635 h 523875"/>
                <a:gd name="connsiteX59" fmla="*/ 466095 w 487162"/>
                <a:gd name="connsiteY59" fmla="*/ 498062 h 523875"/>
                <a:gd name="connsiteX60" fmla="*/ 466667 w 487162"/>
                <a:gd name="connsiteY60" fmla="*/ 479584 h 523875"/>
                <a:gd name="connsiteX61" fmla="*/ 466000 w 487162"/>
                <a:gd name="connsiteY61" fmla="*/ 477584 h 523875"/>
                <a:gd name="connsiteX62" fmla="*/ 465143 w 487162"/>
                <a:gd name="connsiteY62" fmla="*/ 475679 h 523875"/>
                <a:gd name="connsiteX63" fmla="*/ 423519 w 487162"/>
                <a:gd name="connsiteY63" fmla="*/ 387477 h 523875"/>
                <a:gd name="connsiteX64" fmla="*/ 254641 w 487162"/>
                <a:gd name="connsiteY64" fmla="*/ 404146 h 523875"/>
                <a:gd name="connsiteX65" fmla="*/ 305504 w 487162"/>
                <a:gd name="connsiteY65" fmla="*/ 257175 h 523875"/>
                <a:gd name="connsiteX66" fmla="*/ 272167 w 487162"/>
                <a:gd name="connsiteY66" fmla="*/ 290513 h 523875"/>
                <a:gd name="connsiteX67" fmla="*/ 305504 w 487162"/>
                <a:gd name="connsiteY67" fmla="*/ 323850 h 523875"/>
                <a:gd name="connsiteX68" fmla="*/ 338842 w 487162"/>
                <a:gd name="connsiteY68" fmla="*/ 290513 h 523875"/>
                <a:gd name="connsiteX69" fmla="*/ 305504 w 487162"/>
                <a:gd name="connsiteY69" fmla="*/ 2571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038" y="513398"/>
                  </a:moveTo>
                  <a:lnTo>
                    <a:pt x="7467" y="512731"/>
                  </a:lnTo>
                  <a:lnTo>
                    <a:pt x="7467" y="512731"/>
                  </a:lnTo>
                  <a:lnTo>
                    <a:pt x="6991" y="512064"/>
                  </a:lnTo>
                  <a:cubicBezTo>
                    <a:pt x="6228" y="511112"/>
                    <a:pt x="5657" y="510064"/>
                    <a:pt x="4990" y="509016"/>
                  </a:cubicBezTo>
                  <a:lnTo>
                    <a:pt x="4990" y="509016"/>
                  </a:lnTo>
                  <a:lnTo>
                    <a:pt x="4514" y="508254"/>
                  </a:lnTo>
                  <a:lnTo>
                    <a:pt x="3752" y="506730"/>
                  </a:lnTo>
                  <a:lnTo>
                    <a:pt x="3085" y="505111"/>
                  </a:lnTo>
                  <a:lnTo>
                    <a:pt x="2990" y="504920"/>
                  </a:lnTo>
                  <a:lnTo>
                    <a:pt x="2895" y="504635"/>
                  </a:lnTo>
                  <a:lnTo>
                    <a:pt x="2895" y="504444"/>
                  </a:lnTo>
                  <a:lnTo>
                    <a:pt x="2228" y="502444"/>
                  </a:lnTo>
                  <a:cubicBezTo>
                    <a:pt x="2133" y="501968"/>
                    <a:pt x="1942" y="501587"/>
                    <a:pt x="1847" y="501110"/>
                  </a:cubicBezTo>
                  <a:cubicBezTo>
                    <a:pt x="1657" y="500444"/>
                    <a:pt x="1466" y="499872"/>
                    <a:pt x="1371" y="499205"/>
                  </a:cubicBezTo>
                  <a:cubicBezTo>
                    <a:pt x="990" y="497776"/>
                    <a:pt x="799" y="496348"/>
                    <a:pt x="514" y="494919"/>
                  </a:cubicBezTo>
                  <a:lnTo>
                    <a:pt x="228" y="492443"/>
                  </a:lnTo>
                  <a:cubicBezTo>
                    <a:pt x="37" y="490252"/>
                    <a:pt x="-58" y="488061"/>
                    <a:pt x="37" y="485870"/>
                  </a:cubicBezTo>
                  <a:cubicBezTo>
                    <a:pt x="323" y="479584"/>
                    <a:pt x="1847" y="473393"/>
                    <a:pt x="4609" y="467582"/>
                  </a:cubicBezTo>
                  <a:lnTo>
                    <a:pt x="154247" y="150876"/>
                  </a:lnTo>
                  <a:cubicBezTo>
                    <a:pt x="156628" y="145828"/>
                    <a:pt x="157867" y="140208"/>
                    <a:pt x="157867" y="134588"/>
                  </a:cubicBezTo>
                  <a:lnTo>
                    <a:pt x="157867" y="19050"/>
                  </a:lnTo>
                  <a:lnTo>
                    <a:pt x="119767" y="19050"/>
                  </a:lnTo>
                  <a:lnTo>
                    <a:pt x="119767" y="0"/>
                  </a:lnTo>
                  <a:lnTo>
                    <a:pt x="367417" y="0"/>
                  </a:lnTo>
                  <a:lnTo>
                    <a:pt x="367417" y="19050"/>
                  </a:lnTo>
                  <a:lnTo>
                    <a:pt x="329317" y="19050"/>
                  </a:lnTo>
                  <a:lnTo>
                    <a:pt x="329317" y="134684"/>
                  </a:lnTo>
                  <a:cubicBezTo>
                    <a:pt x="329317" y="140303"/>
                    <a:pt x="330555" y="145828"/>
                    <a:pt x="332936" y="150971"/>
                  </a:cubicBezTo>
                  <a:lnTo>
                    <a:pt x="482574" y="467678"/>
                  </a:lnTo>
                  <a:cubicBezTo>
                    <a:pt x="488098" y="479393"/>
                    <a:pt x="488670" y="492824"/>
                    <a:pt x="484098" y="504920"/>
                  </a:cubicBezTo>
                  <a:lnTo>
                    <a:pt x="484003" y="505111"/>
                  </a:lnTo>
                  <a:lnTo>
                    <a:pt x="483431" y="506540"/>
                  </a:lnTo>
                  <a:cubicBezTo>
                    <a:pt x="478954" y="516446"/>
                    <a:pt x="469429" y="523113"/>
                    <a:pt x="458571" y="523780"/>
                  </a:cubicBezTo>
                  <a:lnTo>
                    <a:pt x="456666" y="523875"/>
                  </a:lnTo>
                  <a:lnTo>
                    <a:pt x="30422" y="523875"/>
                  </a:lnTo>
                  <a:lnTo>
                    <a:pt x="28612" y="523780"/>
                  </a:lnTo>
                  <a:cubicBezTo>
                    <a:pt x="27755" y="523685"/>
                    <a:pt x="26993" y="523685"/>
                    <a:pt x="26136" y="523494"/>
                  </a:cubicBezTo>
                  <a:cubicBezTo>
                    <a:pt x="24802" y="523304"/>
                    <a:pt x="23564" y="523018"/>
                    <a:pt x="22326" y="522637"/>
                  </a:cubicBezTo>
                  <a:lnTo>
                    <a:pt x="22326" y="522637"/>
                  </a:lnTo>
                  <a:cubicBezTo>
                    <a:pt x="20421" y="522065"/>
                    <a:pt x="18516" y="521303"/>
                    <a:pt x="16801" y="520351"/>
                  </a:cubicBezTo>
                  <a:lnTo>
                    <a:pt x="15373" y="519589"/>
                  </a:lnTo>
                  <a:cubicBezTo>
                    <a:pt x="15087" y="519398"/>
                    <a:pt x="14801" y="519208"/>
                    <a:pt x="14420" y="519017"/>
                  </a:cubicBezTo>
                  <a:cubicBezTo>
                    <a:pt x="12610" y="517874"/>
                    <a:pt x="10896" y="516446"/>
                    <a:pt x="9467" y="514922"/>
                  </a:cubicBezTo>
                  <a:lnTo>
                    <a:pt x="8038" y="513398"/>
                  </a:lnTo>
                  <a:lnTo>
                    <a:pt x="8038" y="513398"/>
                  </a:lnTo>
                  <a:close/>
                  <a:moveTo>
                    <a:pt x="254641" y="404146"/>
                  </a:moveTo>
                  <a:lnTo>
                    <a:pt x="251783" y="405956"/>
                  </a:lnTo>
                  <a:lnTo>
                    <a:pt x="246259" y="409670"/>
                  </a:lnTo>
                  <a:cubicBezTo>
                    <a:pt x="199015" y="441008"/>
                    <a:pt x="119481" y="441960"/>
                    <a:pt x="54425" y="416243"/>
                  </a:cubicBezTo>
                  <a:lnTo>
                    <a:pt x="50615" y="414719"/>
                  </a:lnTo>
                  <a:lnTo>
                    <a:pt x="21754" y="475774"/>
                  </a:lnTo>
                  <a:lnTo>
                    <a:pt x="20897" y="477679"/>
                  </a:lnTo>
                  <a:cubicBezTo>
                    <a:pt x="18420" y="484251"/>
                    <a:pt x="18325" y="491490"/>
                    <a:pt x="20802" y="498158"/>
                  </a:cubicBezTo>
                  <a:cubicBezTo>
                    <a:pt x="22040" y="501396"/>
                    <a:pt x="24707" y="503682"/>
                    <a:pt x="27945" y="504444"/>
                  </a:cubicBezTo>
                  <a:lnTo>
                    <a:pt x="29184" y="504635"/>
                  </a:lnTo>
                  <a:lnTo>
                    <a:pt x="30327" y="504730"/>
                  </a:lnTo>
                  <a:lnTo>
                    <a:pt x="456570" y="504730"/>
                  </a:lnTo>
                  <a:lnTo>
                    <a:pt x="457714" y="504635"/>
                  </a:lnTo>
                  <a:cubicBezTo>
                    <a:pt x="461524" y="504254"/>
                    <a:pt x="464762" y="501682"/>
                    <a:pt x="466095" y="498062"/>
                  </a:cubicBezTo>
                  <a:cubicBezTo>
                    <a:pt x="468382" y="492157"/>
                    <a:pt x="468572" y="485585"/>
                    <a:pt x="466667" y="479584"/>
                  </a:cubicBezTo>
                  <a:lnTo>
                    <a:pt x="466000" y="477584"/>
                  </a:lnTo>
                  <a:lnTo>
                    <a:pt x="465143" y="475679"/>
                  </a:lnTo>
                  <a:lnTo>
                    <a:pt x="423519" y="387477"/>
                  </a:lnTo>
                  <a:cubicBezTo>
                    <a:pt x="365416" y="373190"/>
                    <a:pt x="295979" y="378714"/>
                    <a:pt x="254641" y="404146"/>
                  </a:cubicBezTo>
                  <a:close/>
                  <a:moveTo>
                    <a:pt x="305504" y="257175"/>
                  </a:moveTo>
                  <a:cubicBezTo>
                    <a:pt x="287121" y="257175"/>
                    <a:pt x="272167" y="272129"/>
                    <a:pt x="272167" y="290513"/>
                  </a:cubicBezTo>
                  <a:cubicBezTo>
                    <a:pt x="272167" y="308896"/>
                    <a:pt x="287121" y="323850"/>
                    <a:pt x="305504" y="323850"/>
                  </a:cubicBezTo>
                  <a:cubicBezTo>
                    <a:pt x="323887" y="323850"/>
                    <a:pt x="338842" y="308896"/>
                    <a:pt x="338842" y="290513"/>
                  </a:cubicBezTo>
                  <a:cubicBezTo>
                    <a:pt x="338842" y="272129"/>
                    <a:pt x="323887" y="257175"/>
                    <a:pt x="305504" y="257175"/>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85" name="iSlíḑè">
              <a:extLst>
                <a:ext uri="{FF2B5EF4-FFF2-40B4-BE49-F238E27FC236}">
                  <a16:creationId xmlns:a16="http://schemas.microsoft.com/office/drawing/2014/main" id="{4673E03C-E5E0-4771-AB3C-6BB256335836}"/>
                </a:ext>
              </a:extLst>
            </p:cNvPr>
            <p:cNvSpPr/>
            <p:nvPr/>
          </p:nvSpPr>
          <p:spPr bwMode="auto">
            <a:xfrm>
              <a:off x="4829914" y="3462126"/>
              <a:ext cx="609685" cy="485490"/>
            </a:xfrm>
            <a:custGeom>
              <a:avLst/>
              <a:gdLst>
                <a:gd name="connsiteX0" fmla="*/ 485775 w 514350"/>
                <a:gd name="connsiteY0" fmla="*/ 0 h 409575"/>
                <a:gd name="connsiteX1" fmla="*/ 514350 w 514350"/>
                <a:gd name="connsiteY1" fmla="*/ 28575 h 409575"/>
                <a:gd name="connsiteX2" fmla="*/ 514350 w 514350"/>
                <a:gd name="connsiteY2" fmla="*/ 323850 h 409575"/>
                <a:gd name="connsiteX3" fmla="*/ 485775 w 514350"/>
                <a:gd name="connsiteY3" fmla="*/ 352425 h 409575"/>
                <a:gd name="connsiteX4" fmla="*/ 191167 w 514350"/>
                <a:gd name="connsiteY4" fmla="*/ 352425 h 409575"/>
                <a:gd name="connsiteX5" fmla="*/ 114395 w 514350"/>
                <a:gd name="connsiteY5" fmla="*/ 409575 h 409575"/>
                <a:gd name="connsiteX6" fmla="*/ 114395 w 514350"/>
                <a:gd name="connsiteY6" fmla="*/ 352425 h 409575"/>
                <a:gd name="connsiteX7" fmla="*/ 28575 w 514350"/>
                <a:gd name="connsiteY7" fmla="*/ 352425 h 409575"/>
                <a:gd name="connsiteX8" fmla="*/ 0 w 514350"/>
                <a:gd name="connsiteY8" fmla="*/ 323850 h 409575"/>
                <a:gd name="connsiteX9" fmla="*/ 0 w 514350"/>
                <a:gd name="connsiteY9" fmla="*/ 28575 h 409575"/>
                <a:gd name="connsiteX10" fmla="*/ 28575 w 514350"/>
                <a:gd name="connsiteY10" fmla="*/ 0 h 409575"/>
                <a:gd name="connsiteX11" fmla="*/ 485775 w 514350"/>
                <a:gd name="connsiteY11" fmla="*/ 0 h 409575"/>
                <a:gd name="connsiteX12" fmla="*/ 123825 w 514350"/>
                <a:gd name="connsiteY12" fmla="*/ 142875 h 409575"/>
                <a:gd name="connsiteX13" fmla="*/ 90488 w 514350"/>
                <a:gd name="connsiteY13" fmla="*/ 176213 h 409575"/>
                <a:gd name="connsiteX14" fmla="*/ 123825 w 514350"/>
                <a:gd name="connsiteY14" fmla="*/ 209550 h 409575"/>
                <a:gd name="connsiteX15" fmla="*/ 157163 w 514350"/>
                <a:gd name="connsiteY15" fmla="*/ 176213 h 409575"/>
                <a:gd name="connsiteX16" fmla="*/ 123825 w 514350"/>
                <a:gd name="connsiteY16" fmla="*/ 142875 h 409575"/>
                <a:gd name="connsiteX17" fmla="*/ 257175 w 514350"/>
                <a:gd name="connsiteY17" fmla="*/ 142875 h 409575"/>
                <a:gd name="connsiteX18" fmla="*/ 223838 w 514350"/>
                <a:gd name="connsiteY18" fmla="*/ 176213 h 409575"/>
                <a:gd name="connsiteX19" fmla="*/ 257175 w 514350"/>
                <a:gd name="connsiteY19" fmla="*/ 209550 h 409575"/>
                <a:gd name="connsiteX20" fmla="*/ 290513 w 514350"/>
                <a:gd name="connsiteY20" fmla="*/ 176213 h 409575"/>
                <a:gd name="connsiteX21" fmla="*/ 257175 w 514350"/>
                <a:gd name="connsiteY21" fmla="*/ 142875 h 409575"/>
                <a:gd name="connsiteX22" fmla="*/ 390525 w 514350"/>
                <a:gd name="connsiteY22" fmla="*/ 142875 h 409575"/>
                <a:gd name="connsiteX23" fmla="*/ 357188 w 514350"/>
                <a:gd name="connsiteY23" fmla="*/ 176213 h 409575"/>
                <a:gd name="connsiteX24" fmla="*/ 390525 w 514350"/>
                <a:gd name="connsiteY24" fmla="*/ 209550 h 409575"/>
                <a:gd name="connsiteX25" fmla="*/ 423863 w 514350"/>
                <a:gd name="connsiteY25" fmla="*/ 176213 h 409575"/>
                <a:gd name="connsiteX26" fmla="*/ 390525 w 514350"/>
                <a:gd name="connsiteY26" fmla="*/ 1428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5775" y="0"/>
                  </a:moveTo>
                  <a:cubicBezTo>
                    <a:pt x="501586" y="0"/>
                    <a:pt x="514350" y="12764"/>
                    <a:pt x="514350" y="28575"/>
                  </a:cubicBezTo>
                  <a:lnTo>
                    <a:pt x="514350" y="323850"/>
                  </a:lnTo>
                  <a:cubicBezTo>
                    <a:pt x="514350" y="339662"/>
                    <a:pt x="501586" y="352425"/>
                    <a:pt x="485775" y="352425"/>
                  </a:cubicBezTo>
                  <a:lnTo>
                    <a:pt x="191167" y="352425"/>
                  </a:lnTo>
                  <a:lnTo>
                    <a:pt x="114395" y="409575"/>
                  </a:lnTo>
                  <a:lnTo>
                    <a:pt x="114395" y="352425"/>
                  </a:lnTo>
                  <a:lnTo>
                    <a:pt x="28575" y="352425"/>
                  </a:lnTo>
                  <a:cubicBezTo>
                    <a:pt x="12764" y="352425"/>
                    <a:pt x="0" y="339662"/>
                    <a:pt x="0" y="323850"/>
                  </a:cubicBezTo>
                  <a:lnTo>
                    <a:pt x="0" y="28575"/>
                  </a:lnTo>
                  <a:cubicBezTo>
                    <a:pt x="0" y="12764"/>
                    <a:pt x="12764" y="0"/>
                    <a:pt x="28575" y="0"/>
                  </a:cubicBezTo>
                  <a:lnTo>
                    <a:pt x="485775" y="0"/>
                  </a:lnTo>
                  <a:close/>
                  <a:moveTo>
                    <a:pt x="123825" y="142875"/>
                  </a:moveTo>
                  <a:cubicBezTo>
                    <a:pt x="105442" y="142875"/>
                    <a:pt x="90488" y="157829"/>
                    <a:pt x="90488" y="176213"/>
                  </a:cubicBezTo>
                  <a:cubicBezTo>
                    <a:pt x="90488" y="194596"/>
                    <a:pt x="105442" y="209550"/>
                    <a:pt x="123825" y="209550"/>
                  </a:cubicBezTo>
                  <a:cubicBezTo>
                    <a:pt x="142208" y="209550"/>
                    <a:pt x="157163" y="194596"/>
                    <a:pt x="157163" y="176213"/>
                  </a:cubicBezTo>
                  <a:cubicBezTo>
                    <a:pt x="157163" y="157829"/>
                    <a:pt x="142208" y="142875"/>
                    <a:pt x="123825" y="142875"/>
                  </a:cubicBezTo>
                  <a:close/>
                  <a:moveTo>
                    <a:pt x="257175" y="142875"/>
                  </a:moveTo>
                  <a:cubicBezTo>
                    <a:pt x="238792" y="142875"/>
                    <a:pt x="223838" y="157829"/>
                    <a:pt x="223838" y="176213"/>
                  </a:cubicBezTo>
                  <a:cubicBezTo>
                    <a:pt x="223838" y="194596"/>
                    <a:pt x="238792" y="209550"/>
                    <a:pt x="257175" y="209550"/>
                  </a:cubicBezTo>
                  <a:cubicBezTo>
                    <a:pt x="275558" y="209550"/>
                    <a:pt x="290513" y="194596"/>
                    <a:pt x="290513" y="176213"/>
                  </a:cubicBezTo>
                  <a:cubicBezTo>
                    <a:pt x="290513" y="157829"/>
                    <a:pt x="275558" y="142875"/>
                    <a:pt x="257175" y="142875"/>
                  </a:cubicBezTo>
                  <a:close/>
                  <a:moveTo>
                    <a:pt x="390525" y="142875"/>
                  </a:moveTo>
                  <a:cubicBezTo>
                    <a:pt x="372142" y="142875"/>
                    <a:pt x="357188" y="157829"/>
                    <a:pt x="357188" y="176213"/>
                  </a:cubicBezTo>
                  <a:cubicBezTo>
                    <a:pt x="357188" y="194596"/>
                    <a:pt x="372142" y="209550"/>
                    <a:pt x="390525" y="209550"/>
                  </a:cubicBezTo>
                  <a:cubicBezTo>
                    <a:pt x="408908" y="209550"/>
                    <a:pt x="423863" y="194596"/>
                    <a:pt x="423863" y="176213"/>
                  </a:cubicBezTo>
                  <a:cubicBezTo>
                    <a:pt x="423863" y="157829"/>
                    <a:pt x="408908" y="142875"/>
                    <a:pt x="390525" y="142875"/>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86" name="iślíḑé">
              <a:extLst>
                <a:ext uri="{FF2B5EF4-FFF2-40B4-BE49-F238E27FC236}">
                  <a16:creationId xmlns:a16="http://schemas.microsoft.com/office/drawing/2014/main" id="{5DC5C5E9-E971-43C1-BD71-4D71E5A4B7DA}"/>
                </a:ext>
              </a:extLst>
            </p:cNvPr>
            <p:cNvSpPr txBox="1"/>
            <p:nvPr/>
          </p:nvSpPr>
          <p:spPr bwMode="auto">
            <a:xfrm>
              <a:off x="4322721" y="4009714"/>
              <a:ext cx="1624069"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en-US" altLang="zh-CN" b="1">
                  <a:solidFill>
                    <a:schemeClr val="bg1"/>
                  </a:solidFill>
                </a:rPr>
                <a:t>Text</a:t>
              </a:r>
              <a:r>
                <a:rPr lang="en-US" altLang="zh-CN" sz="100" b="1">
                  <a:solidFill>
                    <a:schemeClr val="bg1"/>
                  </a:solidFill>
                </a:rPr>
                <a:t> </a:t>
              </a:r>
              <a:r>
                <a:rPr lang="en-US" altLang="zh-CN" b="1">
                  <a:solidFill>
                    <a:schemeClr val="bg1"/>
                  </a:solidFill>
                </a:rPr>
                <a:t> </a:t>
              </a:r>
              <a:r>
                <a:rPr lang="en-US" altLang="zh-CN" b="1" dirty="0">
                  <a:solidFill>
                    <a:schemeClr val="bg1"/>
                  </a:solidFill>
                </a:rPr>
                <a:t>here</a:t>
              </a:r>
            </a:p>
          </p:txBody>
        </p:sp>
        <p:sp>
          <p:nvSpPr>
            <p:cNvPr id="87" name="îsḷiḍé">
              <a:extLst>
                <a:ext uri="{FF2B5EF4-FFF2-40B4-BE49-F238E27FC236}">
                  <a16:creationId xmlns:a16="http://schemas.microsoft.com/office/drawing/2014/main" id="{18407532-8C83-448F-840D-0B9A7D2B033B}"/>
                </a:ext>
              </a:extLst>
            </p:cNvPr>
            <p:cNvSpPr txBox="1"/>
            <p:nvPr/>
          </p:nvSpPr>
          <p:spPr bwMode="auto">
            <a:xfrm>
              <a:off x="6454267" y="3276600"/>
              <a:ext cx="1624069"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en-US" altLang="zh-CN" b="1">
                  <a:solidFill>
                    <a:schemeClr val="bg1"/>
                  </a:solidFill>
                </a:rPr>
                <a:t>Text</a:t>
              </a:r>
              <a:r>
                <a:rPr lang="en-US" altLang="zh-CN" sz="100" b="1">
                  <a:solidFill>
                    <a:schemeClr val="bg1"/>
                  </a:solidFill>
                </a:rPr>
                <a:t> </a:t>
              </a:r>
              <a:r>
                <a:rPr lang="en-US" altLang="zh-CN" b="1">
                  <a:solidFill>
                    <a:schemeClr val="bg1"/>
                  </a:solidFill>
                </a:rPr>
                <a:t> </a:t>
              </a:r>
              <a:r>
                <a:rPr lang="en-US" altLang="zh-CN" b="1" dirty="0">
                  <a:solidFill>
                    <a:schemeClr val="bg1"/>
                  </a:solidFill>
                </a:rPr>
                <a:t>here</a:t>
              </a:r>
            </a:p>
          </p:txBody>
        </p:sp>
        <p:sp>
          <p:nvSpPr>
            <p:cNvPr id="88" name="iś1ïḑe">
              <a:extLst>
                <a:ext uri="{FF2B5EF4-FFF2-40B4-BE49-F238E27FC236}">
                  <a16:creationId xmlns:a16="http://schemas.microsoft.com/office/drawing/2014/main" id="{A70C5ED6-11F0-4B0A-91CC-84A8BC5C1070}"/>
                </a:ext>
              </a:extLst>
            </p:cNvPr>
            <p:cNvSpPr/>
            <p:nvPr/>
          </p:nvSpPr>
          <p:spPr bwMode="auto">
            <a:xfrm>
              <a:off x="673101" y="2443445"/>
              <a:ext cx="3149600" cy="79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20000"/>
                </a:lnSpc>
                <a:buFont typeface="Arial" panose="020B0604020202020204" pitchFamily="34" charset="0"/>
                <a:buChar char="•"/>
              </a:pPr>
              <a:r>
                <a:rPr lang="en-US" altLang="zh-CN" sz="1100" dirty="0"/>
                <a:t>Copy paste fonts. Choose </a:t>
              </a:r>
              <a:r>
                <a:rPr lang="en-US" altLang="zh-CN" sz="1100"/>
                <a:t>the o</a:t>
              </a:r>
              <a:r>
                <a:rPr lang="en-US" altLang="zh-CN" sz="100"/>
                <a:t> </a:t>
              </a:r>
              <a:r>
                <a:rPr lang="en-US" altLang="zh-CN" sz="1100"/>
                <a:t>nly </a:t>
              </a:r>
              <a:r>
                <a:rPr lang="en-US" altLang="zh-CN" sz="1100" dirty="0"/>
                <a:t>option to retain text.</a:t>
              </a:r>
            </a:p>
            <a:p>
              <a:pPr marL="171450" indent="-171450">
                <a:lnSpc>
                  <a:spcPct val="120000"/>
                </a:lnSpc>
                <a:buFont typeface="Arial" panose="020B0604020202020204" pitchFamily="34" charset="0"/>
                <a:buChar char="•"/>
              </a:pPr>
              <a:r>
                <a:rPr lang="en-US" altLang="zh-CN" sz="1100" dirty="0"/>
                <a:t>……</a:t>
              </a:r>
            </a:p>
          </p:txBody>
        </p:sp>
        <p:sp>
          <p:nvSpPr>
            <p:cNvPr id="89" name="ïS1ïďê">
              <a:extLst>
                <a:ext uri="{FF2B5EF4-FFF2-40B4-BE49-F238E27FC236}">
                  <a16:creationId xmlns:a16="http://schemas.microsoft.com/office/drawing/2014/main" id="{58362588-1E66-41E7-9211-93FA253513EE}"/>
                </a:ext>
              </a:extLst>
            </p:cNvPr>
            <p:cNvSpPr txBox="1"/>
            <p:nvPr/>
          </p:nvSpPr>
          <p:spPr bwMode="auto">
            <a:xfrm>
              <a:off x="679863" y="1766219"/>
              <a:ext cx="3142838" cy="556105"/>
            </a:xfrm>
            <a:prstGeom prst="rect">
              <a:avLst/>
            </a:prstGeom>
            <a:solidFill>
              <a:schemeClr val="accent1"/>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en-US" altLang="zh-CN" b="1">
                  <a:solidFill>
                    <a:schemeClr val="bg1"/>
                  </a:solidFill>
                </a:rPr>
                <a:t>Text</a:t>
              </a:r>
              <a:r>
                <a:rPr lang="en-US" altLang="zh-CN" sz="100" b="1">
                  <a:solidFill>
                    <a:schemeClr val="bg1"/>
                  </a:solidFill>
                </a:rPr>
                <a:t> </a:t>
              </a:r>
              <a:r>
                <a:rPr lang="en-US" altLang="zh-CN" b="1">
                  <a:solidFill>
                    <a:schemeClr val="bg1"/>
                  </a:solidFill>
                </a:rPr>
                <a:t> </a:t>
              </a:r>
              <a:r>
                <a:rPr lang="en-US" altLang="zh-CN" b="1" dirty="0">
                  <a:solidFill>
                    <a:schemeClr val="bg1"/>
                  </a:solidFill>
                </a:rPr>
                <a:t>here</a:t>
              </a:r>
            </a:p>
          </p:txBody>
        </p:sp>
        <p:sp>
          <p:nvSpPr>
            <p:cNvPr id="90" name="íṡlïḋè">
              <a:extLst>
                <a:ext uri="{FF2B5EF4-FFF2-40B4-BE49-F238E27FC236}">
                  <a16:creationId xmlns:a16="http://schemas.microsoft.com/office/drawing/2014/main" id="{E6523935-BD94-4695-B5A8-4A06E7D7C7AD}"/>
                </a:ext>
              </a:extLst>
            </p:cNvPr>
            <p:cNvSpPr/>
            <p:nvPr/>
          </p:nvSpPr>
          <p:spPr bwMode="auto">
            <a:xfrm>
              <a:off x="1994168" y="1256131"/>
              <a:ext cx="514227" cy="385671"/>
            </a:xfrm>
            <a:custGeom>
              <a:avLst/>
              <a:gdLst>
                <a:gd name="connsiteX0" fmla="*/ 504825 w 533400"/>
                <a:gd name="connsiteY0" fmla="*/ 0 h 400050"/>
                <a:gd name="connsiteX1" fmla="*/ 533400 w 533400"/>
                <a:gd name="connsiteY1" fmla="*/ 28575 h 400050"/>
                <a:gd name="connsiteX2" fmla="*/ 533400 w 533400"/>
                <a:gd name="connsiteY2" fmla="*/ 371475 h 400050"/>
                <a:gd name="connsiteX3" fmla="*/ 504825 w 533400"/>
                <a:gd name="connsiteY3" fmla="*/ 400050 h 400050"/>
                <a:gd name="connsiteX4" fmla="*/ 28575 w 533400"/>
                <a:gd name="connsiteY4" fmla="*/ 400050 h 400050"/>
                <a:gd name="connsiteX5" fmla="*/ 0 w 533400"/>
                <a:gd name="connsiteY5" fmla="*/ 371475 h 400050"/>
                <a:gd name="connsiteX6" fmla="*/ 0 w 533400"/>
                <a:gd name="connsiteY6" fmla="*/ 28575 h 400050"/>
                <a:gd name="connsiteX7" fmla="*/ 28575 w 533400"/>
                <a:gd name="connsiteY7" fmla="*/ 0 h 400050"/>
                <a:gd name="connsiteX8" fmla="*/ 504825 w 533400"/>
                <a:gd name="connsiteY8" fmla="*/ 0 h 400050"/>
                <a:gd name="connsiteX9" fmla="*/ 390811 w 533400"/>
                <a:gd name="connsiteY9" fmla="*/ 198025 h 400050"/>
                <a:gd name="connsiteX10" fmla="*/ 350806 w 533400"/>
                <a:gd name="connsiteY10" fmla="*/ 203549 h 400050"/>
                <a:gd name="connsiteX11" fmla="*/ 350806 w 533400"/>
                <a:gd name="connsiteY11" fmla="*/ 203549 h 400050"/>
                <a:gd name="connsiteX12" fmla="*/ 266510 w 533400"/>
                <a:gd name="connsiteY12" fmla="*/ 314992 h 400050"/>
                <a:gd name="connsiteX13" fmla="*/ 264033 w 533400"/>
                <a:gd name="connsiteY13" fmla="*/ 317849 h 400050"/>
                <a:gd name="connsiteX14" fmla="*/ 223647 w 533400"/>
                <a:gd name="connsiteY14" fmla="*/ 318135 h 400050"/>
                <a:gd name="connsiteX15" fmla="*/ 223647 w 533400"/>
                <a:gd name="connsiteY15" fmla="*/ 318135 h 400050"/>
                <a:gd name="connsiteX16" fmla="*/ 161544 w 533400"/>
                <a:gd name="connsiteY16" fmla="*/ 256794 h 400050"/>
                <a:gd name="connsiteX17" fmla="*/ 159639 w 533400"/>
                <a:gd name="connsiteY17" fmla="*/ 255079 h 400050"/>
                <a:gd name="connsiteX18" fmla="*/ 119444 w 533400"/>
                <a:gd name="connsiteY18" fmla="*/ 258985 h 400050"/>
                <a:gd name="connsiteX19" fmla="*/ 119444 w 533400"/>
                <a:gd name="connsiteY19" fmla="*/ 258985 h 400050"/>
                <a:gd name="connsiteX20" fmla="*/ 31909 w 533400"/>
                <a:gd name="connsiteY20" fmla="*/ 365474 h 400050"/>
                <a:gd name="connsiteX21" fmla="*/ 29718 w 533400"/>
                <a:gd name="connsiteY21" fmla="*/ 371475 h 400050"/>
                <a:gd name="connsiteX22" fmla="*/ 39243 w 533400"/>
                <a:gd name="connsiteY22" fmla="*/ 381000 h 400050"/>
                <a:gd name="connsiteX23" fmla="*/ 39243 w 533400"/>
                <a:gd name="connsiteY23" fmla="*/ 381000 h 400050"/>
                <a:gd name="connsiteX24" fmla="*/ 496634 w 533400"/>
                <a:gd name="connsiteY24" fmla="*/ 381000 h 400050"/>
                <a:gd name="connsiteX25" fmla="*/ 501872 w 533400"/>
                <a:gd name="connsiteY25" fmla="*/ 379381 h 400050"/>
                <a:gd name="connsiteX26" fmla="*/ 504539 w 533400"/>
                <a:gd name="connsiteY26" fmla="*/ 366141 h 400050"/>
                <a:gd name="connsiteX27" fmla="*/ 504539 w 533400"/>
                <a:gd name="connsiteY27" fmla="*/ 366141 h 400050"/>
                <a:gd name="connsiteX28" fmla="*/ 397383 w 533400"/>
                <a:gd name="connsiteY28" fmla="*/ 204883 h 400050"/>
                <a:gd name="connsiteX29" fmla="*/ 390811 w 533400"/>
                <a:gd name="connsiteY29" fmla="*/ 198025 h 400050"/>
                <a:gd name="connsiteX30" fmla="*/ 95250 w 533400"/>
                <a:gd name="connsiteY30" fmla="*/ 57150 h 400050"/>
                <a:gd name="connsiteX31" fmla="*/ 57150 w 533400"/>
                <a:gd name="connsiteY31" fmla="*/ 95250 h 400050"/>
                <a:gd name="connsiteX32" fmla="*/ 95250 w 533400"/>
                <a:gd name="connsiteY32" fmla="*/ 133350 h 400050"/>
                <a:gd name="connsiteX33" fmla="*/ 133350 w 533400"/>
                <a:gd name="connsiteY33" fmla="*/ 95250 h 400050"/>
                <a:gd name="connsiteX34" fmla="*/ 95250 w 533400"/>
                <a:gd name="connsiteY34" fmla="*/ 5715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4825" y="0"/>
                  </a:moveTo>
                  <a:cubicBezTo>
                    <a:pt x="520637" y="0"/>
                    <a:pt x="533400" y="12764"/>
                    <a:pt x="533400" y="28575"/>
                  </a:cubicBezTo>
                  <a:lnTo>
                    <a:pt x="533400" y="371475"/>
                  </a:lnTo>
                  <a:cubicBezTo>
                    <a:pt x="533400" y="387287"/>
                    <a:pt x="520637" y="400050"/>
                    <a:pt x="504825" y="400050"/>
                  </a:cubicBezTo>
                  <a:lnTo>
                    <a:pt x="28575" y="400050"/>
                  </a:lnTo>
                  <a:cubicBezTo>
                    <a:pt x="12763" y="400050"/>
                    <a:pt x="0" y="387287"/>
                    <a:pt x="0" y="371475"/>
                  </a:cubicBezTo>
                  <a:lnTo>
                    <a:pt x="0" y="28575"/>
                  </a:lnTo>
                  <a:cubicBezTo>
                    <a:pt x="0" y="12764"/>
                    <a:pt x="12763" y="0"/>
                    <a:pt x="28575" y="0"/>
                  </a:cubicBezTo>
                  <a:lnTo>
                    <a:pt x="504825" y="0"/>
                  </a:lnTo>
                  <a:close/>
                  <a:moveTo>
                    <a:pt x="390811" y="198025"/>
                  </a:moveTo>
                  <a:cubicBezTo>
                    <a:pt x="378238" y="188500"/>
                    <a:pt x="360331" y="190976"/>
                    <a:pt x="350806" y="203549"/>
                  </a:cubicBezTo>
                  <a:lnTo>
                    <a:pt x="350806" y="203549"/>
                  </a:lnTo>
                  <a:lnTo>
                    <a:pt x="266510" y="314992"/>
                  </a:lnTo>
                  <a:cubicBezTo>
                    <a:pt x="265747" y="316040"/>
                    <a:pt x="264890" y="316897"/>
                    <a:pt x="264033" y="317849"/>
                  </a:cubicBezTo>
                  <a:cubicBezTo>
                    <a:pt x="252984" y="329089"/>
                    <a:pt x="234887" y="329184"/>
                    <a:pt x="223647" y="318135"/>
                  </a:cubicBezTo>
                  <a:lnTo>
                    <a:pt x="223647" y="318135"/>
                  </a:lnTo>
                  <a:lnTo>
                    <a:pt x="161544" y="256794"/>
                  </a:lnTo>
                  <a:cubicBezTo>
                    <a:pt x="160877" y="256223"/>
                    <a:pt x="160306" y="255556"/>
                    <a:pt x="159639" y="255079"/>
                  </a:cubicBezTo>
                  <a:cubicBezTo>
                    <a:pt x="147447" y="245078"/>
                    <a:pt x="129445" y="246793"/>
                    <a:pt x="119444" y="258985"/>
                  </a:cubicBezTo>
                  <a:lnTo>
                    <a:pt x="119444" y="258985"/>
                  </a:lnTo>
                  <a:lnTo>
                    <a:pt x="31909" y="365474"/>
                  </a:lnTo>
                  <a:cubicBezTo>
                    <a:pt x="30480" y="367189"/>
                    <a:pt x="29718" y="369284"/>
                    <a:pt x="29718" y="371475"/>
                  </a:cubicBezTo>
                  <a:cubicBezTo>
                    <a:pt x="29718" y="376714"/>
                    <a:pt x="34004" y="381000"/>
                    <a:pt x="39243" y="381000"/>
                  </a:cubicBezTo>
                  <a:lnTo>
                    <a:pt x="39243" y="381000"/>
                  </a:lnTo>
                  <a:lnTo>
                    <a:pt x="496634" y="381000"/>
                  </a:lnTo>
                  <a:cubicBezTo>
                    <a:pt x="498538" y="381000"/>
                    <a:pt x="500348" y="380429"/>
                    <a:pt x="501872" y="379381"/>
                  </a:cubicBezTo>
                  <a:cubicBezTo>
                    <a:pt x="506254" y="376428"/>
                    <a:pt x="507397" y="370523"/>
                    <a:pt x="504539" y="366141"/>
                  </a:cubicBezTo>
                  <a:lnTo>
                    <a:pt x="504539" y="366141"/>
                  </a:lnTo>
                  <a:lnTo>
                    <a:pt x="397383" y="204883"/>
                  </a:lnTo>
                  <a:cubicBezTo>
                    <a:pt x="395573" y="202311"/>
                    <a:pt x="393382" y="199930"/>
                    <a:pt x="390811" y="198025"/>
                  </a:cubicBezTo>
                  <a:close/>
                  <a:moveTo>
                    <a:pt x="95250" y="57150"/>
                  </a:moveTo>
                  <a:cubicBezTo>
                    <a:pt x="74200" y="57150"/>
                    <a:pt x="57150" y="74200"/>
                    <a:pt x="57150" y="95250"/>
                  </a:cubicBezTo>
                  <a:cubicBezTo>
                    <a:pt x="57150" y="116300"/>
                    <a:pt x="74200" y="133350"/>
                    <a:pt x="95250" y="133350"/>
                  </a:cubicBezTo>
                  <a:cubicBezTo>
                    <a:pt x="116300" y="133350"/>
                    <a:pt x="133350" y="116300"/>
                    <a:pt x="133350" y="95250"/>
                  </a:cubicBezTo>
                  <a:cubicBezTo>
                    <a:pt x="133350" y="74200"/>
                    <a:pt x="116300" y="57150"/>
                    <a:pt x="95250" y="57150"/>
                  </a:cubicBezTo>
                  <a:close/>
                </a:path>
              </a:pathLst>
            </a:custGeom>
            <a:solidFill>
              <a:schemeClr val="accent1"/>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1" name="išḻidè">
              <a:extLst>
                <a:ext uri="{FF2B5EF4-FFF2-40B4-BE49-F238E27FC236}">
                  <a16:creationId xmlns:a16="http://schemas.microsoft.com/office/drawing/2014/main" id="{704856CC-1DD4-4A5E-A548-1F4A4576FB81}"/>
                </a:ext>
              </a:extLst>
            </p:cNvPr>
            <p:cNvSpPr/>
            <p:nvPr/>
          </p:nvSpPr>
          <p:spPr bwMode="auto">
            <a:xfrm>
              <a:off x="673101" y="3408457"/>
              <a:ext cx="3149600" cy="79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20000"/>
                </a:lnSpc>
                <a:buFont typeface="Arial" panose="020B0604020202020204" pitchFamily="34" charset="0"/>
                <a:buChar char="•"/>
              </a:pPr>
              <a:r>
                <a:rPr lang="en-US" altLang="zh-CN" sz="1100" dirty="0"/>
                <a:t>Copy paste fonts. Choose </a:t>
              </a:r>
              <a:r>
                <a:rPr lang="en-US" altLang="zh-CN" sz="1100"/>
                <a:t>the o</a:t>
              </a:r>
              <a:r>
                <a:rPr lang="en-US" altLang="zh-CN" sz="100"/>
                <a:t> </a:t>
              </a:r>
              <a:r>
                <a:rPr lang="en-US" altLang="zh-CN" sz="1100"/>
                <a:t>nly </a:t>
              </a:r>
              <a:r>
                <a:rPr lang="en-US" altLang="zh-CN" sz="1100" dirty="0"/>
                <a:t>option to retain text.</a:t>
              </a:r>
            </a:p>
            <a:p>
              <a:pPr marL="171450" indent="-171450">
                <a:lnSpc>
                  <a:spcPct val="120000"/>
                </a:lnSpc>
                <a:buFont typeface="Arial" panose="020B0604020202020204" pitchFamily="34" charset="0"/>
                <a:buChar char="•"/>
              </a:pPr>
              <a:r>
                <a:rPr lang="en-US" altLang="zh-CN" sz="1100" dirty="0"/>
                <a:t>……</a:t>
              </a:r>
            </a:p>
          </p:txBody>
        </p:sp>
        <p:sp>
          <p:nvSpPr>
            <p:cNvPr id="92" name="iṣľiḓê">
              <a:extLst>
                <a:ext uri="{FF2B5EF4-FFF2-40B4-BE49-F238E27FC236}">
                  <a16:creationId xmlns:a16="http://schemas.microsoft.com/office/drawing/2014/main" id="{85125EA2-FECF-42BD-922F-84D24C7B3C70}"/>
                </a:ext>
              </a:extLst>
            </p:cNvPr>
            <p:cNvSpPr/>
            <p:nvPr/>
          </p:nvSpPr>
          <p:spPr bwMode="auto">
            <a:xfrm>
              <a:off x="673101" y="4373469"/>
              <a:ext cx="3149600" cy="79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20000"/>
                </a:lnSpc>
                <a:buFont typeface="Arial" panose="020B0604020202020204" pitchFamily="34" charset="0"/>
                <a:buChar char="•"/>
              </a:pPr>
              <a:r>
                <a:rPr lang="en-US" altLang="zh-CN" sz="1100" dirty="0"/>
                <a:t>Copy paste fonts. Choose </a:t>
              </a:r>
              <a:r>
                <a:rPr lang="en-US" altLang="zh-CN" sz="1100"/>
                <a:t>the o</a:t>
              </a:r>
              <a:r>
                <a:rPr lang="en-US" altLang="zh-CN" sz="100"/>
                <a:t> </a:t>
              </a:r>
              <a:r>
                <a:rPr lang="en-US" altLang="zh-CN" sz="1100"/>
                <a:t>nly </a:t>
              </a:r>
              <a:r>
                <a:rPr lang="en-US" altLang="zh-CN" sz="1100" dirty="0"/>
                <a:t>option to retain text.</a:t>
              </a:r>
            </a:p>
            <a:p>
              <a:pPr marL="171450" indent="-171450">
                <a:lnSpc>
                  <a:spcPct val="120000"/>
                </a:lnSpc>
                <a:buFont typeface="Arial" panose="020B0604020202020204" pitchFamily="34" charset="0"/>
                <a:buChar char="•"/>
              </a:pPr>
              <a:r>
                <a:rPr lang="en-US" altLang="zh-CN" sz="1100" dirty="0"/>
                <a:t>……</a:t>
              </a:r>
            </a:p>
          </p:txBody>
        </p:sp>
        <p:sp>
          <p:nvSpPr>
            <p:cNvPr id="93" name="îṡlíḋè">
              <a:extLst>
                <a:ext uri="{FF2B5EF4-FFF2-40B4-BE49-F238E27FC236}">
                  <a16:creationId xmlns:a16="http://schemas.microsoft.com/office/drawing/2014/main" id="{6DB3B617-B81D-4D20-BEAF-9817367A9AC6}"/>
                </a:ext>
              </a:extLst>
            </p:cNvPr>
            <p:cNvSpPr/>
            <p:nvPr/>
          </p:nvSpPr>
          <p:spPr bwMode="auto">
            <a:xfrm>
              <a:off x="8369299" y="2443445"/>
              <a:ext cx="3149600" cy="79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20000"/>
                </a:lnSpc>
                <a:buFont typeface="Arial" panose="020B0604020202020204" pitchFamily="34" charset="0"/>
                <a:buChar char="•"/>
              </a:pPr>
              <a:r>
                <a:rPr lang="en-US" altLang="zh-CN" sz="1100" dirty="0"/>
                <a:t>Copy paste fonts. Choose </a:t>
              </a:r>
              <a:r>
                <a:rPr lang="en-US" altLang="zh-CN" sz="1100"/>
                <a:t>the o</a:t>
              </a:r>
              <a:r>
                <a:rPr lang="en-US" altLang="zh-CN" sz="100"/>
                <a:t> </a:t>
              </a:r>
              <a:r>
                <a:rPr lang="en-US" altLang="zh-CN" sz="1100"/>
                <a:t>nly </a:t>
              </a:r>
              <a:r>
                <a:rPr lang="en-US" altLang="zh-CN" sz="1100" dirty="0"/>
                <a:t>option to retain text.</a:t>
              </a:r>
            </a:p>
            <a:p>
              <a:pPr marL="171450" indent="-171450">
                <a:lnSpc>
                  <a:spcPct val="120000"/>
                </a:lnSpc>
                <a:buFont typeface="Arial" panose="020B0604020202020204" pitchFamily="34" charset="0"/>
                <a:buChar char="•"/>
              </a:pPr>
              <a:r>
                <a:rPr lang="en-US" altLang="zh-CN" sz="1100" dirty="0"/>
                <a:t>……</a:t>
              </a:r>
            </a:p>
          </p:txBody>
        </p:sp>
        <p:sp>
          <p:nvSpPr>
            <p:cNvPr id="94" name="ï$ľíḑé">
              <a:extLst>
                <a:ext uri="{FF2B5EF4-FFF2-40B4-BE49-F238E27FC236}">
                  <a16:creationId xmlns:a16="http://schemas.microsoft.com/office/drawing/2014/main" id="{AD18A18A-159A-4C96-9B05-DC985222E6AB}"/>
                </a:ext>
              </a:extLst>
            </p:cNvPr>
            <p:cNvSpPr txBox="1"/>
            <p:nvPr/>
          </p:nvSpPr>
          <p:spPr bwMode="auto">
            <a:xfrm>
              <a:off x="8376061" y="1766219"/>
              <a:ext cx="3142838" cy="556105"/>
            </a:xfrm>
            <a:prstGeom prst="rect">
              <a:avLst/>
            </a:prstGeom>
            <a:solidFill>
              <a:schemeClr val="accent2"/>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pPr>
              <a:r>
                <a:rPr lang="en-US" altLang="zh-CN" b="1">
                  <a:solidFill>
                    <a:schemeClr val="bg1"/>
                  </a:solidFill>
                </a:rPr>
                <a:t>Text</a:t>
              </a:r>
              <a:r>
                <a:rPr lang="en-US" altLang="zh-CN" sz="100" b="1">
                  <a:solidFill>
                    <a:schemeClr val="bg1"/>
                  </a:solidFill>
                </a:rPr>
                <a:t> </a:t>
              </a:r>
              <a:r>
                <a:rPr lang="en-US" altLang="zh-CN" b="1">
                  <a:solidFill>
                    <a:schemeClr val="bg1"/>
                  </a:solidFill>
                </a:rPr>
                <a:t> </a:t>
              </a:r>
              <a:r>
                <a:rPr lang="en-US" altLang="zh-CN" b="1" dirty="0">
                  <a:solidFill>
                    <a:schemeClr val="bg1"/>
                  </a:solidFill>
                </a:rPr>
                <a:t>here</a:t>
              </a:r>
            </a:p>
          </p:txBody>
        </p:sp>
        <p:sp>
          <p:nvSpPr>
            <p:cNvPr id="95" name="íśľíde">
              <a:extLst>
                <a:ext uri="{FF2B5EF4-FFF2-40B4-BE49-F238E27FC236}">
                  <a16:creationId xmlns:a16="http://schemas.microsoft.com/office/drawing/2014/main" id="{38669053-73A0-41AD-87A8-2D7D66A055AE}"/>
                </a:ext>
              </a:extLst>
            </p:cNvPr>
            <p:cNvSpPr/>
            <p:nvPr/>
          </p:nvSpPr>
          <p:spPr bwMode="auto">
            <a:xfrm>
              <a:off x="9690366" y="1196444"/>
              <a:ext cx="514227" cy="505045"/>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accent2"/>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6" name="íşḻíďé">
              <a:extLst>
                <a:ext uri="{FF2B5EF4-FFF2-40B4-BE49-F238E27FC236}">
                  <a16:creationId xmlns:a16="http://schemas.microsoft.com/office/drawing/2014/main" id="{C157864B-03F6-4673-82E1-4BE154C5788F}"/>
                </a:ext>
              </a:extLst>
            </p:cNvPr>
            <p:cNvSpPr/>
            <p:nvPr/>
          </p:nvSpPr>
          <p:spPr bwMode="auto">
            <a:xfrm>
              <a:off x="8369299" y="3408457"/>
              <a:ext cx="3149600" cy="79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20000"/>
                </a:lnSpc>
                <a:buFont typeface="Arial" panose="020B0604020202020204" pitchFamily="34" charset="0"/>
                <a:buChar char="•"/>
              </a:pPr>
              <a:r>
                <a:rPr lang="en-US" altLang="zh-CN" sz="1100" dirty="0"/>
                <a:t>Copy paste fonts. Choose </a:t>
              </a:r>
              <a:r>
                <a:rPr lang="en-US" altLang="zh-CN" sz="1100"/>
                <a:t>the o</a:t>
              </a:r>
              <a:r>
                <a:rPr lang="en-US" altLang="zh-CN" sz="100"/>
                <a:t> </a:t>
              </a:r>
              <a:r>
                <a:rPr lang="en-US" altLang="zh-CN" sz="1100"/>
                <a:t>nly </a:t>
              </a:r>
              <a:r>
                <a:rPr lang="en-US" altLang="zh-CN" sz="1100" dirty="0"/>
                <a:t>option to retain text.</a:t>
              </a:r>
            </a:p>
            <a:p>
              <a:pPr marL="171450" indent="-171450">
                <a:lnSpc>
                  <a:spcPct val="120000"/>
                </a:lnSpc>
                <a:buFont typeface="Arial" panose="020B0604020202020204" pitchFamily="34" charset="0"/>
                <a:buChar char="•"/>
              </a:pPr>
              <a:r>
                <a:rPr lang="en-US" altLang="zh-CN" sz="1100" dirty="0"/>
                <a:t>……</a:t>
              </a:r>
            </a:p>
          </p:txBody>
        </p:sp>
        <p:sp>
          <p:nvSpPr>
            <p:cNvPr id="97" name="îslîḓê">
              <a:extLst>
                <a:ext uri="{FF2B5EF4-FFF2-40B4-BE49-F238E27FC236}">
                  <a16:creationId xmlns:a16="http://schemas.microsoft.com/office/drawing/2014/main" id="{283AA235-1CF8-46B3-AA23-4E29F28A685E}"/>
                </a:ext>
              </a:extLst>
            </p:cNvPr>
            <p:cNvSpPr/>
            <p:nvPr/>
          </p:nvSpPr>
          <p:spPr bwMode="auto">
            <a:xfrm>
              <a:off x="8369299" y="4373469"/>
              <a:ext cx="3149600" cy="79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20000"/>
                </a:lnSpc>
                <a:buFont typeface="Arial" panose="020B0604020202020204" pitchFamily="34" charset="0"/>
                <a:buChar char="•"/>
              </a:pPr>
              <a:r>
                <a:rPr lang="en-US" altLang="zh-CN" sz="1100" dirty="0"/>
                <a:t>Copy paste fonts. Choose </a:t>
              </a:r>
              <a:r>
                <a:rPr lang="en-US" altLang="zh-CN" sz="1100"/>
                <a:t>the o</a:t>
              </a:r>
              <a:r>
                <a:rPr lang="en-US" altLang="zh-CN" sz="100"/>
                <a:t> </a:t>
              </a:r>
              <a:r>
                <a:rPr lang="en-US" altLang="zh-CN" sz="1100"/>
                <a:t>nly </a:t>
              </a:r>
              <a:r>
                <a:rPr lang="en-US" altLang="zh-CN" sz="1100" dirty="0"/>
                <a:t>option to retain text.</a:t>
              </a:r>
            </a:p>
            <a:p>
              <a:pPr marL="171450" indent="-171450">
                <a:lnSpc>
                  <a:spcPct val="120000"/>
                </a:lnSpc>
                <a:buFont typeface="Arial" panose="020B0604020202020204" pitchFamily="34" charset="0"/>
                <a:buChar char="•"/>
              </a:pPr>
              <a:r>
                <a:rPr lang="en-US" altLang="zh-CN" sz="1100" dirty="0"/>
                <a:t>……</a:t>
              </a:r>
            </a:p>
          </p:txBody>
        </p:sp>
        <p:sp>
          <p:nvSpPr>
            <p:cNvPr id="98" name="îṣľiḋé">
              <a:extLst>
                <a:ext uri="{FF2B5EF4-FFF2-40B4-BE49-F238E27FC236}">
                  <a16:creationId xmlns:a16="http://schemas.microsoft.com/office/drawing/2014/main" id="{8F1BB7BB-0BF1-4D49-B667-6E6E68004DF1}"/>
                </a:ext>
              </a:extLst>
            </p:cNvPr>
            <p:cNvSpPr/>
            <p:nvPr/>
          </p:nvSpPr>
          <p:spPr bwMode="auto">
            <a:xfrm>
              <a:off x="673101" y="5338481"/>
              <a:ext cx="3149600" cy="79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20000"/>
                </a:lnSpc>
                <a:buFont typeface="Arial" panose="020B0604020202020204" pitchFamily="34" charset="0"/>
                <a:buChar char="•"/>
              </a:pPr>
              <a:r>
                <a:rPr lang="en-US" altLang="zh-CN" sz="1100" dirty="0"/>
                <a:t>Copy paste fonts. Choose </a:t>
              </a:r>
              <a:r>
                <a:rPr lang="en-US" altLang="zh-CN" sz="1100"/>
                <a:t>the o</a:t>
              </a:r>
              <a:r>
                <a:rPr lang="en-US" altLang="zh-CN" sz="100"/>
                <a:t> </a:t>
              </a:r>
              <a:r>
                <a:rPr lang="en-US" altLang="zh-CN" sz="1100"/>
                <a:t>nly </a:t>
              </a:r>
              <a:r>
                <a:rPr lang="en-US" altLang="zh-CN" sz="1100" dirty="0"/>
                <a:t>option to retain text.</a:t>
              </a:r>
            </a:p>
            <a:p>
              <a:pPr marL="171450" indent="-171450">
                <a:lnSpc>
                  <a:spcPct val="120000"/>
                </a:lnSpc>
                <a:buFont typeface="Arial" panose="020B0604020202020204" pitchFamily="34" charset="0"/>
                <a:buChar char="•"/>
              </a:pPr>
              <a:r>
                <a:rPr lang="en-US" altLang="zh-CN" sz="1100" dirty="0"/>
                <a:t>……</a:t>
              </a:r>
            </a:p>
          </p:txBody>
        </p:sp>
        <p:sp>
          <p:nvSpPr>
            <p:cNvPr id="99" name="îS1iďe">
              <a:extLst>
                <a:ext uri="{FF2B5EF4-FFF2-40B4-BE49-F238E27FC236}">
                  <a16:creationId xmlns:a16="http://schemas.microsoft.com/office/drawing/2014/main" id="{3F374646-913A-4FF3-9C1A-53A36222F450}"/>
                </a:ext>
              </a:extLst>
            </p:cNvPr>
            <p:cNvSpPr/>
            <p:nvPr/>
          </p:nvSpPr>
          <p:spPr bwMode="auto">
            <a:xfrm>
              <a:off x="8369299" y="5338481"/>
              <a:ext cx="3149600" cy="79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20000"/>
                </a:lnSpc>
                <a:buFont typeface="Arial" panose="020B0604020202020204" pitchFamily="34" charset="0"/>
                <a:buChar char="•"/>
              </a:pPr>
              <a:r>
                <a:rPr lang="en-US" altLang="zh-CN" sz="1100" dirty="0"/>
                <a:t>Copy paste fonts. Choose the only option to </a:t>
              </a:r>
              <a:r>
                <a:rPr lang="en-US" altLang="zh-CN" sz="1100"/>
                <a:t>retain </a:t>
              </a:r>
              <a:r>
                <a:rPr lang="en-US" altLang="zh-CN" sz="100"/>
                <a:t> </a:t>
              </a:r>
              <a:r>
                <a:rPr lang="en-US" altLang="zh-CN" sz="1100"/>
                <a:t>text</a:t>
              </a:r>
              <a:r>
                <a:rPr lang="en-US" altLang="zh-CN" sz="1100" dirty="0"/>
                <a:t>.</a:t>
              </a:r>
            </a:p>
            <a:p>
              <a:pPr marL="171450" indent="-171450">
                <a:lnSpc>
                  <a:spcPct val="120000"/>
                </a:lnSpc>
                <a:buFont typeface="Arial" panose="020B0604020202020204" pitchFamily="34" charset="0"/>
                <a:buChar char="•"/>
              </a:pPr>
              <a:r>
                <a:rPr lang="en-US" altLang="zh-CN" sz="1100" dirty="0"/>
                <a:t>……</a:t>
              </a:r>
            </a:p>
          </p:txBody>
        </p:sp>
      </p:grpSp>
    </p:spTree>
    <p:custDataLst>
      <p:tags r:id="rId2"/>
    </p:custDataLst>
    <p:extLst>
      <p:ext uri="{BB962C8B-B14F-4D97-AF65-F5344CB8AC3E}">
        <p14:creationId xmlns:p14="http://schemas.microsoft.com/office/powerpoint/2010/main" val="15721646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iṧlíḑê"/>
        <p:cNvGrpSpPr/>
        <p:nvPr/>
      </p:nvGrpSpPr>
      <p:grpSpPr>
        <a:xfrm>
          <a:off x="0" y="0"/>
          <a:ext cx="0" cy="0"/>
          <a:chOff x="0" y="0"/>
          <a:chExt cx="0" cy="0"/>
        </a:xfrm>
      </p:grpSpPr>
      <p:graphicFrame>
        <p:nvGraphicFramePr>
          <p:cNvPr id="3" name="iṧļíḓé"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iśľîḓe"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iśļíḑê"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ṡḻïḓê"/>
          <p:cNvSpPr>
            <a:spLocks noGrp="1"/>
          </p:cNvSpPr>
          <p:nvPr>
            <p:ph type="ctrTitle"/>
          </p:nvPr>
        </p:nvSpPr>
        <p:spPr>
          <a:xfrm>
            <a:off x="673100" y="2371548"/>
            <a:ext cx="10845798" cy="1621509"/>
          </a:xfrm>
        </p:spPr>
        <p:txBody>
          <a:bodyPr>
            <a:normAutofit fontScale="90000"/>
          </a:bodyPr>
          <a:lstStyle/>
          <a:p>
            <a:r>
              <a:rPr lang="en-US" altLang="zh-CN" sz="8000" dirty="0">
                <a:solidFill>
                  <a:schemeClr val="accent3"/>
                </a:solidFill>
              </a:rPr>
              <a:t>THANKS</a:t>
            </a:r>
            <a:br>
              <a:rPr lang="en-US" altLang="zh-CN" dirty="0">
                <a:solidFill>
                  <a:schemeClr val="accent3"/>
                </a:solidFill>
              </a:rPr>
            </a:br>
            <a:r>
              <a:rPr lang="en-US" altLang="zh-CN" dirty="0">
                <a:solidFill>
                  <a:schemeClr val="accent3"/>
                </a:solidFill>
              </a:rPr>
              <a:t>And Your </a:t>
            </a:r>
            <a:r>
              <a:rPr lang="en-US" altLang="zh-CN">
                <a:solidFill>
                  <a:schemeClr val="accent3"/>
                </a:solidFill>
              </a:rPr>
              <a:t>Slogan </a:t>
            </a:r>
            <a:r>
              <a:rPr lang="en-US" altLang="zh-CN" sz="100">
                <a:solidFill>
                  <a:schemeClr val="accent3"/>
                </a:solidFill>
              </a:rPr>
              <a:t> </a:t>
            </a:r>
            <a:r>
              <a:rPr lang="en-US" altLang="zh-CN">
                <a:solidFill>
                  <a:schemeClr val="accent3"/>
                </a:solidFill>
              </a:rPr>
              <a:t>Here</a:t>
            </a:r>
            <a:endParaRPr lang="zh-CN" altLang="en-US" dirty="0">
              <a:solidFill>
                <a:schemeClr val="accent3"/>
              </a:solidFill>
            </a:endParaRPr>
          </a:p>
        </p:txBody>
      </p:sp>
      <p:sp>
        <p:nvSpPr>
          <p:cNvPr id="7" name="iṩ1ïḋe"/>
          <p:cNvSpPr>
            <a:spLocks noGrp="1"/>
          </p:cNvSpPr>
          <p:nvPr>
            <p:ph type="body" sz="quarter" idx="18"/>
          </p:nvPr>
        </p:nvSpPr>
        <p:spPr>
          <a:xfrm>
            <a:off x="673100" y="4677784"/>
            <a:ext cx="10845798" cy="310871"/>
          </a:xfrm>
        </p:spPr>
        <p:txBody>
          <a:bodyPr/>
          <a:lstStyle/>
          <a:p>
            <a:r>
              <a:rPr lang="en-US" altLang="zh-CN"/>
              <a:t>www.uestc.edu</a:t>
            </a:r>
            <a:r>
              <a:rPr lang="en-US" altLang="zh-CN" sz="100"/>
              <a:t> </a:t>
            </a:r>
            <a:r>
              <a:rPr lang="en-US" altLang="zh-CN"/>
              <a:t>.</a:t>
            </a:r>
            <a:r>
              <a:rPr lang="en-US" altLang="zh-CN" dirty="0"/>
              <a:t>cn</a:t>
            </a:r>
            <a:endParaRPr lang="en-US" altLang="en-US" dirty="0"/>
          </a:p>
        </p:txBody>
      </p:sp>
      <p:sp>
        <p:nvSpPr>
          <p:cNvPr id="6" name="ísļíḍê"/>
          <p:cNvSpPr>
            <a:spLocks noGrp="1"/>
          </p:cNvSpPr>
          <p:nvPr>
            <p:ph type="body" sz="quarter" idx="10"/>
          </p:nvPr>
        </p:nvSpPr>
        <p:spPr>
          <a:xfrm>
            <a:off x="673102" y="4381513"/>
            <a:ext cx="10845798" cy="296271"/>
          </a:xfrm>
        </p:spPr>
        <p:txBody>
          <a:bodyPr/>
          <a:lstStyle/>
          <a:p>
            <a:r>
              <a:rPr lang="en-US" altLang="zh-CN"/>
              <a:t>Speaker name and t</a:t>
            </a:r>
            <a:r>
              <a:rPr lang="en-US" altLang="zh-CN" sz="100"/>
              <a:t> </a:t>
            </a:r>
            <a:r>
              <a:rPr lang="en-US" altLang="zh-CN"/>
              <a:t>itle</a:t>
            </a:r>
            <a:endParaRPr lang="en-US" altLang="zh-CN" dirty="0"/>
          </a:p>
        </p:txBody>
      </p:sp>
    </p:spTree>
    <p:custDataLst>
      <p:tags r:id="rId2"/>
    </p:custDataLst>
    <p:extLst>
      <p:ext uri="{BB962C8B-B14F-4D97-AF65-F5344CB8AC3E}">
        <p14:creationId xmlns:p14="http://schemas.microsoft.com/office/powerpoint/2010/main" val="1259043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íśḻîďê"/>
        <p:cNvGrpSpPr/>
        <p:nvPr/>
      </p:nvGrpSpPr>
      <p:grpSpPr>
        <a:xfrm>
          <a:off x="0" y="0"/>
          <a:ext cx="0" cy="0"/>
          <a:chOff x="0" y="0"/>
          <a:chExt cx="0" cy="0"/>
        </a:xfrm>
      </p:grpSpPr>
      <p:sp>
        <p:nvSpPr>
          <p:cNvPr id="2" name="išlïďé">
            <a:extLst>
              <a:ext uri="{FF2B5EF4-FFF2-40B4-BE49-F238E27FC236}">
                <a16:creationId xmlns:a16="http://schemas.microsoft.com/office/drawing/2014/main" id="{12C07005-2D38-42F6-9473-4D533917781D}"/>
              </a:ext>
            </a:extLst>
          </p:cNvPr>
          <p:cNvSpPr/>
          <p:nvPr/>
        </p:nvSpPr>
        <p:spPr>
          <a:xfrm>
            <a:off x="0" y="0"/>
            <a:ext cx="12192000" cy="6858000"/>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7" name="îṥlíḋe">
            <a:extLst>
              <a:ext uri="{FF2B5EF4-FFF2-40B4-BE49-F238E27FC236}">
                <a16:creationId xmlns:a16="http://schemas.microsoft.com/office/drawing/2014/main" id="{C3B8E65B-8D23-4A0C-BA0F-4099D6663359}"/>
              </a:ext>
            </a:extLst>
          </p:cNvPr>
          <p:cNvGrpSpPr/>
          <p:nvPr/>
        </p:nvGrpSpPr>
        <p:grpSpPr>
          <a:xfrm>
            <a:off x="5252647" y="0"/>
            <a:ext cx="6939359" cy="6858000"/>
            <a:chOff x="5252643" y="0"/>
            <a:chExt cx="6939358" cy="6858000"/>
          </a:xfrm>
          <a:solidFill>
            <a:srgbClr val="F7F7F7"/>
          </a:solidFill>
        </p:grpSpPr>
        <p:sp>
          <p:nvSpPr>
            <p:cNvPr id="48" name="ïśḻîḋè">
              <a:extLst>
                <a:ext uri="{FF2B5EF4-FFF2-40B4-BE49-F238E27FC236}">
                  <a16:creationId xmlns:a16="http://schemas.microsoft.com/office/drawing/2014/main" id="{318E7F1B-E2A0-4D9A-826C-3801FAA34DB1}"/>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49" name="îṡ1íḍé">
              <a:extLst>
                <a:ext uri="{FF2B5EF4-FFF2-40B4-BE49-F238E27FC236}">
                  <a16:creationId xmlns:a16="http://schemas.microsoft.com/office/drawing/2014/main" id="{5BB64C10-DD97-4DF8-B000-003D623AC820}"/>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50" name="îṧḻîdè">
              <a:extLst>
                <a:ext uri="{FF2B5EF4-FFF2-40B4-BE49-F238E27FC236}">
                  <a16:creationId xmlns:a16="http://schemas.microsoft.com/office/drawing/2014/main" id="{9968D30F-EFE9-42F5-898F-60E1C5FABD5E}"/>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grpSp>
        <p:nvGrpSpPr>
          <p:cNvPr id="6" name="iṥľiḓê">
            <a:extLst>
              <a:ext uri="{FF2B5EF4-FFF2-40B4-BE49-F238E27FC236}">
                <a16:creationId xmlns:a16="http://schemas.microsoft.com/office/drawing/2014/main" id="{FCBBF52A-9743-4508-AB77-11B57E837547}"/>
              </a:ext>
            </a:extLst>
          </p:cNvPr>
          <p:cNvGrpSpPr/>
          <p:nvPr/>
        </p:nvGrpSpPr>
        <p:grpSpPr>
          <a:xfrm>
            <a:off x="660400" y="2340017"/>
            <a:ext cx="2890521" cy="1867344"/>
            <a:chOff x="3422179" y="1150240"/>
            <a:chExt cx="2890521" cy="1867345"/>
          </a:xfrm>
        </p:grpSpPr>
        <p:sp>
          <p:nvSpPr>
            <p:cNvPr id="7" name="îsļîḋé">
              <a:extLst>
                <a:ext uri="{FF2B5EF4-FFF2-40B4-BE49-F238E27FC236}">
                  <a16:creationId xmlns:a16="http://schemas.microsoft.com/office/drawing/2014/main" id="{63B72852-A360-4EF8-A2F9-3A064EA5CCA7}"/>
                </a:ext>
              </a:extLst>
            </p:cNvPr>
            <p:cNvSpPr/>
            <p:nvPr/>
          </p:nvSpPr>
          <p:spPr>
            <a:xfrm>
              <a:off x="3422179" y="2648253"/>
              <a:ext cx="2890520" cy="369332"/>
            </a:xfrm>
            <a:prstGeom prst="rect">
              <a:avLst/>
            </a:prstGeom>
            <a:noFill/>
            <a:ln>
              <a:noFill/>
            </a:ln>
          </p:spPr>
          <p:txBody>
            <a:bodyPr wrap="square" anchor="ctr">
              <a:spAutoFit/>
            </a:bodyPr>
            <a:lstStyle/>
            <a:p>
              <a:pPr defTabSz="914332">
                <a:lnSpc>
                  <a:spcPct val="150000"/>
                </a:lnSpc>
                <a:defRPr/>
              </a:pPr>
              <a:r>
                <a:rPr lang="en-US" altLang="zh-CN" sz="1200">
                  <a:solidFill>
                    <a:srgbClr val="F73434"/>
                  </a:solidFill>
                  <a:latin typeface="Arial" panose="020B0604020202020204" pitchFamily="34" charset="0"/>
                  <a:ea typeface="微软雅黑" panose="020B0503020204020204" pitchFamily="34" charset="-122"/>
                  <a:sym typeface="Arial" panose="020B0604020202020204" pitchFamily="34" charset="0"/>
                  <a:hlinkClick r:id="rId4">
                    <a:extLst>
                      <a:ext uri="{A12FA001-AC4F-418D-AE19-62706E023703}">
                        <ahyp:hlinkClr xmlns:ahyp="http://schemas.microsoft.com/office/drawing/2018/hyperlinkcolor" val="tx"/>
                      </a:ext>
                    </a:extLst>
                  </a:hlinkClick>
                </a:rPr>
                <a:t>www.islide</a:t>
              </a:r>
              <a:r>
                <a:rPr lang="en-US" altLang="zh-CN" sz="100">
                  <a:solidFill>
                    <a:srgbClr val="F73434"/>
                  </a:solidFill>
                  <a:latin typeface="Arial" panose="020B0604020202020204" pitchFamily="34" charset="0"/>
                  <a:ea typeface="微软雅黑" panose="020B0503020204020204" pitchFamily="34" charset="-122"/>
                  <a:sym typeface="Arial" panose="020B0604020202020204" pitchFamily="34" charset="0"/>
                  <a:hlinkClick r:id="rId4">
                    <a:extLst>
                      <a:ext uri="{A12FA001-AC4F-418D-AE19-62706E023703}">
                        <ahyp:hlinkClr xmlns:ahyp="http://schemas.microsoft.com/office/drawing/2018/hyperlinkcolor" val="tx"/>
                      </a:ext>
                    </a:extLst>
                  </a:hlinkClick>
                </a:rPr>
                <a:t> </a:t>
              </a:r>
              <a:r>
                <a:rPr lang="en-US" altLang="zh-CN" sz="1200">
                  <a:solidFill>
                    <a:srgbClr val="F73434"/>
                  </a:solidFill>
                  <a:latin typeface="Arial" panose="020B0604020202020204" pitchFamily="34" charset="0"/>
                  <a:ea typeface="微软雅黑" panose="020B0503020204020204" pitchFamily="34" charset="-122"/>
                  <a:sym typeface="Arial" panose="020B0604020202020204" pitchFamily="34" charset="0"/>
                  <a:hlinkClick r:id="rId4">
                    <a:extLst>
                      <a:ext uri="{A12FA001-AC4F-418D-AE19-62706E023703}">
                        <ahyp:hlinkClr xmlns:ahyp="http://schemas.microsoft.com/office/drawing/2018/hyperlinkcolor" val="tx"/>
                      </a:ext>
                    </a:extLst>
                  </a:hlinkClick>
                </a:rPr>
                <a:t>.</a:t>
              </a:r>
              <a:r>
                <a:rPr lang="en-US" altLang="zh-CN" sz="1200" dirty="0">
                  <a:solidFill>
                    <a:srgbClr val="F73434"/>
                  </a:solidFill>
                  <a:latin typeface="Arial" panose="020B0604020202020204" pitchFamily="34" charset="0"/>
                  <a:ea typeface="微软雅黑" panose="020B0503020204020204" pitchFamily="34" charset="-122"/>
                  <a:sym typeface="Arial" panose="020B0604020202020204" pitchFamily="34" charset="0"/>
                  <a:hlinkClick r:id="rId4">
                    <a:extLst>
                      <a:ext uri="{A12FA001-AC4F-418D-AE19-62706E023703}">
                        <ahyp:hlinkClr xmlns:ahyp="http://schemas.microsoft.com/office/drawing/2018/hyperlinkcolor" val="tx"/>
                      </a:ext>
                    </a:extLst>
                  </a:hlinkClick>
                </a:rPr>
                <a:t>cc</a:t>
              </a:r>
              <a:endParaRPr lang="zh-CN" altLang="en-US" sz="1200"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ïSḻíḍe">
              <a:extLst>
                <a:ext uri="{FF2B5EF4-FFF2-40B4-BE49-F238E27FC236}">
                  <a16:creationId xmlns:a16="http://schemas.microsoft.com/office/drawing/2014/main" id="{F754BA71-8184-4828-95E4-4301AEC6A769}"/>
                </a:ext>
              </a:extLst>
            </p:cNvPr>
            <p:cNvSpPr/>
            <p:nvPr/>
          </p:nvSpPr>
          <p:spPr>
            <a:xfrm>
              <a:off x="3422180" y="1150240"/>
              <a:ext cx="2890520" cy="1224952"/>
            </a:xfrm>
            <a:prstGeom prst="rect">
              <a:avLst/>
            </a:prstGeom>
            <a:noFill/>
            <a:ln>
              <a:noFill/>
            </a:ln>
          </p:spPr>
          <p:txBody>
            <a:bodyPr wrap="square" anchor="t">
              <a:spAutoFit/>
            </a:bodyPr>
            <a:lstStyle/>
            <a:p>
              <a:pPr defTabSz="914332">
                <a:lnSpc>
                  <a:spcPct val="120000"/>
                </a:lnSpc>
                <a:defRPr/>
              </a:pP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海量原创模版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一键优化功能</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lnSpc>
                  <a:spcPct val="120000"/>
                </a:lnSpc>
                <a:defRPr/>
              </a:pP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让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设计简单起来！</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endParaRPr lang="en-US" altLang="zh-CN" sz="10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One-click Optimization Features &amp; </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Massive </a:t>
              </a:r>
              <a:r>
                <a:rPr lang="en-US" altLang="zh-CN" sz="100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Presentation Resource</a:t>
              </a:r>
              <a:r>
                <a:rPr lang="en-US" altLang="zh-CN" sz="10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 </a:t>
              </a:r>
              <a:r>
                <a:rPr lang="en-US" altLang="zh-CN" sz="100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s</a:t>
              </a:r>
              <a:endPar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Great Presentation Made Easy with iSlide</a:t>
              </a:r>
              <a:endParaRPr lang="zh-CN" altLang="en-US"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ïṧ1îdé">
            <a:extLst>
              <a:ext uri="{FF2B5EF4-FFF2-40B4-BE49-F238E27FC236}">
                <a16:creationId xmlns:a16="http://schemas.microsoft.com/office/drawing/2014/main" id="{40A731D2-FA13-40C5-BFF0-59E41A667BE9}"/>
              </a:ext>
            </a:extLst>
          </p:cNvPr>
          <p:cNvGrpSpPr/>
          <p:nvPr/>
        </p:nvGrpSpPr>
        <p:grpSpPr>
          <a:xfrm>
            <a:off x="3937427" y="2352595"/>
            <a:ext cx="7581473" cy="3646763"/>
            <a:chOff x="3898800" y="2179738"/>
            <a:chExt cx="7619676" cy="3466182"/>
          </a:xfrm>
        </p:grpSpPr>
        <p:sp>
          <p:nvSpPr>
            <p:cNvPr id="20" name="ïṧľïḍe">
              <a:extLst>
                <a:ext uri="{FF2B5EF4-FFF2-40B4-BE49-F238E27FC236}">
                  <a16:creationId xmlns:a16="http://schemas.microsoft.com/office/drawing/2014/main" id="{5647BAD5-E81A-4998-ACB8-5A097424CA8E}"/>
                </a:ext>
              </a:extLst>
            </p:cNvPr>
            <p:cNvSpPr/>
            <p:nvPr/>
          </p:nvSpPr>
          <p:spPr>
            <a:xfrm>
              <a:off x="3898800" y="2495332"/>
              <a:ext cx="7619676" cy="3150588"/>
            </a:xfrm>
            <a:prstGeom prst="rect">
              <a:avLst/>
            </a:prstGeom>
            <a:ln w="3175">
              <a:noFill/>
            </a:ln>
          </p:spPr>
          <p:txBody>
            <a:bodyPr wrap="square">
              <a:noAutofit/>
            </a:bodyPr>
            <a:lstStyle/>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由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提供</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尊重知识产权并注重保护用户享有的各项权利。</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郑重提醒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中提供的任何信息内容的所有权、知识产权归其原始权利人或权利受让人所有，您免费</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付费获得的是信息内容的使用权，您的使用行为应当遵循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官方网站（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https://www.islide.cc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的“版权声明”、“用户协议”、“会员协议”等条款的约束。</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1</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将信息内容的全部或部分用于出售，或以出租、出借、发布等其他任何直接获利方式供他人使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2</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在接入互联网或移动互联网的任何网站、平台、应用或程序上以任何方式为他人提供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工具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平台中的资源内容下载。</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endParaRPr lang="en-US" altLang="zh-CN" sz="9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100">
                  <a:solidFill>
                    <a:srgbClr val="A6A6A6"/>
                  </a:solidFill>
                  <a:latin typeface="Arial" panose="020B0604020202020204" pitchFamily="34" charset="0"/>
                  <a:ea typeface="微软雅黑" panose="020B0503020204020204" pitchFamily="34" charset="-122"/>
                  <a:sym typeface="Arial" panose="020B0604020202020204" pitchFamily="34" charset="0"/>
                </a:rPr>
                <a:t> </a:t>
              </a:r>
              <a:r>
                <a:rPr lang="en-US" altLang="zh-CN" sz="900">
                  <a:solidFill>
                    <a:srgbClr val="A6A6A6"/>
                  </a:solidFill>
                  <a:latin typeface="Arial" panose="020B0604020202020204" pitchFamily="34" charset="0"/>
                  <a:ea typeface="微软雅黑" panose="020B0503020204020204" pitchFamily="34" charset="-122"/>
                  <a:sym typeface="Arial" panose="020B0604020202020204" pitchFamily="34" charset="0"/>
                </a:rPr>
                <a:t>This </a:t>
              </a: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presentation file is supplied by iSlide.</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iSlide respects all intellectual property rights and protects all the rights its users acquired. Here iSlide solemnly reminds you:</a:t>
              </a:r>
            </a:p>
            <a:p>
              <a:pPr>
                <a:lnSpc>
                  <a:spcPct val="150000"/>
                </a:lnSpc>
              </a:pPr>
              <a:endPar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e ownership and intellectual property of any content in this PowerPoint presentation belongs to its owner or the assignee of this ownership. What you purchased or got for free is the right to use the content. The usage should be subject to the terms of “Copyright Notice”, “User License Agreement”, “Premium Agreement” and more Agreements of iSlide official website (https://www.islide.cc ) :</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1.You may not use all or part of the content for sale; or rent, lend; or distribute it in any directly profitable way.</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2.You may not provide the resource of iSlide add-in/platform to any website, platform, application in the Internet or mobile Internet in any way.</a:t>
              </a:r>
            </a:p>
          </p:txBody>
        </p:sp>
        <p:sp>
          <p:nvSpPr>
            <p:cNvPr id="34" name="îšļïḋé">
              <a:extLst>
                <a:ext uri="{FF2B5EF4-FFF2-40B4-BE49-F238E27FC236}">
                  <a16:creationId xmlns:a16="http://schemas.microsoft.com/office/drawing/2014/main" id="{AE7ED207-8B71-4A21-A9A5-7C044C1FB5F6}"/>
                </a:ext>
              </a:extLst>
            </p:cNvPr>
            <p:cNvSpPr/>
            <p:nvPr/>
          </p:nvSpPr>
          <p:spPr>
            <a:xfrm>
              <a:off x="3898800" y="2179738"/>
              <a:ext cx="2675812" cy="292536"/>
            </a:xfrm>
            <a:prstGeom prst="rect">
              <a:avLst/>
            </a:prstGeom>
          </p:spPr>
          <p:txBody>
            <a:bodyPr wrap="none">
              <a:spAutoFit/>
            </a:bodyPr>
            <a:lstStyle/>
            <a:p>
              <a:r>
                <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重要提</a:t>
              </a:r>
              <a:r>
                <a:rPr lang="zh-CN" altLang="en-US" sz="1400" b="1">
                  <a:solidFill>
                    <a:srgbClr val="F73434"/>
                  </a:solidFill>
                  <a:latin typeface="Arial" panose="020B0604020202020204" pitchFamily="34" charset="0"/>
                  <a:ea typeface="微软雅黑" panose="020B0503020204020204" pitchFamily="34" charset="-122"/>
                  <a:sym typeface="Arial" panose="020B0604020202020204" pitchFamily="34" charset="0"/>
                </a:rPr>
                <a:t>示 </a:t>
              </a:r>
              <a:r>
                <a:rPr lang="zh-CN" altLang="en-US" sz="100" b="1">
                  <a:solidFill>
                    <a:srgbClr val="F73434"/>
                  </a:solidFill>
                  <a:latin typeface="Arial" panose="020B0604020202020204" pitchFamily="34" charset="0"/>
                  <a:ea typeface="微软雅黑" panose="020B0503020204020204" pitchFamily="34" charset="-122"/>
                  <a:sym typeface="Arial" panose="020B0604020202020204" pitchFamily="34" charset="0"/>
                </a:rPr>
                <a:t> </a:t>
              </a:r>
              <a:r>
                <a:rPr lang="en-US" altLang="zh-CN" sz="1400" b="1">
                  <a:solidFill>
                    <a:srgbClr val="F73434"/>
                  </a:solidFill>
                  <a:latin typeface="Arial" panose="020B0604020202020204" pitchFamily="34" charset="0"/>
                  <a:ea typeface="微软雅黑" panose="020B0503020204020204" pitchFamily="34" charset="-122"/>
                  <a:sym typeface="Arial" panose="020B0604020202020204" pitchFamily="34" charset="0"/>
                </a:rPr>
                <a:t>IMPORTANT </a:t>
              </a:r>
              <a:r>
                <a:rPr lang="en-US" altLang="zh-CN"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NOTE:</a:t>
              </a:r>
              <a:endPar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grpSp>
      <p:pic>
        <p:nvPicPr>
          <p:cNvPr id="130" name="ïšļiďe">
            <a:extLst>
              <a:ext uri="{FF2B5EF4-FFF2-40B4-BE49-F238E27FC236}">
                <a16:creationId xmlns:a16="http://schemas.microsoft.com/office/drawing/2014/main" id="{2AA564AF-9FC3-4787-B325-F00530C1658C}"/>
              </a:ext>
            </a:extLst>
          </p:cNvPr>
          <p:cNvPicPr>
            <a:picLocks/>
          </p:cNvPicPr>
          <p:nvPr/>
        </p:nvPicPr>
        <p:blipFill>
          <a:blip r:embed="rId5">
            <a:extLst>
              <a:ext uri="{28A0092B-C50C-407E-A947-70E740481C1C}">
                <a14:useLocalDpi xmlns:a14="http://schemas.microsoft.com/office/drawing/2010/main" val="0"/>
              </a:ext>
            </a:extLst>
          </a:blip>
          <a:srcRect/>
          <a:stretch/>
        </p:blipFill>
        <p:spPr>
          <a:xfrm>
            <a:off x="660400" y="5031395"/>
            <a:ext cx="1048192" cy="1048192"/>
          </a:xfrm>
          <a:prstGeom prst="rect">
            <a:avLst/>
          </a:prstGeom>
        </p:spPr>
      </p:pic>
      <p:grpSp>
        <p:nvGrpSpPr>
          <p:cNvPr id="14" name="ïş1íḋè">
            <a:extLst>
              <a:ext uri="{FF2B5EF4-FFF2-40B4-BE49-F238E27FC236}">
                <a16:creationId xmlns:a16="http://schemas.microsoft.com/office/drawing/2014/main" id="{D6757B43-6712-4BAE-8670-B715B10BFA4C}"/>
              </a:ext>
            </a:extLst>
          </p:cNvPr>
          <p:cNvGrpSpPr/>
          <p:nvPr/>
        </p:nvGrpSpPr>
        <p:grpSpPr>
          <a:xfrm>
            <a:off x="660400" y="1193800"/>
            <a:ext cx="1595567" cy="451484"/>
            <a:chOff x="683269" y="1142808"/>
            <a:chExt cx="1595567" cy="451484"/>
          </a:xfrm>
        </p:grpSpPr>
        <p:grpSp>
          <p:nvGrpSpPr>
            <p:cNvPr id="15" name="îsľîḓe">
              <a:extLst>
                <a:ext uri="{FF2B5EF4-FFF2-40B4-BE49-F238E27FC236}">
                  <a16:creationId xmlns:a16="http://schemas.microsoft.com/office/drawing/2014/main" id="{A540713F-FC29-4BB1-A3F5-C1360CCAFA2B}"/>
                </a:ext>
              </a:extLst>
            </p:cNvPr>
            <p:cNvGrpSpPr/>
            <p:nvPr/>
          </p:nvGrpSpPr>
          <p:grpSpPr>
            <a:xfrm>
              <a:off x="683269" y="1142808"/>
              <a:ext cx="450234" cy="451484"/>
              <a:chOff x="683269" y="1142808"/>
              <a:chExt cx="450234" cy="451484"/>
            </a:xfrm>
          </p:grpSpPr>
          <p:sp>
            <p:nvSpPr>
              <p:cNvPr id="17" name="iṥľïdê">
                <a:extLst>
                  <a:ext uri="{FF2B5EF4-FFF2-40B4-BE49-F238E27FC236}">
                    <a16:creationId xmlns:a16="http://schemas.microsoft.com/office/drawing/2014/main" id="{B52E13E3-2F81-47A6-9CF9-D29EFF6EC715}"/>
                  </a:ext>
                </a:extLst>
              </p:cNvPr>
              <p:cNvSpPr/>
              <p:nvPr/>
            </p:nvSpPr>
            <p:spPr>
              <a:xfrm>
                <a:off x="683269" y="1142808"/>
                <a:ext cx="450234" cy="451484"/>
              </a:xfrm>
              <a:custGeom>
                <a:avLst/>
                <a:gdLst>
                  <a:gd name="connsiteX0" fmla="*/ 450234 w 450234"/>
                  <a:gd name="connsiteY0" fmla="*/ 225742 h 451484"/>
                  <a:gd name="connsiteX1" fmla="*/ 225117 w 450234"/>
                  <a:gd name="connsiteY1" fmla="*/ 451484 h 451484"/>
                  <a:gd name="connsiteX2" fmla="*/ 0 w 450234"/>
                  <a:gd name="connsiteY2" fmla="*/ 225742 h 451484"/>
                  <a:gd name="connsiteX3" fmla="*/ 225117 w 450234"/>
                  <a:gd name="connsiteY3" fmla="*/ 0 h 451484"/>
                  <a:gd name="connsiteX4" fmla="*/ 450234 w 450234"/>
                  <a:gd name="connsiteY4" fmla="*/ 225742 h 451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34" h="451484">
                    <a:moveTo>
                      <a:pt x="450234" y="225742"/>
                    </a:moveTo>
                    <a:cubicBezTo>
                      <a:pt x="450234" y="350416"/>
                      <a:pt x="349446" y="451484"/>
                      <a:pt x="225117" y="451484"/>
                    </a:cubicBezTo>
                    <a:cubicBezTo>
                      <a:pt x="100788" y="451484"/>
                      <a:pt x="0" y="350416"/>
                      <a:pt x="0" y="225742"/>
                    </a:cubicBezTo>
                    <a:cubicBezTo>
                      <a:pt x="0" y="101068"/>
                      <a:pt x="100788" y="0"/>
                      <a:pt x="225117" y="0"/>
                    </a:cubicBezTo>
                    <a:cubicBezTo>
                      <a:pt x="349446" y="0"/>
                      <a:pt x="450234" y="101068"/>
                      <a:pt x="450234" y="225742"/>
                    </a:cubicBezTo>
                    <a:close/>
                  </a:path>
                </a:pathLst>
              </a:custGeom>
              <a:solidFill>
                <a:srgbClr val="FFFFFF"/>
              </a:solidFill>
              <a:ln w="2462" cap="flat">
                <a:noFill/>
                <a:prstDash val="solid"/>
                <a:miter/>
              </a:ln>
            </p:spPr>
            <p:txBody>
              <a:bodyPr rtlCol="0" anchor="ctr"/>
              <a:lstStyle/>
              <a:p>
                <a:endParaRPr lang="zh-CN" altLang="en-US"/>
              </a:p>
            </p:txBody>
          </p:sp>
          <p:sp>
            <p:nvSpPr>
              <p:cNvPr id="18" name="íšḷíďè">
                <a:extLst>
                  <a:ext uri="{FF2B5EF4-FFF2-40B4-BE49-F238E27FC236}">
                    <a16:creationId xmlns:a16="http://schemas.microsoft.com/office/drawing/2014/main" id="{2802B983-0393-404D-8EF6-C2BC0F6D1A21}"/>
                  </a:ext>
                </a:extLst>
              </p:cNvPr>
              <p:cNvSpPr/>
              <p:nvPr/>
            </p:nvSpPr>
            <p:spPr>
              <a:xfrm>
                <a:off x="683269" y="1142808"/>
                <a:ext cx="450234" cy="450003"/>
              </a:xfrm>
              <a:custGeom>
                <a:avLst/>
                <a:gdLst>
                  <a:gd name="connsiteX0" fmla="*/ 132059 w 450234"/>
                  <a:gd name="connsiteY0" fmla="*/ 431254 h 450003"/>
                  <a:gd name="connsiteX1" fmla="*/ 0 w 450234"/>
                  <a:gd name="connsiteY1" fmla="*/ 225495 h 450003"/>
                  <a:gd name="connsiteX2" fmla="*/ 225117 w 450234"/>
                  <a:gd name="connsiteY2" fmla="*/ 0 h 450003"/>
                  <a:gd name="connsiteX3" fmla="*/ 450234 w 450234"/>
                  <a:gd name="connsiteY3" fmla="*/ 225495 h 450003"/>
                  <a:gd name="connsiteX4" fmla="*/ 248320 w 450234"/>
                  <a:gd name="connsiteY4" fmla="*/ 450004 h 450003"/>
                  <a:gd name="connsiteX5" fmla="*/ 282384 w 450234"/>
                  <a:gd name="connsiteY5" fmla="*/ 289394 h 450003"/>
                  <a:gd name="connsiteX6" fmla="*/ 274238 w 450234"/>
                  <a:gd name="connsiteY6" fmla="*/ 244986 h 450003"/>
                  <a:gd name="connsiteX7" fmla="*/ 236965 w 450234"/>
                  <a:gd name="connsiteY7" fmla="*/ 219327 h 450003"/>
                  <a:gd name="connsiteX8" fmla="*/ 236719 w 450234"/>
                  <a:gd name="connsiteY8" fmla="*/ 219327 h 450003"/>
                  <a:gd name="connsiteX9" fmla="*/ 192534 w 450234"/>
                  <a:gd name="connsiteY9" fmla="*/ 227469 h 450003"/>
                  <a:gd name="connsiteX10" fmla="*/ 166863 w 450234"/>
                  <a:gd name="connsiteY10" fmla="*/ 264723 h 450003"/>
                  <a:gd name="connsiteX11" fmla="*/ 132059 w 450234"/>
                  <a:gd name="connsiteY11" fmla="*/ 431254 h 450003"/>
                  <a:gd name="connsiteX12" fmla="*/ 255478 w 450234"/>
                  <a:gd name="connsiteY12" fmla="*/ 75741 h 450003"/>
                  <a:gd name="connsiteX13" fmla="*/ 314473 w 450234"/>
                  <a:gd name="connsiteY13" fmla="*/ 134705 h 450003"/>
                  <a:gd name="connsiteX14" fmla="*/ 255478 w 450234"/>
                  <a:gd name="connsiteY14" fmla="*/ 193669 h 450003"/>
                  <a:gd name="connsiteX15" fmla="*/ 196484 w 450234"/>
                  <a:gd name="connsiteY15" fmla="*/ 134705 h 450003"/>
                  <a:gd name="connsiteX16" fmla="*/ 255478 w 450234"/>
                  <a:gd name="connsiteY16" fmla="*/ 75741 h 45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234" h="450003">
                    <a:moveTo>
                      <a:pt x="132059" y="431254"/>
                    </a:moveTo>
                    <a:cubicBezTo>
                      <a:pt x="54058" y="395727"/>
                      <a:pt x="0" y="317026"/>
                      <a:pt x="0" y="225495"/>
                    </a:cubicBezTo>
                    <a:cubicBezTo>
                      <a:pt x="0" y="101152"/>
                      <a:pt x="100957" y="0"/>
                      <a:pt x="225117" y="0"/>
                    </a:cubicBezTo>
                    <a:cubicBezTo>
                      <a:pt x="349277" y="0"/>
                      <a:pt x="450234" y="101152"/>
                      <a:pt x="450234" y="225495"/>
                    </a:cubicBezTo>
                    <a:cubicBezTo>
                      <a:pt x="450234" y="342190"/>
                      <a:pt x="361866" y="438162"/>
                      <a:pt x="248320" y="450004"/>
                    </a:cubicBezTo>
                    <a:lnTo>
                      <a:pt x="282384" y="289394"/>
                    </a:lnTo>
                    <a:cubicBezTo>
                      <a:pt x="285593" y="274098"/>
                      <a:pt x="282631" y="258061"/>
                      <a:pt x="274238" y="244986"/>
                    </a:cubicBezTo>
                    <a:cubicBezTo>
                      <a:pt x="265599" y="231910"/>
                      <a:pt x="252269" y="222535"/>
                      <a:pt x="236965" y="219327"/>
                    </a:cubicBezTo>
                    <a:cubicBezTo>
                      <a:pt x="236965" y="219327"/>
                      <a:pt x="236965" y="219327"/>
                      <a:pt x="236719" y="219327"/>
                    </a:cubicBezTo>
                    <a:cubicBezTo>
                      <a:pt x="221415" y="216120"/>
                      <a:pt x="205370" y="219081"/>
                      <a:pt x="192534" y="227469"/>
                    </a:cubicBezTo>
                    <a:cubicBezTo>
                      <a:pt x="179452" y="236104"/>
                      <a:pt x="170072" y="249426"/>
                      <a:pt x="166863" y="264723"/>
                    </a:cubicBezTo>
                    <a:lnTo>
                      <a:pt x="132059" y="431254"/>
                    </a:lnTo>
                    <a:close/>
                    <a:moveTo>
                      <a:pt x="255478" y="75741"/>
                    </a:moveTo>
                    <a:cubicBezTo>
                      <a:pt x="288061" y="75741"/>
                      <a:pt x="314473" y="102386"/>
                      <a:pt x="314473" y="134705"/>
                    </a:cubicBezTo>
                    <a:cubicBezTo>
                      <a:pt x="314473" y="167024"/>
                      <a:pt x="288061" y="193669"/>
                      <a:pt x="255478" y="193669"/>
                    </a:cubicBezTo>
                    <a:cubicBezTo>
                      <a:pt x="222896" y="193669"/>
                      <a:pt x="196484" y="167024"/>
                      <a:pt x="196484" y="134705"/>
                    </a:cubicBezTo>
                    <a:cubicBezTo>
                      <a:pt x="196484" y="102386"/>
                      <a:pt x="222896" y="75741"/>
                      <a:pt x="255478" y="75741"/>
                    </a:cubicBezTo>
                    <a:close/>
                  </a:path>
                </a:pathLst>
              </a:custGeom>
              <a:gradFill flip="none" rotWithShape="1">
                <a:gsLst>
                  <a:gs pos="0">
                    <a:srgbClr val="F93E36"/>
                  </a:gs>
                  <a:gs pos="100000">
                    <a:srgbClr val="FE6440"/>
                  </a:gs>
                </a:gsLst>
                <a:lin ang="18900000" scaled="1"/>
                <a:tileRect/>
              </a:gradFill>
              <a:ln w="2462" cap="flat">
                <a:noFill/>
                <a:prstDash val="solid"/>
                <a:miter/>
              </a:ln>
            </p:spPr>
            <p:txBody>
              <a:bodyPr rtlCol="0" anchor="ctr"/>
              <a:lstStyle/>
              <a:p>
                <a:endParaRPr lang="zh-CN" altLang="en-US" dirty="0"/>
              </a:p>
            </p:txBody>
          </p:sp>
        </p:grpSp>
        <p:sp>
          <p:nvSpPr>
            <p:cNvPr id="16" name="isḻiḑé">
              <a:extLst>
                <a:ext uri="{FF2B5EF4-FFF2-40B4-BE49-F238E27FC236}">
                  <a16:creationId xmlns:a16="http://schemas.microsoft.com/office/drawing/2014/main" id="{2C1218BD-82A2-4F82-84D5-EBFDB414ABDB}"/>
                </a:ext>
              </a:extLst>
            </p:cNvPr>
            <p:cNvSpPr/>
            <p:nvPr/>
          </p:nvSpPr>
          <p:spPr>
            <a:xfrm>
              <a:off x="1223599" y="1212380"/>
              <a:ext cx="1055237" cy="315374"/>
            </a:xfrm>
            <a:custGeom>
              <a:avLst/>
              <a:gdLst>
                <a:gd name="connsiteX0" fmla="*/ 952120 w 1055237"/>
                <a:gd name="connsiteY0" fmla="*/ 133688 h 315374"/>
                <a:gd name="connsiteX1" fmla="*/ 916514 w 1055237"/>
                <a:gd name="connsiteY1" fmla="*/ 136186 h 315374"/>
                <a:gd name="connsiteX2" fmla="*/ 874304 w 1055237"/>
                <a:gd name="connsiteY2" fmla="*/ 188982 h 315374"/>
                <a:gd name="connsiteX3" fmla="*/ 982913 w 1055237"/>
                <a:gd name="connsiteY3" fmla="*/ 149508 h 315374"/>
                <a:gd name="connsiteX4" fmla="*/ 952120 w 1055237"/>
                <a:gd name="connsiteY4" fmla="*/ 133688 h 315374"/>
                <a:gd name="connsiteX5" fmla="*/ 657333 w 1055237"/>
                <a:gd name="connsiteY5" fmla="*/ 128044 h 315374"/>
                <a:gd name="connsiteX6" fmla="*/ 588218 w 1055237"/>
                <a:gd name="connsiteY6" fmla="*/ 197123 h 315374"/>
                <a:gd name="connsiteX7" fmla="*/ 657333 w 1055237"/>
                <a:gd name="connsiteY7" fmla="*/ 266203 h 315374"/>
                <a:gd name="connsiteX8" fmla="*/ 726448 w 1055237"/>
                <a:gd name="connsiteY8" fmla="*/ 201071 h 315374"/>
                <a:gd name="connsiteX9" fmla="*/ 726448 w 1055237"/>
                <a:gd name="connsiteY9" fmla="*/ 193423 h 315374"/>
                <a:gd name="connsiteX10" fmla="*/ 657333 w 1055237"/>
                <a:gd name="connsiteY10" fmla="*/ 128044 h 315374"/>
                <a:gd name="connsiteX11" fmla="*/ 944739 w 1055237"/>
                <a:gd name="connsiteY11" fmla="*/ 79018 h 315374"/>
                <a:gd name="connsiteX12" fmla="*/ 1050054 w 1055237"/>
                <a:gd name="connsiteY12" fmla="*/ 156663 h 315374"/>
                <a:gd name="connsiteX13" fmla="*/ 1055237 w 1055237"/>
                <a:gd name="connsiteY13" fmla="*/ 175660 h 315374"/>
                <a:gd name="connsiteX14" fmla="*/ 1004142 w 1055237"/>
                <a:gd name="connsiteY14" fmla="*/ 194163 h 315374"/>
                <a:gd name="connsiteX15" fmla="*/ 887387 w 1055237"/>
                <a:gd name="connsiteY15" fmla="*/ 236598 h 315374"/>
                <a:gd name="connsiteX16" fmla="*/ 960945 w 1055237"/>
                <a:gd name="connsiteY16" fmla="*/ 257815 h 315374"/>
                <a:gd name="connsiteX17" fmla="*/ 1000933 w 1055237"/>
                <a:gd name="connsiteY17" fmla="*/ 215381 h 315374"/>
                <a:gd name="connsiteX18" fmla="*/ 1052275 w 1055237"/>
                <a:gd name="connsiteY18" fmla="*/ 230677 h 315374"/>
                <a:gd name="connsiteX19" fmla="*/ 979211 w 1055237"/>
                <a:gd name="connsiteY19" fmla="*/ 308145 h 315374"/>
                <a:gd name="connsiteX20" fmla="*/ 827405 w 1055237"/>
                <a:gd name="connsiteY20" fmla="*/ 237585 h 315374"/>
                <a:gd name="connsiteX21" fmla="*/ 898248 w 1055237"/>
                <a:gd name="connsiteY21" fmla="*/ 86103 h 315374"/>
                <a:gd name="connsiteX22" fmla="*/ 944739 w 1055237"/>
                <a:gd name="connsiteY22" fmla="*/ 79018 h 315374"/>
                <a:gd name="connsiteX23" fmla="*/ 451469 w 1055237"/>
                <a:gd name="connsiteY23" fmla="*/ 78948 h 315374"/>
                <a:gd name="connsiteX24" fmla="*/ 500837 w 1055237"/>
                <a:gd name="connsiteY24" fmla="*/ 78948 h 315374"/>
                <a:gd name="connsiteX25" fmla="*/ 500837 w 1055237"/>
                <a:gd name="connsiteY25" fmla="*/ 315299 h 315374"/>
                <a:gd name="connsiteX26" fmla="*/ 451469 w 1055237"/>
                <a:gd name="connsiteY26" fmla="*/ 315299 h 315374"/>
                <a:gd name="connsiteX27" fmla="*/ 4937 w 1055237"/>
                <a:gd name="connsiteY27" fmla="*/ 78948 h 315374"/>
                <a:gd name="connsiteX28" fmla="*/ 54305 w 1055237"/>
                <a:gd name="connsiteY28" fmla="*/ 78948 h 315374"/>
                <a:gd name="connsiteX29" fmla="*/ 54305 w 1055237"/>
                <a:gd name="connsiteY29" fmla="*/ 315299 h 315374"/>
                <a:gd name="connsiteX30" fmla="*/ 4937 w 1055237"/>
                <a:gd name="connsiteY30" fmla="*/ 315299 h 315374"/>
                <a:gd name="connsiteX31" fmla="*/ 775815 w 1055237"/>
                <a:gd name="connsiteY31" fmla="*/ 0 h 315374"/>
                <a:gd name="connsiteX32" fmla="*/ 775815 w 1055237"/>
                <a:gd name="connsiteY32" fmla="*/ 315299 h 315374"/>
                <a:gd name="connsiteX33" fmla="*/ 726448 w 1055237"/>
                <a:gd name="connsiteY33" fmla="*/ 315299 h 315374"/>
                <a:gd name="connsiteX34" fmla="*/ 726448 w 1055237"/>
                <a:gd name="connsiteY34" fmla="*/ 293095 h 315374"/>
                <a:gd name="connsiteX35" fmla="*/ 657333 w 1055237"/>
                <a:gd name="connsiteY35" fmla="*/ 315299 h 315374"/>
                <a:gd name="connsiteX36" fmla="*/ 538850 w 1055237"/>
                <a:gd name="connsiteY36" fmla="*/ 197123 h 315374"/>
                <a:gd name="connsiteX37" fmla="*/ 657333 w 1055237"/>
                <a:gd name="connsiteY37" fmla="*/ 78948 h 315374"/>
                <a:gd name="connsiteX38" fmla="*/ 726448 w 1055237"/>
                <a:gd name="connsiteY38" fmla="*/ 101152 h 315374"/>
                <a:gd name="connsiteX39" fmla="*/ 726448 w 1055237"/>
                <a:gd name="connsiteY39" fmla="*/ 247 h 315374"/>
                <a:gd name="connsiteX40" fmla="*/ 476153 w 1055237"/>
                <a:gd name="connsiteY40" fmla="*/ 0 h 315374"/>
                <a:gd name="connsiteX41" fmla="*/ 505773 w 1055237"/>
                <a:gd name="connsiteY41" fmla="*/ 29606 h 315374"/>
                <a:gd name="connsiteX42" fmla="*/ 476153 w 1055237"/>
                <a:gd name="connsiteY42" fmla="*/ 59211 h 315374"/>
                <a:gd name="connsiteX43" fmla="*/ 446532 w 1055237"/>
                <a:gd name="connsiteY43" fmla="*/ 29606 h 315374"/>
                <a:gd name="connsiteX44" fmla="*/ 476153 w 1055237"/>
                <a:gd name="connsiteY44" fmla="*/ 0 h 315374"/>
                <a:gd name="connsiteX45" fmla="*/ 352733 w 1055237"/>
                <a:gd name="connsiteY45" fmla="*/ 0 h 315374"/>
                <a:gd name="connsiteX46" fmla="*/ 402101 w 1055237"/>
                <a:gd name="connsiteY46" fmla="*/ 0 h 315374"/>
                <a:gd name="connsiteX47" fmla="*/ 402101 w 1055237"/>
                <a:gd name="connsiteY47" fmla="*/ 315299 h 315374"/>
                <a:gd name="connsiteX48" fmla="*/ 352733 w 1055237"/>
                <a:gd name="connsiteY48" fmla="*/ 315299 h 315374"/>
                <a:gd name="connsiteX49" fmla="*/ 205370 w 1055237"/>
                <a:gd name="connsiteY49" fmla="*/ 0 h 315374"/>
                <a:gd name="connsiteX50" fmla="*/ 297194 w 1055237"/>
                <a:gd name="connsiteY50" fmla="*/ 29112 h 315374"/>
                <a:gd name="connsiteX51" fmla="*/ 300897 w 1055237"/>
                <a:gd name="connsiteY51" fmla="*/ 32319 h 315374"/>
                <a:gd name="connsiteX52" fmla="*/ 271523 w 1055237"/>
                <a:gd name="connsiteY52" fmla="*/ 67599 h 315374"/>
                <a:gd name="connsiteX53" fmla="*/ 268808 w 1055237"/>
                <a:gd name="connsiteY53" fmla="*/ 65132 h 315374"/>
                <a:gd name="connsiteX54" fmla="*/ 267573 w 1055237"/>
                <a:gd name="connsiteY54" fmla="*/ 63899 h 315374"/>
                <a:gd name="connsiteX55" fmla="*/ 203149 w 1055237"/>
                <a:gd name="connsiteY55" fmla="*/ 44408 h 315374"/>
                <a:gd name="connsiteX56" fmla="*/ 148844 w 1055237"/>
                <a:gd name="connsiteY56" fmla="*/ 90050 h 315374"/>
                <a:gd name="connsiteX57" fmla="*/ 159952 w 1055237"/>
                <a:gd name="connsiteY57" fmla="*/ 116942 h 315374"/>
                <a:gd name="connsiteX58" fmla="*/ 192288 w 1055237"/>
                <a:gd name="connsiteY58" fmla="*/ 130758 h 315374"/>
                <a:gd name="connsiteX59" fmla="*/ 230054 w 1055237"/>
                <a:gd name="connsiteY59" fmla="*/ 136185 h 315374"/>
                <a:gd name="connsiteX60" fmla="*/ 288308 w 1055237"/>
                <a:gd name="connsiteY60" fmla="*/ 159376 h 315374"/>
                <a:gd name="connsiteX61" fmla="*/ 311511 w 1055237"/>
                <a:gd name="connsiteY61" fmla="*/ 223275 h 315374"/>
                <a:gd name="connsiteX62" fmla="*/ 279422 w 1055237"/>
                <a:gd name="connsiteY62" fmla="*/ 291121 h 315374"/>
                <a:gd name="connsiteX63" fmla="*/ 198459 w 1055237"/>
                <a:gd name="connsiteY63" fmla="*/ 315299 h 315374"/>
                <a:gd name="connsiteX64" fmla="*/ 92071 w 1055237"/>
                <a:gd name="connsiteY64" fmla="*/ 280512 h 315374"/>
                <a:gd name="connsiteX65" fmla="*/ 122432 w 1055237"/>
                <a:gd name="connsiteY65" fmla="*/ 244739 h 315374"/>
                <a:gd name="connsiteX66" fmla="*/ 199199 w 1055237"/>
                <a:gd name="connsiteY66" fmla="*/ 269657 h 315374"/>
                <a:gd name="connsiteX67" fmla="*/ 260909 w 1055237"/>
                <a:gd name="connsiteY67" fmla="*/ 225002 h 315374"/>
                <a:gd name="connsiteX68" fmla="*/ 249307 w 1055237"/>
                <a:gd name="connsiteY68" fmla="*/ 194410 h 315374"/>
                <a:gd name="connsiteX69" fmla="*/ 218206 w 1055237"/>
                <a:gd name="connsiteY69" fmla="*/ 181827 h 315374"/>
                <a:gd name="connsiteX70" fmla="*/ 179699 w 1055237"/>
                <a:gd name="connsiteY70" fmla="*/ 176399 h 315374"/>
                <a:gd name="connsiteX71" fmla="*/ 120704 w 1055237"/>
                <a:gd name="connsiteY71" fmla="*/ 151235 h 315374"/>
                <a:gd name="connsiteX72" fmla="*/ 99229 w 1055237"/>
                <a:gd name="connsiteY72" fmla="*/ 91777 h 315374"/>
                <a:gd name="connsiteX73" fmla="*/ 205370 w 1055237"/>
                <a:gd name="connsiteY73" fmla="*/ 0 h 315374"/>
                <a:gd name="connsiteX74" fmla="*/ 29621 w 1055237"/>
                <a:gd name="connsiteY74" fmla="*/ 0 h 315374"/>
                <a:gd name="connsiteX75" fmla="*/ 59241 w 1055237"/>
                <a:gd name="connsiteY75" fmla="*/ 29606 h 315374"/>
                <a:gd name="connsiteX76" fmla="*/ 29621 w 1055237"/>
                <a:gd name="connsiteY76" fmla="*/ 59211 h 315374"/>
                <a:gd name="connsiteX77" fmla="*/ 0 w 1055237"/>
                <a:gd name="connsiteY77" fmla="*/ 29606 h 315374"/>
                <a:gd name="connsiteX78" fmla="*/ 29621 w 1055237"/>
                <a:gd name="connsiteY78" fmla="*/ 0 h 3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55237" h="315374">
                  <a:moveTo>
                    <a:pt x="952120" y="133688"/>
                  </a:moveTo>
                  <a:cubicBezTo>
                    <a:pt x="940642" y="131252"/>
                    <a:pt x="928362" y="131869"/>
                    <a:pt x="916514" y="136186"/>
                  </a:cubicBezTo>
                  <a:cubicBezTo>
                    <a:pt x="892817" y="144821"/>
                    <a:pt x="877266" y="165791"/>
                    <a:pt x="874304" y="188982"/>
                  </a:cubicBezTo>
                  <a:lnTo>
                    <a:pt x="982913" y="149508"/>
                  </a:lnTo>
                  <a:cubicBezTo>
                    <a:pt x="974274" y="141614"/>
                    <a:pt x="963598" y="136124"/>
                    <a:pt x="952120" y="133688"/>
                  </a:cubicBezTo>
                  <a:close/>
                  <a:moveTo>
                    <a:pt x="657333" y="128044"/>
                  </a:moveTo>
                  <a:cubicBezTo>
                    <a:pt x="619073" y="128044"/>
                    <a:pt x="588218" y="158883"/>
                    <a:pt x="588218" y="197123"/>
                  </a:cubicBezTo>
                  <a:cubicBezTo>
                    <a:pt x="588218" y="235364"/>
                    <a:pt x="619319" y="266203"/>
                    <a:pt x="657333" y="266203"/>
                  </a:cubicBezTo>
                  <a:cubicBezTo>
                    <a:pt x="694359" y="266203"/>
                    <a:pt x="724473" y="237338"/>
                    <a:pt x="726448" y="201071"/>
                  </a:cubicBezTo>
                  <a:lnTo>
                    <a:pt x="726448" y="193423"/>
                  </a:lnTo>
                  <a:cubicBezTo>
                    <a:pt x="724473" y="156909"/>
                    <a:pt x="694359" y="128044"/>
                    <a:pt x="657333" y="128044"/>
                  </a:cubicBezTo>
                  <a:close/>
                  <a:moveTo>
                    <a:pt x="944739" y="79018"/>
                  </a:moveTo>
                  <a:cubicBezTo>
                    <a:pt x="990813" y="81308"/>
                    <a:pt x="1033207" y="110590"/>
                    <a:pt x="1050054" y="156663"/>
                  </a:cubicBezTo>
                  <a:cubicBezTo>
                    <a:pt x="1052275" y="162831"/>
                    <a:pt x="1054003" y="169245"/>
                    <a:pt x="1055237" y="175660"/>
                  </a:cubicBezTo>
                  <a:lnTo>
                    <a:pt x="1004142" y="194163"/>
                  </a:lnTo>
                  <a:lnTo>
                    <a:pt x="887387" y="236598"/>
                  </a:lnTo>
                  <a:cubicBezTo>
                    <a:pt x="904172" y="258309"/>
                    <a:pt x="933792" y="267684"/>
                    <a:pt x="960945" y="257815"/>
                  </a:cubicBezTo>
                  <a:cubicBezTo>
                    <a:pt x="980198" y="250907"/>
                    <a:pt x="995009" y="235118"/>
                    <a:pt x="1000933" y="215381"/>
                  </a:cubicBezTo>
                  <a:lnTo>
                    <a:pt x="1052275" y="230677"/>
                  </a:lnTo>
                  <a:cubicBezTo>
                    <a:pt x="1041661" y="266697"/>
                    <a:pt x="1014509" y="295315"/>
                    <a:pt x="979211" y="308145"/>
                  </a:cubicBezTo>
                  <a:cubicBezTo>
                    <a:pt x="917748" y="330595"/>
                    <a:pt x="849867" y="299016"/>
                    <a:pt x="827405" y="237585"/>
                  </a:cubicBezTo>
                  <a:cubicBezTo>
                    <a:pt x="804942" y="176400"/>
                    <a:pt x="836785" y="108307"/>
                    <a:pt x="898248" y="86103"/>
                  </a:cubicBezTo>
                  <a:cubicBezTo>
                    <a:pt x="913614" y="80490"/>
                    <a:pt x="929381" y="78255"/>
                    <a:pt x="944739" y="79018"/>
                  </a:cubicBezTo>
                  <a:close/>
                  <a:moveTo>
                    <a:pt x="451469" y="78948"/>
                  </a:moveTo>
                  <a:lnTo>
                    <a:pt x="500837" y="78948"/>
                  </a:lnTo>
                  <a:lnTo>
                    <a:pt x="500837" y="315299"/>
                  </a:lnTo>
                  <a:lnTo>
                    <a:pt x="451469" y="315299"/>
                  </a:lnTo>
                  <a:close/>
                  <a:moveTo>
                    <a:pt x="4937" y="78948"/>
                  </a:moveTo>
                  <a:lnTo>
                    <a:pt x="54305" y="78948"/>
                  </a:lnTo>
                  <a:lnTo>
                    <a:pt x="54305" y="315299"/>
                  </a:lnTo>
                  <a:lnTo>
                    <a:pt x="4937" y="315299"/>
                  </a:lnTo>
                  <a:close/>
                  <a:moveTo>
                    <a:pt x="775815" y="0"/>
                  </a:moveTo>
                  <a:lnTo>
                    <a:pt x="775815" y="315299"/>
                  </a:lnTo>
                  <a:lnTo>
                    <a:pt x="726448" y="315299"/>
                  </a:lnTo>
                  <a:lnTo>
                    <a:pt x="726448" y="293095"/>
                  </a:lnTo>
                  <a:cubicBezTo>
                    <a:pt x="706947" y="307157"/>
                    <a:pt x="683004" y="315299"/>
                    <a:pt x="657333" y="315299"/>
                  </a:cubicBezTo>
                  <a:cubicBezTo>
                    <a:pt x="591920" y="315299"/>
                    <a:pt x="538850" y="262255"/>
                    <a:pt x="538850" y="197123"/>
                  </a:cubicBezTo>
                  <a:cubicBezTo>
                    <a:pt x="538850" y="131991"/>
                    <a:pt x="591920" y="78948"/>
                    <a:pt x="657333" y="78948"/>
                  </a:cubicBezTo>
                  <a:cubicBezTo>
                    <a:pt x="683004" y="78948"/>
                    <a:pt x="706947" y="87090"/>
                    <a:pt x="726448" y="101152"/>
                  </a:cubicBezTo>
                  <a:lnTo>
                    <a:pt x="726448" y="247"/>
                  </a:lnTo>
                  <a:close/>
                  <a:moveTo>
                    <a:pt x="476153" y="0"/>
                  </a:moveTo>
                  <a:cubicBezTo>
                    <a:pt x="492444" y="0"/>
                    <a:pt x="505773" y="13322"/>
                    <a:pt x="505773" y="29606"/>
                  </a:cubicBezTo>
                  <a:cubicBezTo>
                    <a:pt x="505773" y="45889"/>
                    <a:pt x="492444" y="59211"/>
                    <a:pt x="476153" y="59211"/>
                  </a:cubicBezTo>
                  <a:cubicBezTo>
                    <a:pt x="459861" y="59211"/>
                    <a:pt x="446532" y="45889"/>
                    <a:pt x="446532" y="29606"/>
                  </a:cubicBezTo>
                  <a:cubicBezTo>
                    <a:pt x="446532" y="13322"/>
                    <a:pt x="459861" y="0"/>
                    <a:pt x="476153" y="0"/>
                  </a:cubicBezTo>
                  <a:close/>
                  <a:moveTo>
                    <a:pt x="352733" y="0"/>
                  </a:moveTo>
                  <a:lnTo>
                    <a:pt x="402101" y="0"/>
                  </a:lnTo>
                  <a:lnTo>
                    <a:pt x="402101" y="315299"/>
                  </a:lnTo>
                  <a:lnTo>
                    <a:pt x="352733" y="315299"/>
                  </a:lnTo>
                  <a:close/>
                  <a:moveTo>
                    <a:pt x="205370" y="0"/>
                  </a:moveTo>
                  <a:cubicBezTo>
                    <a:pt x="245111" y="0"/>
                    <a:pt x="273004" y="8882"/>
                    <a:pt x="297194" y="29112"/>
                  </a:cubicBezTo>
                  <a:lnTo>
                    <a:pt x="300897" y="32319"/>
                  </a:lnTo>
                  <a:lnTo>
                    <a:pt x="271523" y="67599"/>
                  </a:lnTo>
                  <a:cubicBezTo>
                    <a:pt x="271523" y="67599"/>
                    <a:pt x="269795" y="66119"/>
                    <a:pt x="268808" y="65132"/>
                  </a:cubicBezTo>
                  <a:cubicBezTo>
                    <a:pt x="268314" y="64639"/>
                    <a:pt x="267820" y="63899"/>
                    <a:pt x="267573" y="63899"/>
                  </a:cubicBezTo>
                  <a:cubicBezTo>
                    <a:pt x="246839" y="46875"/>
                    <a:pt x="222402" y="44408"/>
                    <a:pt x="203149" y="44408"/>
                  </a:cubicBezTo>
                  <a:cubicBezTo>
                    <a:pt x="163161" y="44408"/>
                    <a:pt x="148844" y="69080"/>
                    <a:pt x="148844" y="90050"/>
                  </a:cubicBezTo>
                  <a:cubicBezTo>
                    <a:pt x="148844" y="100412"/>
                    <a:pt x="152793" y="110034"/>
                    <a:pt x="159952" y="116942"/>
                  </a:cubicBezTo>
                  <a:cubicBezTo>
                    <a:pt x="167604" y="124096"/>
                    <a:pt x="179205" y="129031"/>
                    <a:pt x="192288" y="130758"/>
                  </a:cubicBezTo>
                  <a:lnTo>
                    <a:pt x="230054" y="136185"/>
                  </a:lnTo>
                  <a:cubicBezTo>
                    <a:pt x="256466" y="139886"/>
                    <a:pt x="274485" y="147041"/>
                    <a:pt x="288308" y="159376"/>
                  </a:cubicBezTo>
                  <a:cubicBezTo>
                    <a:pt x="303612" y="173932"/>
                    <a:pt x="311264" y="195396"/>
                    <a:pt x="311511" y="223275"/>
                  </a:cubicBezTo>
                  <a:cubicBezTo>
                    <a:pt x="311511" y="251153"/>
                    <a:pt x="300403" y="274591"/>
                    <a:pt x="279422" y="291121"/>
                  </a:cubicBezTo>
                  <a:cubicBezTo>
                    <a:pt x="259428" y="306664"/>
                    <a:pt x="230548" y="315299"/>
                    <a:pt x="198459" y="315299"/>
                  </a:cubicBezTo>
                  <a:cubicBezTo>
                    <a:pt x="151066" y="315299"/>
                    <a:pt x="118730" y="304690"/>
                    <a:pt x="92071" y="280512"/>
                  </a:cubicBezTo>
                  <a:lnTo>
                    <a:pt x="122432" y="244739"/>
                  </a:lnTo>
                  <a:cubicBezTo>
                    <a:pt x="141192" y="261515"/>
                    <a:pt x="166369" y="269657"/>
                    <a:pt x="199199" y="269657"/>
                  </a:cubicBezTo>
                  <a:cubicBezTo>
                    <a:pt x="252763" y="269657"/>
                    <a:pt x="260909" y="241778"/>
                    <a:pt x="260909" y="225002"/>
                  </a:cubicBezTo>
                  <a:cubicBezTo>
                    <a:pt x="260909" y="212173"/>
                    <a:pt x="256959" y="201811"/>
                    <a:pt x="249307" y="194410"/>
                  </a:cubicBezTo>
                  <a:cubicBezTo>
                    <a:pt x="241902" y="187502"/>
                    <a:pt x="233757" y="184294"/>
                    <a:pt x="218206" y="181827"/>
                  </a:cubicBezTo>
                  <a:lnTo>
                    <a:pt x="179699" y="176399"/>
                  </a:lnTo>
                  <a:cubicBezTo>
                    <a:pt x="153534" y="172452"/>
                    <a:pt x="134034" y="164311"/>
                    <a:pt x="120704" y="151235"/>
                  </a:cubicBezTo>
                  <a:cubicBezTo>
                    <a:pt x="106388" y="136679"/>
                    <a:pt x="99229" y="117188"/>
                    <a:pt x="99229" y="91777"/>
                  </a:cubicBezTo>
                  <a:cubicBezTo>
                    <a:pt x="99476" y="36020"/>
                    <a:pt x="140945" y="0"/>
                    <a:pt x="205370" y="0"/>
                  </a:cubicBezTo>
                  <a:close/>
                  <a:moveTo>
                    <a:pt x="29621" y="0"/>
                  </a:moveTo>
                  <a:cubicBezTo>
                    <a:pt x="45980" y="0"/>
                    <a:pt x="59241" y="13255"/>
                    <a:pt x="59241" y="29606"/>
                  </a:cubicBezTo>
                  <a:cubicBezTo>
                    <a:pt x="59241" y="45956"/>
                    <a:pt x="45980" y="59211"/>
                    <a:pt x="29621" y="59211"/>
                  </a:cubicBezTo>
                  <a:cubicBezTo>
                    <a:pt x="13262" y="59211"/>
                    <a:pt x="0" y="45956"/>
                    <a:pt x="0" y="29606"/>
                  </a:cubicBezTo>
                  <a:cubicBezTo>
                    <a:pt x="0" y="13255"/>
                    <a:pt x="13262" y="0"/>
                    <a:pt x="29621" y="0"/>
                  </a:cubicBezTo>
                  <a:close/>
                </a:path>
              </a:pathLst>
            </a:custGeom>
            <a:solidFill>
              <a:srgbClr val="2F2F2F"/>
            </a:solidFill>
            <a:ln w="2462"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33843315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2220686" y="3285310"/>
            <a:ext cx="4016828" cy="1477328"/>
          </a:xfrm>
          <a:prstGeom prst="rect">
            <a:avLst/>
          </a:prstGeom>
          <a:noFill/>
        </p:spPr>
        <p:txBody>
          <a:bodyPr wrap="square" rtlCol="0">
            <a:spAutoFit/>
          </a:bodyPr>
          <a:lstStyle/>
          <a:p>
            <a:r>
              <a:rPr lang="en-US" altLang="zh-CN" dirty="0" err="1"/>
              <a:t>Islide</a:t>
            </a:r>
            <a:r>
              <a:rPr lang="en-US" altLang="zh-CN" dirty="0"/>
              <a:t>  </a:t>
            </a:r>
            <a:r>
              <a:rPr lang="zh-CN" altLang="en-US" dirty="0"/>
              <a:t>作品</a:t>
            </a:r>
            <a:endParaRPr lang="en-US" altLang="zh-CN" dirty="0"/>
          </a:p>
          <a:p>
            <a:endParaRPr lang="en-US" altLang="zh-CN" dirty="0"/>
          </a:p>
          <a:p>
            <a:endParaRPr lang="en-US" altLang="zh-CN" dirty="0"/>
          </a:p>
          <a:p>
            <a:r>
              <a:rPr lang="en-US" altLang="zh-CN" dirty="0"/>
              <a:t>51PPT</a:t>
            </a:r>
            <a:r>
              <a:rPr lang="zh-CN" altLang="en-US" dirty="0"/>
              <a:t>模板网   </a:t>
            </a:r>
            <a:r>
              <a:rPr lang="en-US" altLang="zh-CN" dirty="0">
                <a:hlinkClick r:id="rId2"/>
              </a:rPr>
              <a:t>www.51pptmoban.com</a:t>
            </a:r>
            <a:r>
              <a:rPr lang="en-US" altLang="zh-CN" dirty="0"/>
              <a:t>   </a:t>
            </a:r>
            <a:r>
              <a:rPr lang="zh-CN" altLang="en-US"/>
              <a:t>授权发布</a:t>
            </a:r>
            <a:endParaRPr lang="zh-CN" altLang="en-US" dirty="0"/>
          </a:p>
        </p:txBody>
      </p:sp>
    </p:spTree>
    <p:extLst>
      <p:ext uri="{BB962C8B-B14F-4D97-AF65-F5344CB8AC3E}">
        <p14:creationId xmlns:p14="http://schemas.microsoft.com/office/powerpoint/2010/main" val="2166883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p:txBody>
          <a:bodyPr/>
          <a:lstStyle/>
          <a:p>
            <a:r>
              <a:rPr lang="en-US" altLang="zh-CN"/>
              <a:t>Section He</a:t>
            </a:r>
            <a:r>
              <a:rPr lang="en-US" altLang="zh-CN" sz="100"/>
              <a:t> </a:t>
            </a:r>
            <a:r>
              <a:rPr lang="en-US" altLang="zh-CN"/>
              <a:t>ader Here</a:t>
            </a:r>
            <a:endParaRPr lang="zh-CN" altLang="en-US" dirty="0"/>
          </a:p>
        </p:txBody>
      </p:sp>
      <p:sp>
        <p:nvSpPr>
          <p:cNvPr id="6" name="íŝļîḑê"/>
          <p:cNvSpPr>
            <a:spLocks noGrp="1"/>
          </p:cNvSpPr>
          <p:nvPr>
            <p:ph type="body" idx="1"/>
          </p:nvPr>
        </p:nvSpPr>
        <p:spPr/>
        <p:txBody>
          <a:bodyPr/>
          <a:lstStyle/>
          <a:p>
            <a:pPr lvl="0"/>
            <a:r>
              <a:rPr lang="en-US" altLang="zh-CN" dirty="0"/>
              <a:t>Supporting text here.</a:t>
            </a:r>
          </a:p>
          <a:p>
            <a:pPr lvl="0"/>
            <a:r>
              <a:rPr lang="en-US" altLang="zh-CN" dirty="0"/>
              <a:t>When you copy </a:t>
            </a:r>
            <a:r>
              <a:rPr lang="en-US" altLang="zh-CN"/>
              <a:t>&amp; paste</a:t>
            </a:r>
            <a:r>
              <a:rPr lang="en-US" altLang="zh-CN" sz="100"/>
              <a:t> </a:t>
            </a:r>
            <a:r>
              <a:rPr lang="en-US" altLang="zh-CN"/>
              <a:t>, </a:t>
            </a:r>
            <a:r>
              <a:rPr lang="en-US" altLang="zh-CN" dirty="0"/>
              <a:t>choose "keep text only" option.</a:t>
            </a:r>
            <a:endParaRPr lang="zh-CN" altLang="en-US" dirty="0"/>
          </a:p>
        </p:txBody>
      </p:sp>
      <p:sp>
        <p:nvSpPr>
          <p:cNvPr id="9" name="íṧľíḑê">
            <a:extLst>
              <a:ext uri="{FF2B5EF4-FFF2-40B4-BE49-F238E27FC236}">
                <a16:creationId xmlns:a16="http://schemas.microsoft.com/office/drawing/2014/main" id="{04F69230-F3A6-4586-9371-A858F4763E9F}"/>
              </a:ext>
            </a:extLst>
          </p:cNvPr>
          <p:cNvSpPr txBox="1"/>
          <p:nvPr/>
        </p:nvSpPr>
        <p:spPr>
          <a:xfrm>
            <a:off x="4338632" y="3046902"/>
            <a:ext cx="886511" cy="889909"/>
          </a:xfrm>
          <a:prstGeom prst="rect">
            <a:avLst/>
          </a:prstGeom>
          <a:noFill/>
          <a:ln w="117475">
            <a:noFill/>
          </a:ln>
        </p:spPr>
        <p:txBody>
          <a:bodyPr wrap="none" rtlCol="0">
            <a:prstTxWarp prst="textPlain">
              <a:avLst/>
            </a:prstTxWarp>
            <a:spAutoFit/>
          </a:bodyPr>
          <a:lstStyle/>
          <a:p>
            <a:r>
              <a:rPr lang="en-US" altLang="zh-CN" spc="100">
                <a:solidFill>
                  <a:schemeClr val="accent3"/>
                </a:solidFill>
                <a:latin typeface="Impact" panose="020B0806030902050204" pitchFamily="34" charset="0"/>
                <a:cs typeface="Arial" panose="020B0604020202020204" pitchFamily="34" charset="0"/>
              </a:rPr>
              <a:t>0</a:t>
            </a:r>
            <a:r>
              <a:rPr lang="en-US" altLang="zh-CN" sz="100" spc="100">
                <a:solidFill>
                  <a:schemeClr val="accent3"/>
                </a:solidFill>
                <a:latin typeface="Impact" panose="020B0806030902050204" pitchFamily="34" charset="0"/>
                <a:cs typeface="Arial" panose="020B0604020202020204" pitchFamily="34" charset="0"/>
              </a:rPr>
              <a:t> </a:t>
            </a:r>
            <a:r>
              <a:rPr lang="en-US" altLang="zh-CN" spc="100">
                <a:solidFill>
                  <a:schemeClr val="accent3"/>
                </a:solidFill>
                <a:latin typeface="Impact" panose="020B0806030902050204" pitchFamily="34" charset="0"/>
                <a:cs typeface="Arial" panose="020B0604020202020204" pitchFamily="34" charset="0"/>
              </a:rPr>
              <a:t>1</a:t>
            </a:r>
            <a:endParaRPr lang="zh-CN" altLang="en-US" spc="100" dirty="0">
              <a:solidFill>
                <a:schemeClr val="accent3"/>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S1iḋè"/>
        <p:cNvGrpSpPr/>
        <p:nvPr/>
      </p:nvGrpSpPr>
      <p:grpSpPr>
        <a:xfrm>
          <a:off x="0" y="0"/>
          <a:ext cx="0" cy="0"/>
          <a:chOff x="0" y="0"/>
          <a:chExt cx="0" cy="0"/>
        </a:xfrm>
      </p:grpSpPr>
      <p:sp>
        <p:nvSpPr>
          <p:cNvPr id="2" name="i$ļïḋé">
            <a:extLst>
              <a:ext uri="{FF2B5EF4-FFF2-40B4-BE49-F238E27FC236}">
                <a16:creationId xmlns:a16="http://schemas.microsoft.com/office/drawing/2014/main" id="{9B0164AF-4246-4CD6-8CA3-F03179278D03}"/>
              </a:ext>
            </a:extLst>
          </p:cNvPr>
          <p:cNvSpPr>
            <a:spLocks noGrp="1"/>
          </p:cNvSpPr>
          <p:nvPr>
            <p:ph type="title"/>
          </p:nvPr>
        </p:nvSpPr>
        <p:spPr/>
        <p:txBody>
          <a:bodyPr/>
          <a:lstStyle/>
          <a:p>
            <a:r>
              <a:rPr lang="en-US" altLang="zh-CN" dirty="0"/>
              <a:t>Click to </a:t>
            </a:r>
            <a:r>
              <a:rPr lang="en-US" altLang="zh-CN"/>
              <a:t>edit Mast</a:t>
            </a:r>
            <a:r>
              <a:rPr lang="en-US" altLang="zh-CN" sz="100"/>
              <a:t> </a:t>
            </a:r>
            <a:r>
              <a:rPr lang="en-US" altLang="zh-CN"/>
              <a:t>er </a:t>
            </a:r>
            <a:r>
              <a:rPr lang="en-US" altLang="zh-CN" dirty="0"/>
              <a:t>title style</a:t>
            </a:r>
            <a:endParaRPr lang="zh-CN" altLang="en-US" dirty="0"/>
          </a:p>
        </p:txBody>
      </p:sp>
      <p:sp>
        <p:nvSpPr>
          <p:cNvPr id="3" name="ïṡḻíďê">
            <a:extLst>
              <a:ext uri="{FF2B5EF4-FFF2-40B4-BE49-F238E27FC236}">
                <a16:creationId xmlns:a16="http://schemas.microsoft.com/office/drawing/2014/main" id="{F386D67F-FA52-4108-855C-35AE1141D48C}"/>
              </a:ext>
            </a:extLst>
          </p:cNvPr>
          <p:cNvSpPr>
            <a:spLocks noGrp="1"/>
          </p:cNvSpPr>
          <p:nvPr>
            <p:ph type="ftr" sz="quarter" idx="11"/>
          </p:nvPr>
        </p:nvSpPr>
        <p:spPr/>
        <p:txBody>
          <a:bodyPr/>
          <a:lstStyle/>
          <a:p>
            <a:r>
              <a:rPr lang="zh-CN" altLang="en-US"/>
              <a:t>请在插入菜单</a:t>
            </a:r>
            <a:r>
              <a:rPr lang="en-US" altLang="zh-CN"/>
              <a:t>—</a:t>
            </a:r>
            <a:r>
              <a:rPr lang="zh-CN" altLang="en-US"/>
              <a:t>页眉和</a:t>
            </a:r>
            <a:r>
              <a:rPr lang="zh-CN" altLang="en-US" sz="100"/>
              <a:t> </a:t>
            </a:r>
            <a:r>
              <a:rPr lang="zh-CN" altLang="en-US"/>
              <a:t>页脚中修改此文本</a:t>
            </a:r>
            <a:endParaRPr lang="zh-CN" altLang="en-US" dirty="0"/>
          </a:p>
        </p:txBody>
      </p:sp>
      <p:sp>
        <p:nvSpPr>
          <p:cNvPr id="4" name="iŝḷïďé">
            <a:extLst>
              <a:ext uri="{FF2B5EF4-FFF2-40B4-BE49-F238E27FC236}">
                <a16:creationId xmlns:a16="http://schemas.microsoft.com/office/drawing/2014/main" id="{7376D6FB-C707-4161-B4F8-DB384698F1BB}"/>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93" name="iṣḷíďê">
            <a:extLst>
              <a:ext uri="{FF2B5EF4-FFF2-40B4-BE49-F238E27FC236}">
                <a16:creationId xmlns:a16="http://schemas.microsoft.com/office/drawing/2014/main" id="{7A582995-5926-4864-B758-673A8022CF6D}"/>
              </a:ext>
            </a:extLst>
          </p:cNvPr>
          <p:cNvSpPr/>
          <p:nvPr/>
        </p:nvSpPr>
        <p:spPr bwMode="auto">
          <a:xfrm flipH="1">
            <a:off x="3166128" y="3110103"/>
            <a:ext cx="587825" cy="656885"/>
          </a:xfrm>
          <a:custGeom>
            <a:avLst/>
            <a:gdLst>
              <a:gd name="T0" fmla="*/ 137 w 351"/>
              <a:gd name="T1" fmla="*/ 81 h 402"/>
              <a:gd name="T2" fmla="*/ 58 w 351"/>
              <a:gd name="T3" fmla="*/ 0 h 402"/>
              <a:gd name="T4" fmla="*/ 0 w 351"/>
              <a:gd name="T5" fmla="*/ 97 h 402"/>
              <a:gd name="T6" fmla="*/ 43 w 351"/>
              <a:gd name="T7" fmla="*/ 92 h 402"/>
              <a:gd name="T8" fmla="*/ 45 w 351"/>
              <a:gd name="T9" fmla="*/ 109 h 402"/>
              <a:gd name="T10" fmla="*/ 281 w 351"/>
              <a:gd name="T11" fmla="*/ 385 h 402"/>
              <a:gd name="T12" fmla="*/ 351 w 351"/>
              <a:gd name="T13" fmla="*/ 402 h 402"/>
              <a:gd name="T14" fmla="*/ 304 w 351"/>
              <a:gd name="T15" fmla="*/ 388 h 402"/>
              <a:gd name="T16" fmla="*/ 86 w 351"/>
              <a:gd name="T17" fmla="*/ 103 h 402"/>
              <a:gd name="T18" fmla="*/ 86 w 351"/>
              <a:gd name="T19" fmla="*/ 87 h 402"/>
              <a:gd name="T20" fmla="*/ 137 w 351"/>
              <a:gd name="T21" fmla="*/ 8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402">
                <a:moveTo>
                  <a:pt x="137" y="81"/>
                </a:moveTo>
                <a:cubicBezTo>
                  <a:pt x="58" y="0"/>
                  <a:pt x="58" y="0"/>
                  <a:pt x="58" y="0"/>
                </a:cubicBezTo>
                <a:cubicBezTo>
                  <a:pt x="0" y="97"/>
                  <a:pt x="0" y="97"/>
                  <a:pt x="0" y="97"/>
                </a:cubicBezTo>
                <a:cubicBezTo>
                  <a:pt x="43" y="92"/>
                  <a:pt x="43" y="92"/>
                  <a:pt x="43" y="92"/>
                </a:cubicBezTo>
                <a:cubicBezTo>
                  <a:pt x="45" y="109"/>
                  <a:pt x="45" y="109"/>
                  <a:pt x="45" y="109"/>
                </a:cubicBezTo>
                <a:cubicBezTo>
                  <a:pt x="64" y="242"/>
                  <a:pt x="157" y="341"/>
                  <a:pt x="281" y="385"/>
                </a:cubicBezTo>
                <a:cubicBezTo>
                  <a:pt x="304" y="392"/>
                  <a:pt x="327" y="399"/>
                  <a:pt x="351" y="402"/>
                </a:cubicBezTo>
                <a:cubicBezTo>
                  <a:pt x="335" y="398"/>
                  <a:pt x="320" y="394"/>
                  <a:pt x="304" y="388"/>
                </a:cubicBezTo>
                <a:cubicBezTo>
                  <a:pt x="181" y="341"/>
                  <a:pt x="91" y="239"/>
                  <a:pt x="86" y="103"/>
                </a:cubicBezTo>
                <a:cubicBezTo>
                  <a:pt x="86" y="87"/>
                  <a:pt x="86" y="87"/>
                  <a:pt x="86" y="87"/>
                </a:cubicBezTo>
                <a:lnTo>
                  <a:pt x="137" y="81"/>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5" name="iṣļíḑé">
            <a:extLst>
              <a:ext uri="{FF2B5EF4-FFF2-40B4-BE49-F238E27FC236}">
                <a16:creationId xmlns:a16="http://schemas.microsoft.com/office/drawing/2014/main" id="{6A1E0B16-2C76-4221-9CE4-50F78E3C78DF}"/>
              </a:ext>
            </a:extLst>
          </p:cNvPr>
          <p:cNvSpPr/>
          <p:nvPr/>
        </p:nvSpPr>
        <p:spPr bwMode="auto">
          <a:xfrm flipH="1">
            <a:off x="3039198" y="3238028"/>
            <a:ext cx="1136116" cy="737092"/>
          </a:xfrm>
          <a:custGeom>
            <a:avLst/>
            <a:gdLst>
              <a:gd name="T0" fmla="*/ 679 w 679"/>
              <a:gd name="T1" fmla="*/ 412 h 451"/>
              <a:gd name="T2" fmla="*/ 376 w 679"/>
              <a:gd name="T3" fmla="*/ 397 h 451"/>
              <a:gd name="T4" fmla="*/ 107 w 679"/>
              <a:gd name="T5" fmla="*/ 102 h 451"/>
              <a:gd name="T6" fmla="*/ 102 w 679"/>
              <a:gd name="T7" fmla="*/ 87 h 451"/>
              <a:gd name="T8" fmla="*/ 151 w 679"/>
              <a:gd name="T9" fmla="*/ 66 h 451"/>
              <a:gd name="T10" fmla="*/ 32 w 679"/>
              <a:gd name="T11" fmla="*/ 0 h 451"/>
              <a:gd name="T12" fmla="*/ 0 w 679"/>
              <a:gd name="T13" fmla="*/ 132 h 451"/>
              <a:gd name="T14" fmla="*/ 50 w 679"/>
              <a:gd name="T15" fmla="*/ 110 h 451"/>
              <a:gd name="T16" fmla="*/ 57 w 679"/>
              <a:gd name="T17" fmla="*/ 125 h 451"/>
              <a:gd name="T18" fmla="*/ 244 w 679"/>
              <a:gd name="T19" fmla="*/ 355 h 451"/>
              <a:gd name="T20" fmla="*/ 464 w 679"/>
              <a:gd name="T21" fmla="*/ 443 h 451"/>
              <a:gd name="T22" fmla="*/ 671 w 679"/>
              <a:gd name="T23" fmla="*/ 416 h 451"/>
              <a:gd name="T24" fmla="*/ 679 w 679"/>
              <a:gd name="T25" fmla="*/ 41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9" h="451">
                <a:moveTo>
                  <a:pt x="679" y="412"/>
                </a:moveTo>
                <a:cubicBezTo>
                  <a:pt x="581" y="446"/>
                  <a:pt x="471" y="437"/>
                  <a:pt x="376" y="397"/>
                </a:cubicBezTo>
                <a:cubicBezTo>
                  <a:pt x="246" y="343"/>
                  <a:pt x="151" y="236"/>
                  <a:pt x="107" y="102"/>
                </a:cubicBezTo>
                <a:cubicBezTo>
                  <a:pt x="102" y="87"/>
                  <a:pt x="102" y="87"/>
                  <a:pt x="102" y="87"/>
                </a:cubicBezTo>
                <a:cubicBezTo>
                  <a:pt x="151" y="66"/>
                  <a:pt x="151" y="66"/>
                  <a:pt x="151" y="66"/>
                </a:cubicBezTo>
                <a:cubicBezTo>
                  <a:pt x="32" y="0"/>
                  <a:pt x="32" y="0"/>
                  <a:pt x="32" y="0"/>
                </a:cubicBezTo>
                <a:cubicBezTo>
                  <a:pt x="0" y="132"/>
                  <a:pt x="0" y="132"/>
                  <a:pt x="0" y="132"/>
                </a:cubicBezTo>
                <a:cubicBezTo>
                  <a:pt x="50" y="110"/>
                  <a:pt x="50" y="110"/>
                  <a:pt x="50" y="110"/>
                </a:cubicBezTo>
                <a:cubicBezTo>
                  <a:pt x="57" y="125"/>
                  <a:pt x="57" y="125"/>
                  <a:pt x="57" y="125"/>
                </a:cubicBezTo>
                <a:cubicBezTo>
                  <a:pt x="102" y="215"/>
                  <a:pt x="163" y="296"/>
                  <a:pt x="244" y="355"/>
                </a:cubicBezTo>
                <a:cubicBezTo>
                  <a:pt x="309" y="402"/>
                  <a:pt x="384" y="434"/>
                  <a:pt x="464" y="443"/>
                </a:cubicBezTo>
                <a:cubicBezTo>
                  <a:pt x="534" y="451"/>
                  <a:pt x="606" y="443"/>
                  <a:pt x="671" y="416"/>
                </a:cubicBezTo>
                <a:cubicBezTo>
                  <a:pt x="673" y="414"/>
                  <a:pt x="676" y="413"/>
                  <a:pt x="679" y="412"/>
                </a:cubicBezTo>
                <a:close/>
              </a:path>
            </a:pathLst>
          </a:custGeom>
          <a:solidFill>
            <a:schemeClr val="accent3"/>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7" name="ïṣ1îḍé">
            <a:extLst>
              <a:ext uri="{FF2B5EF4-FFF2-40B4-BE49-F238E27FC236}">
                <a16:creationId xmlns:a16="http://schemas.microsoft.com/office/drawing/2014/main" id="{30A3F4FC-067D-413C-A189-CB1461121B3B}"/>
              </a:ext>
            </a:extLst>
          </p:cNvPr>
          <p:cNvSpPr/>
          <p:nvPr/>
        </p:nvSpPr>
        <p:spPr bwMode="auto">
          <a:xfrm flipH="1">
            <a:off x="2952846" y="3552764"/>
            <a:ext cx="2627006" cy="766535"/>
          </a:xfrm>
          <a:custGeom>
            <a:avLst/>
            <a:gdLst>
              <a:gd name="T0" fmla="*/ 227 w 1569"/>
              <a:gd name="T1" fmla="*/ 0 h 469"/>
              <a:gd name="T2" fmla="*/ 0 w 1569"/>
              <a:gd name="T3" fmla="*/ 13 h 469"/>
              <a:gd name="T4" fmla="*/ 71 w 1569"/>
              <a:gd name="T5" fmla="*/ 229 h 469"/>
              <a:gd name="T6" fmla="*/ 114 w 1569"/>
              <a:gd name="T7" fmla="*/ 165 h 469"/>
              <a:gd name="T8" fmla="*/ 128 w 1569"/>
              <a:gd name="T9" fmla="*/ 173 h 469"/>
              <a:gd name="T10" fmla="*/ 669 w 1569"/>
              <a:gd name="T11" fmla="*/ 403 h 469"/>
              <a:gd name="T12" fmla="*/ 1096 w 1569"/>
              <a:gd name="T13" fmla="*/ 465 h 469"/>
              <a:gd name="T14" fmla="*/ 1569 w 1569"/>
              <a:gd name="T15" fmla="*/ 266 h 469"/>
              <a:gd name="T16" fmla="*/ 1425 w 1569"/>
              <a:gd name="T17" fmla="*/ 363 h 469"/>
              <a:gd name="T18" fmla="*/ 1096 w 1569"/>
              <a:gd name="T19" fmla="*/ 432 h 469"/>
              <a:gd name="T20" fmla="*/ 193 w 1569"/>
              <a:gd name="T21" fmla="*/ 80 h 469"/>
              <a:gd name="T22" fmla="*/ 179 w 1569"/>
              <a:gd name="T23" fmla="*/ 70 h 469"/>
              <a:gd name="T24" fmla="*/ 227 w 1569"/>
              <a:gd name="T25"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9" h="469">
                <a:moveTo>
                  <a:pt x="227" y="0"/>
                </a:moveTo>
                <a:cubicBezTo>
                  <a:pt x="0" y="13"/>
                  <a:pt x="0" y="13"/>
                  <a:pt x="0" y="13"/>
                </a:cubicBezTo>
                <a:cubicBezTo>
                  <a:pt x="71" y="229"/>
                  <a:pt x="71" y="229"/>
                  <a:pt x="71" y="229"/>
                </a:cubicBezTo>
                <a:cubicBezTo>
                  <a:pt x="114" y="165"/>
                  <a:pt x="114" y="165"/>
                  <a:pt x="114" y="165"/>
                </a:cubicBezTo>
                <a:cubicBezTo>
                  <a:pt x="128" y="173"/>
                  <a:pt x="128" y="173"/>
                  <a:pt x="128" y="173"/>
                </a:cubicBezTo>
                <a:cubicBezTo>
                  <a:pt x="299" y="266"/>
                  <a:pt x="481" y="349"/>
                  <a:pt x="669" y="403"/>
                </a:cubicBezTo>
                <a:cubicBezTo>
                  <a:pt x="806" y="443"/>
                  <a:pt x="953" y="469"/>
                  <a:pt x="1096" y="465"/>
                </a:cubicBezTo>
                <a:cubicBezTo>
                  <a:pt x="1276" y="459"/>
                  <a:pt x="1452" y="403"/>
                  <a:pt x="1569" y="266"/>
                </a:cubicBezTo>
                <a:cubicBezTo>
                  <a:pt x="1526" y="306"/>
                  <a:pt x="1478" y="338"/>
                  <a:pt x="1425" y="363"/>
                </a:cubicBezTo>
                <a:cubicBezTo>
                  <a:pt x="1323" y="413"/>
                  <a:pt x="1209" y="433"/>
                  <a:pt x="1096" y="432"/>
                </a:cubicBezTo>
                <a:cubicBezTo>
                  <a:pt x="774" y="429"/>
                  <a:pt x="449" y="263"/>
                  <a:pt x="193" y="80"/>
                </a:cubicBezTo>
                <a:cubicBezTo>
                  <a:pt x="179" y="70"/>
                  <a:pt x="179" y="70"/>
                  <a:pt x="179" y="70"/>
                </a:cubicBezTo>
                <a:lnTo>
                  <a:pt x="227" y="0"/>
                </a:lnTo>
                <a:close/>
              </a:path>
            </a:pathLst>
          </a:custGeom>
          <a:solidFill>
            <a:schemeClr val="accent2"/>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9" name="ïṥļïḑe">
            <a:extLst>
              <a:ext uri="{FF2B5EF4-FFF2-40B4-BE49-F238E27FC236}">
                <a16:creationId xmlns:a16="http://schemas.microsoft.com/office/drawing/2014/main" id="{5C0C9634-F545-4CD6-9D5B-844AD09B049D}"/>
              </a:ext>
            </a:extLst>
          </p:cNvPr>
          <p:cNvSpPr/>
          <p:nvPr/>
        </p:nvSpPr>
        <p:spPr bwMode="auto">
          <a:xfrm flipH="1">
            <a:off x="2894584" y="4048220"/>
            <a:ext cx="2838207" cy="633533"/>
          </a:xfrm>
          <a:custGeom>
            <a:avLst/>
            <a:gdLst>
              <a:gd name="T0" fmla="*/ 243 w 1695"/>
              <a:gd name="T1" fmla="*/ 3 h 388"/>
              <a:gd name="T2" fmla="*/ 0 w 1695"/>
              <a:gd name="T3" fmla="*/ 59 h 388"/>
              <a:gd name="T4" fmla="*/ 117 w 1695"/>
              <a:gd name="T5" fmla="*/ 279 h 388"/>
              <a:gd name="T6" fmla="*/ 157 w 1695"/>
              <a:gd name="T7" fmla="*/ 191 h 388"/>
              <a:gd name="T8" fmla="*/ 173 w 1695"/>
              <a:gd name="T9" fmla="*/ 199 h 388"/>
              <a:gd name="T10" fmla="*/ 573 w 1695"/>
              <a:gd name="T11" fmla="*/ 342 h 388"/>
              <a:gd name="T12" fmla="*/ 957 w 1695"/>
              <a:gd name="T13" fmla="*/ 385 h 388"/>
              <a:gd name="T14" fmla="*/ 1567 w 1695"/>
              <a:gd name="T15" fmla="*/ 167 h 388"/>
              <a:gd name="T16" fmla="*/ 1695 w 1695"/>
              <a:gd name="T17" fmla="*/ 0 h 388"/>
              <a:gd name="T18" fmla="*/ 1390 w 1695"/>
              <a:gd name="T19" fmla="*/ 254 h 388"/>
              <a:gd name="T20" fmla="*/ 1176 w 1695"/>
              <a:gd name="T21" fmla="*/ 311 h 388"/>
              <a:gd name="T22" fmla="*/ 912 w 1695"/>
              <a:gd name="T23" fmla="*/ 311 h 388"/>
              <a:gd name="T24" fmla="*/ 595 w 1695"/>
              <a:gd name="T25" fmla="*/ 243 h 388"/>
              <a:gd name="T26" fmla="*/ 220 w 1695"/>
              <a:gd name="T27" fmla="*/ 94 h 388"/>
              <a:gd name="T28" fmla="*/ 205 w 1695"/>
              <a:gd name="T29" fmla="*/ 87 h 388"/>
              <a:gd name="T30" fmla="*/ 243 w 1695"/>
              <a:gd name="T31" fmla="*/ 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5" h="388">
                <a:moveTo>
                  <a:pt x="243" y="3"/>
                </a:moveTo>
                <a:cubicBezTo>
                  <a:pt x="0" y="59"/>
                  <a:pt x="0" y="59"/>
                  <a:pt x="0" y="59"/>
                </a:cubicBezTo>
                <a:cubicBezTo>
                  <a:pt x="117" y="279"/>
                  <a:pt x="117" y="279"/>
                  <a:pt x="117" y="279"/>
                </a:cubicBezTo>
                <a:cubicBezTo>
                  <a:pt x="157" y="191"/>
                  <a:pt x="157" y="191"/>
                  <a:pt x="157" y="191"/>
                </a:cubicBezTo>
                <a:cubicBezTo>
                  <a:pt x="173" y="199"/>
                  <a:pt x="173" y="199"/>
                  <a:pt x="173" y="199"/>
                </a:cubicBezTo>
                <a:cubicBezTo>
                  <a:pt x="301" y="261"/>
                  <a:pt x="435" y="310"/>
                  <a:pt x="573" y="342"/>
                </a:cubicBezTo>
                <a:cubicBezTo>
                  <a:pt x="698" y="372"/>
                  <a:pt x="828" y="388"/>
                  <a:pt x="957" y="385"/>
                </a:cubicBezTo>
                <a:cubicBezTo>
                  <a:pt x="1177" y="381"/>
                  <a:pt x="1404" y="321"/>
                  <a:pt x="1567" y="167"/>
                </a:cubicBezTo>
                <a:cubicBezTo>
                  <a:pt x="1620" y="117"/>
                  <a:pt x="1662" y="61"/>
                  <a:pt x="1695" y="0"/>
                </a:cubicBezTo>
                <a:cubicBezTo>
                  <a:pt x="1621" y="110"/>
                  <a:pt x="1519" y="199"/>
                  <a:pt x="1390" y="254"/>
                </a:cubicBezTo>
                <a:cubicBezTo>
                  <a:pt x="1322" y="283"/>
                  <a:pt x="1250" y="302"/>
                  <a:pt x="1176" y="311"/>
                </a:cubicBezTo>
                <a:cubicBezTo>
                  <a:pt x="1089" y="322"/>
                  <a:pt x="1000" y="321"/>
                  <a:pt x="912" y="311"/>
                </a:cubicBezTo>
                <a:cubicBezTo>
                  <a:pt x="805" y="299"/>
                  <a:pt x="698" y="274"/>
                  <a:pt x="595" y="243"/>
                </a:cubicBezTo>
                <a:cubicBezTo>
                  <a:pt x="467" y="203"/>
                  <a:pt x="342" y="152"/>
                  <a:pt x="220" y="94"/>
                </a:cubicBezTo>
                <a:cubicBezTo>
                  <a:pt x="205" y="87"/>
                  <a:pt x="205" y="87"/>
                  <a:pt x="205" y="87"/>
                </a:cubicBezTo>
                <a:lnTo>
                  <a:pt x="243" y="3"/>
                </a:lnTo>
                <a:close/>
              </a:path>
            </a:pathLst>
          </a:custGeom>
          <a:solidFill>
            <a:schemeClr val="accent5"/>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5" name="ïSḻíḋê">
            <a:extLst>
              <a:ext uri="{FF2B5EF4-FFF2-40B4-BE49-F238E27FC236}">
                <a16:creationId xmlns:a16="http://schemas.microsoft.com/office/drawing/2014/main" id="{6F287A3A-44FD-4049-855D-957234BB72DE}"/>
              </a:ext>
            </a:extLst>
          </p:cNvPr>
          <p:cNvGrpSpPr/>
          <p:nvPr/>
        </p:nvGrpSpPr>
        <p:grpSpPr>
          <a:xfrm>
            <a:off x="1676277" y="1760798"/>
            <a:ext cx="3469729" cy="1805165"/>
            <a:chOff x="1676277" y="1760798"/>
            <a:chExt cx="3469729" cy="1805165"/>
          </a:xfrm>
          <a:solidFill>
            <a:schemeClr val="bg2"/>
          </a:solidFill>
        </p:grpSpPr>
        <p:sp>
          <p:nvSpPr>
            <p:cNvPr id="272" name="is1ídé">
              <a:extLst>
                <a:ext uri="{FF2B5EF4-FFF2-40B4-BE49-F238E27FC236}">
                  <a16:creationId xmlns:a16="http://schemas.microsoft.com/office/drawing/2014/main" id="{D3EF7A45-BBA9-4D18-ADFF-913B61454C76}"/>
                </a:ext>
              </a:extLst>
            </p:cNvPr>
            <p:cNvSpPr/>
            <p:nvPr/>
          </p:nvSpPr>
          <p:spPr bwMode="auto">
            <a:xfrm flipH="1">
              <a:off x="3548995" y="2246101"/>
              <a:ext cx="296513" cy="405096"/>
            </a:xfrm>
            <a:custGeom>
              <a:avLst/>
              <a:gdLst>
                <a:gd name="T0" fmla="*/ 134 w 177"/>
                <a:gd name="T1" fmla="*/ 28 h 248"/>
                <a:gd name="T2" fmla="*/ 134 w 177"/>
                <a:gd name="T3" fmla="*/ 45 h 248"/>
                <a:gd name="T4" fmla="*/ 145 w 177"/>
                <a:gd name="T5" fmla="*/ 78 h 248"/>
                <a:gd name="T6" fmla="*/ 146 w 177"/>
                <a:gd name="T7" fmla="*/ 95 h 248"/>
                <a:gd name="T8" fmla="*/ 134 w 177"/>
                <a:gd name="T9" fmla="*/ 130 h 248"/>
                <a:gd name="T10" fmla="*/ 134 w 177"/>
                <a:gd name="T11" fmla="*/ 147 h 248"/>
                <a:gd name="T12" fmla="*/ 155 w 177"/>
                <a:gd name="T13" fmla="*/ 179 h 248"/>
                <a:gd name="T14" fmla="*/ 157 w 177"/>
                <a:gd name="T15" fmla="*/ 196 h 248"/>
                <a:gd name="T16" fmla="*/ 134 w 177"/>
                <a:gd name="T17" fmla="*/ 237 h 248"/>
                <a:gd name="T18" fmla="*/ 154 w 177"/>
                <a:gd name="T19" fmla="*/ 0 h 248"/>
                <a:gd name="T20" fmla="*/ 105 w 177"/>
                <a:gd name="T21" fmla="*/ 31 h 248"/>
                <a:gd name="T22" fmla="*/ 105 w 177"/>
                <a:gd name="T23" fmla="*/ 240 h 248"/>
                <a:gd name="T24" fmla="*/ 105 w 177"/>
                <a:gd name="T25" fmla="*/ 218 h 248"/>
                <a:gd name="T26" fmla="*/ 134 w 177"/>
                <a:gd name="T27" fmla="*/ 62 h 248"/>
                <a:gd name="T28" fmla="*/ 134 w 177"/>
                <a:gd name="T29" fmla="*/ 45 h 248"/>
                <a:gd name="T30" fmla="*/ 105 w 177"/>
                <a:gd name="T31" fmla="*/ 99 h 248"/>
                <a:gd name="T32" fmla="*/ 134 w 177"/>
                <a:gd name="T33" fmla="*/ 79 h 248"/>
                <a:gd name="T34" fmla="*/ 105 w 177"/>
                <a:gd name="T35" fmla="*/ 133 h 248"/>
                <a:gd name="T36" fmla="*/ 134 w 177"/>
                <a:gd name="T37" fmla="*/ 147 h 248"/>
                <a:gd name="T38" fmla="*/ 116 w 177"/>
                <a:gd name="T39" fmla="*/ 183 h 248"/>
                <a:gd name="T40" fmla="*/ 105 w 177"/>
                <a:gd name="T41" fmla="*/ 201 h 248"/>
                <a:gd name="T42" fmla="*/ 106 w 177"/>
                <a:gd name="T43" fmla="*/ 167 h 248"/>
                <a:gd name="T44" fmla="*/ 134 w 177"/>
                <a:gd name="T45" fmla="*/ 147 h 248"/>
                <a:gd name="T46" fmla="*/ 38 w 177"/>
                <a:gd name="T47" fmla="*/ 37 h 248"/>
                <a:gd name="T48" fmla="*/ 38 w 177"/>
                <a:gd name="T49" fmla="*/ 54 h 248"/>
                <a:gd name="T50" fmla="*/ 97 w 177"/>
                <a:gd name="T51" fmla="*/ 82 h 248"/>
                <a:gd name="T52" fmla="*/ 105 w 177"/>
                <a:gd name="T53" fmla="*/ 99 h 248"/>
                <a:gd name="T54" fmla="*/ 105 w 177"/>
                <a:gd name="T55" fmla="*/ 65 h 248"/>
                <a:gd name="T56" fmla="*/ 68 w 177"/>
                <a:gd name="T57" fmla="*/ 35 h 248"/>
                <a:gd name="T58" fmla="*/ 38 w 177"/>
                <a:gd name="T59" fmla="*/ 247 h 248"/>
                <a:gd name="T60" fmla="*/ 38 w 177"/>
                <a:gd name="T61" fmla="*/ 225 h 248"/>
                <a:gd name="T62" fmla="*/ 105 w 177"/>
                <a:gd name="T63" fmla="*/ 116 h 248"/>
                <a:gd name="T64" fmla="*/ 69 w 177"/>
                <a:gd name="T65" fmla="*/ 153 h 248"/>
                <a:gd name="T66" fmla="*/ 38 w 177"/>
                <a:gd name="T67" fmla="*/ 174 h 248"/>
                <a:gd name="T68" fmla="*/ 56 w 177"/>
                <a:gd name="T69" fmla="*/ 138 h 248"/>
                <a:gd name="T70" fmla="*/ 105 w 177"/>
                <a:gd name="T71" fmla="*/ 116 h 248"/>
                <a:gd name="T72" fmla="*/ 38 w 177"/>
                <a:gd name="T73" fmla="*/ 208 h 248"/>
                <a:gd name="T74" fmla="*/ 38 w 177"/>
                <a:gd name="T75" fmla="*/ 11 h 248"/>
                <a:gd name="T76" fmla="*/ 24 w 177"/>
                <a:gd name="T77" fmla="*/ 248 h 248"/>
                <a:gd name="T78" fmla="*/ 37 w 177"/>
                <a:gd name="T79" fmla="*/ 208 h 248"/>
                <a:gd name="T80" fmla="*/ 35 w 177"/>
                <a:gd name="T81" fmla="*/ 191 h 248"/>
                <a:gd name="T82" fmla="*/ 38 w 177"/>
                <a:gd name="T83" fmla="*/ 156 h 248"/>
                <a:gd name="T84" fmla="*/ 38 w 177"/>
                <a:gd name="T85" fmla="*/ 140 h 248"/>
                <a:gd name="T86" fmla="*/ 27 w 177"/>
                <a:gd name="T87" fmla="*/ 107 h 248"/>
                <a:gd name="T88" fmla="*/ 25 w 177"/>
                <a:gd name="T89" fmla="*/ 90 h 248"/>
                <a:gd name="T90" fmla="*/ 38 w 177"/>
                <a:gd name="T91" fmla="*/ 54 h 248"/>
                <a:gd name="T92" fmla="*/ 38 w 177"/>
                <a:gd name="T93" fmla="*/ 3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7" h="248">
                  <a:moveTo>
                    <a:pt x="154" y="0"/>
                  </a:moveTo>
                  <a:cubicBezTo>
                    <a:pt x="134" y="2"/>
                    <a:pt x="134" y="2"/>
                    <a:pt x="134" y="2"/>
                  </a:cubicBezTo>
                  <a:cubicBezTo>
                    <a:pt x="134" y="28"/>
                    <a:pt x="134" y="28"/>
                    <a:pt x="134" y="28"/>
                  </a:cubicBezTo>
                  <a:cubicBezTo>
                    <a:pt x="140" y="27"/>
                    <a:pt x="140" y="27"/>
                    <a:pt x="140" y="27"/>
                  </a:cubicBezTo>
                  <a:cubicBezTo>
                    <a:pt x="140" y="33"/>
                    <a:pt x="141" y="38"/>
                    <a:pt x="141" y="44"/>
                  </a:cubicBezTo>
                  <a:cubicBezTo>
                    <a:pt x="134" y="45"/>
                    <a:pt x="134" y="45"/>
                    <a:pt x="134" y="45"/>
                  </a:cubicBezTo>
                  <a:cubicBezTo>
                    <a:pt x="134" y="62"/>
                    <a:pt x="134" y="62"/>
                    <a:pt x="134" y="62"/>
                  </a:cubicBezTo>
                  <a:cubicBezTo>
                    <a:pt x="143" y="61"/>
                    <a:pt x="143" y="61"/>
                    <a:pt x="143" y="61"/>
                  </a:cubicBezTo>
                  <a:cubicBezTo>
                    <a:pt x="144" y="67"/>
                    <a:pt x="144" y="72"/>
                    <a:pt x="145" y="78"/>
                  </a:cubicBezTo>
                  <a:cubicBezTo>
                    <a:pt x="134" y="79"/>
                    <a:pt x="134" y="79"/>
                    <a:pt x="134" y="79"/>
                  </a:cubicBezTo>
                  <a:cubicBezTo>
                    <a:pt x="134" y="96"/>
                    <a:pt x="134" y="96"/>
                    <a:pt x="134" y="96"/>
                  </a:cubicBezTo>
                  <a:cubicBezTo>
                    <a:pt x="146" y="95"/>
                    <a:pt x="146" y="95"/>
                    <a:pt x="146" y="95"/>
                  </a:cubicBezTo>
                  <a:cubicBezTo>
                    <a:pt x="147" y="100"/>
                    <a:pt x="147" y="106"/>
                    <a:pt x="148" y="111"/>
                  </a:cubicBezTo>
                  <a:cubicBezTo>
                    <a:pt x="134" y="113"/>
                    <a:pt x="134" y="113"/>
                    <a:pt x="134" y="113"/>
                  </a:cubicBezTo>
                  <a:cubicBezTo>
                    <a:pt x="134" y="130"/>
                    <a:pt x="134" y="130"/>
                    <a:pt x="134" y="130"/>
                  </a:cubicBezTo>
                  <a:cubicBezTo>
                    <a:pt x="150" y="128"/>
                    <a:pt x="150" y="128"/>
                    <a:pt x="150" y="128"/>
                  </a:cubicBezTo>
                  <a:cubicBezTo>
                    <a:pt x="150" y="134"/>
                    <a:pt x="151" y="139"/>
                    <a:pt x="151" y="145"/>
                  </a:cubicBezTo>
                  <a:cubicBezTo>
                    <a:pt x="134" y="147"/>
                    <a:pt x="134" y="147"/>
                    <a:pt x="134" y="147"/>
                  </a:cubicBezTo>
                  <a:cubicBezTo>
                    <a:pt x="134" y="164"/>
                    <a:pt x="134" y="164"/>
                    <a:pt x="134" y="164"/>
                  </a:cubicBezTo>
                  <a:cubicBezTo>
                    <a:pt x="153" y="162"/>
                    <a:pt x="153" y="162"/>
                    <a:pt x="153" y="162"/>
                  </a:cubicBezTo>
                  <a:cubicBezTo>
                    <a:pt x="154" y="168"/>
                    <a:pt x="154" y="173"/>
                    <a:pt x="155" y="179"/>
                  </a:cubicBezTo>
                  <a:cubicBezTo>
                    <a:pt x="134" y="181"/>
                    <a:pt x="134" y="181"/>
                    <a:pt x="134" y="181"/>
                  </a:cubicBezTo>
                  <a:cubicBezTo>
                    <a:pt x="134" y="198"/>
                    <a:pt x="134" y="198"/>
                    <a:pt x="134" y="198"/>
                  </a:cubicBezTo>
                  <a:cubicBezTo>
                    <a:pt x="157" y="196"/>
                    <a:pt x="157" y="196"/>
                    <a:pt x="157" y="196"/>
                  </a:cubicBezTo>
                  <a:cubicBezTo>
                    <a:pt x="157" y="201"/>
                    <a:pt x="158" y="207"/>
                    <a:pt x="158" y="212"/>
                  </a:cubicBezTo>
                  <a:cubicBezTo>
                    <a:pt x="134" y="215"/>
                    <a:pt x="134" y="215"/>
                    <a:pt x="134" y="215"/>
                  </a:cubicBezTo>
                  <a:cubicBezTo>
                    <a:pt x="134" y="237"/>
                    <a:pt x="134" y="237"/>
                    <a:pt x="134" y="237"/>
                  </a:cubicBezTo>
                  <a:cubicBezTo>
                    <a:pt x="177" y="233"/>
                    <a:pt x="177" y="233"/>
                    <a:pt x="177" y="233"/>
                  </a:cubicBezTo>
                  <a:cubicBezTo>
                    <a:pt x="173" y="194"/>
                    <a:pt x="169" y="155"/>
                    <a:pt x="165" y="116"/>
                  </a:cubicBezTo>
                  <a:cubicBezTo>
                    <a:pt x="162" y="77"/>
                    <a:pt x="158" y="39"/>
                    <a:pt x="154" y="0"/>
                  </a:cubicBezTo>
                  <a:close/>
                  <a:moveTo>
                    <a:pt x="134" y="2"/>
                  </a:moveTo>
                  <a:cubicBezTo>
                    <a:pt x="105" y="5"/>
                    <a:pt x="105" y="5"/>
                    <a:pt x="105" y="5"/>
                  </a:cubicBezTo>
                  <a:cubicBezTo>
                    <a:pt x="105" y="31"/>
                    <a:pt x="105" y="31"/>
                    <a:pt x="105" y="31"/>
                  </a:cubicBezTo>
                  <a:cubicBezTo>
                    <a:pt x="134" y="28"/>
                    <a:pt x="134" y="28"/>
                    <a:pt x="134" y="28"/>
                  </a:cubicBezTo>
                  <a:cubicBezTo>
                    <a:pt x="134" y="2"/>
                    <a:pt x="134" y="2"/>
                    <a:pt x="134" y="2"/>
                  </a:cubicBezTo>
                  <a:close/>
                  <a:moveTo>
                    <a:pt x="105" y="240"/>
                  </a:moveTo>
                  <a:cubicBezTo>
                    <a:pt x="134" y="237"/>
                    <a:pt x="134" y="237"/>
                    <a:pt x="134" y="237"/>
                  </a:cubicBezTo>
                  <a:cubicBezTo>
                    <a:pt x="134" y="215"/>
                    <a:pt x="134" y="215"/>
                    <a:pt x="134" y="215"/>
                  </a:cubicBezTo>
                  <a:cubicBezTo>
                    <a:pt x="105" y="218"/>
                    <a:pt x="105" y="218"/>
                    <a:pt x="105" y="218"/>
                  </a:cubicBezTo>
                  <a:cubicBezTo>
                    <a:pt x="105" y="240"/>
                    <a:pt x="105" y="240"/>
                    <a:pt x="105" y="240"/>
                  </a:cubicBezTo>
                  <a:close/>
                  <a:moveTo>
                    <a:pt x="134" y="45"/>
                  </a:moveTo>
                  <a:cubicBezTo>
                    <a:pt x="134" y="62"/>
                    <a:pt x="134" y="62"/>
                    <a:pt x="134" y="62"/>
                  </a:cubicBezTo>
                  <a:cubicBezTo>
                    <a:pt x="105" y="65"/>
                    <a:pt x="105" y="65"/>
                    <a:pt x="105" y="65"/>
                  </a:cubicBezTo>
                  <a:cubicBezTo>
                    <a:pt x="105" y="48"/>
                    <a:pt x="105" y="48"/>
                    <a:pt x="105" y="48"/>
                  </a:cubicBezTo>
                  <a:cubicBezTo>
                    <a:pt x="134" y="45"/>
                    <a:pt x="134" y="45"/>
                    <a:pt x="134" y="45"/>
                  </a:cubicBezTo>
                  <a:close/>
                  <a:moveTo>
                    <a:pt x="134" y="79"/>
                  </a:moveTo>
                  <a:cubicBezTo>
                    <a:pt x="134" y="96"/>
                    <a:pt x="134" y="96"/>
                    <a:pt x="134" y="96"/>
                  </a:cubicBezTo>
                  <a:cubicBezTo>
                    <a:pt x="105" y="99"/>
                    <a:pt x="105" y="99"/>
                    <a:pt x="105" y="99"/>
                  </a:cubicBezTo>
                  <a:cubicBezTo>
                    <a:pt x="105" y="73"/>
                    <a:pt x="105" y="73"/>
                    <a:pt x="105" y="73"/>
                  </a:cubicBezTo>
                  <a:cubicBezTo>
                    <a:pt x="105" y="82"/>
                    <a:pt x="105" y="82"/>
                    <a:pt x="105" y="82"/>
                  </a:cubicBezTo>
                  <a:cubicBezTo>
                    <a:pt x="134" y="79"/>
                    <a:pt x="134" y="79"/>
                    <a:pt x="134" y="79"/>
                  </a:cubicBezTo>
                  <a:close/>
                  <a:moveTo>
                    <a:pt x="134" y="113"/>
                  </a:moveTo>
                  <a:cubicBezTo>
                    <a:pt x="134" y="130"/>
                    <a:pt x="134" y="130"/>
                    <a:pt x="134" y="130"/>
                  </a:cubicBezTo>
                  <a:cubicBezTo>
                    <a:pt x="105" y="133"/>
                    <a:pt x="105" y="133"/>
                    <a:pt x="105" y="133"/>
                  </a:cubicBezTo>
                  <a:cubicBezTo>
                    <a:pt x="105" y="116"/>
                    <a:pt x="105" y="116"/>
                    <a:pt x="105" y="116"/>
                  </a:cubicBezTo>
                  <a:cubicBezTo>
                    <a:pt x="134" y="113"/>
                    <a:pt x="134" y="113"/>
                    <a:pt x="134" y="113"/>
                  </a:cubicBezTo>
                  <a:close/>
                  <a:moveTo>
                    <a:pt x="134" y="147"/>
                  </a:moveTo>
                  <a:cubicBezTo>
                    <a:pt x="134" y="164"/>
                    <a:pt x="134" y="164"/>
                    <a:pt x="134" y="164"/>
                  </a:cubicBezTo>
                  <a:cubicBezTo>
                    <a:pt x="114" y="166"/>
                    <a:pt x="114" y="166"/>
                    <a:pt x="114" y="166"/>
                  </a:cubicBezTo>
                  <a:cubicBezTo>
                    <a:pt x="115" y="172"/>
                    <a:pt x="115" y="177"/>
                    <a:pt x="116" y="183"/>
                  </a:cubicBezTo>
                  <a:cubicBezTo>
                    <a:pt x="134" y="181"/>
                    <a:pt x="134" y="181"/>
                    <a:pt x="134" y="181"/>
                  </a:cubicBezTo>
                  <a:cubicBezTo>
                    <a:pt x="134" y="198"/>
                    <a:pt x="134" y="198"/>
                    <a:pt x="134" y="198"/>
                  </a:cubicBezTo>
                  <a:cubicBezTo>
                    <a:pt x="105" y="201"/>
                    <a:pt x="105" y="201"/>
                    <a:pt x="105" y="201"/>
                  </a:cubicBezTo>
                  <a:cubicBezTo>
                    <a:pt x="105" y="184"/>
                    <a:pt x="105" y="184"/>
                    <a:pt x="105" y="184"/>
                  </a:cubicBezTo>
                  <a:cubicBezTo>
                    <a:pt x="108" y="183"/>
                    <a:pt x="108" y="183"/>
                    <a:pt x="108" y="183"/>
                  </a:cubicBezTo>
                  <a:cubicBezTo>
                    <a:pt x="107" y="178"/>
                    <a:pt x="106" y="172"/>
                    <a:pt x="106" y="167"/>
                  </a:cubicBezTo>
                  <a:cubicBezTo>
                    <a:pt x="105" y="167"/>
                    <a:pt x="105" y="167"/>
                    <a:pt x="105" y="167"/>
                  </a:cubicBezTo>
                  <a:cubicBezTo>
                    <a:pt x="105" y="150"/>
                    <a:pt x="105" y="150"/>
                    <a:pt x="105" y="150"/>
                  </a:cubicBezTo>
                  <a:lnTo>
                    <a:pt x="134" y="147"/>
                  </a:lnTo>
                  <a:close/>
                  <a:moveTo>
                    <a:pt x="105" y="5"/>
                  </a:moveTo>
                  <a:cubicBezTo>
                    <a:pt x="38" y="11"/>
                    <a:pt x="38" y="11"/>
                    <a:pt x="38" y="11"/>
                  </a:cubicBezTo>
                  <a:cubicBezTo>
                    <a:pt x="38" y="37"/>
                    <a:pt x="38" y="37"/>
                    <a:pt x="38" y="37"/>
                  </a:cubicBezTo>
                  <a:cubicBezTo>
                    <a:pt x="55" y="36"/>
                    <a:pt x="55" y="36"/>
                    <a:pt x="55" y="36"/>
                  </a:cubicBezTo>
                  <a:cubicBezTo>
                    <a:pt x="56" y="41"/>
                    <a:pt x="56" y="47"/>
                    <a:pt x="57" y="53"/>
                  </a:cubicBezTo>
                  <a:cubicBezTo>
                    <a:pt x="38" y="54"/>
                    <a:pt x="38" y="54"/>
                    <a:pt x="38" y="54"/>
                  </a:cubicBezTo>
                  <a:cubicBezTo>
                    <a:pt x="38" y="72"/>
                    <a:pt x="38" y="72"/>
                    <a:pt x="38" y="72"/>
                  </a:cubicBezTo>
                  <a:cubicBezTo>
                    <a:pt x="96" y="66"/>
                    <a:pt x="96" y="66"/>
                    <a:pt x="96" y="66"/>
                  </a:cubicBezTo>
                  <a:cubicBezTo>
                    <a:pt x="96" y="71"/>
                    <a:pt x="97" y="77"/>
                    <a:pt x="97" y="82"/>
                  </a:cubicBezTo>
                  <a:cubicBezTo>
                    <a:pt x="38" y="88"/>
                    <a:pt x="38" y="88"/>
                    <a:pt x="38" y="88"/>
                  </a:cubicBezTo>
                  <a:cubicBezTo>
                    <a:pt x="38" y="106"/>
                    <a:pt x="38" y="106"/>
                    <a:pt x="38" y="106"/>
                  </a:cubicBezTo>
                  <a:cubicBezTo>
                    <a:pt x="105" y="99"/>
                    <a:pt x="105" y="99"/>
                    <a:pt x="105" y="99"/>
                  </a:cubicBezTo>
                  <a:cubicBezTo>
                    <a:pt x="105" y="73"/>
                    <a:pt x="105" y="73"/>
                    <a:pt x="105" y="73"/>
                  </a:cubicBezTo>
                  <a:cubicBezTo>
                    <a:pt x="104" y="65"/>
                    <a:pt x="104" y="65"/>
                    <a:pt x="104" y="65"/>
                  </a:cubicBezTo>
                  <a:cubicBezTo>
                    <a:pt x="105" y="65"/>
                    <a:pt x="105" y="65"/>
                    <a:pt x="105" y="65"/>
                  </a:cubicBezTo>
                  <a:cubicBezTo>
                    <a:pt x="105" y="48"/>
                    <a:pt x="105" y="48"/>
                    <a:pt x="105" y="48"/>
                  </a:cubicBezTo>
                  <a:cubicBezTo>
                    <a:pt x="70" y="51"/>
                    <a:pt x="70" y="51"/>
                    <a:pt x="70" y="51"/>
                  </a:cubicBezTo>
                  <a:cubicBezTo>
                    <a:pt x="69" y="46"/>
                    <a:pt x="68" y="40"/>
                    <a:pt x="68" y="35"/>
                  </a:cubicBezTo>
                  <a:cubicBezTo>
                    <a:pt x="105" y="31"/>
                    <a:pt x="105" y="31"/>
                    <a:pt x="105" y="31"/>
                  </a:cubicBezTo>
                  <a:cubicBezTo>
                    <a:pt x="105" y="5"/>
                    <a:pt x="105" y="5"/>
                    <a:pt x="105" y="5"/>
                  </a:cubicBezTo>
                  <a:close/>
                  <a:moveTo>
                    <a:pt x="38" y="247"/>
                  </a:moveTo>
                  <a:cubicBezTo>
                    <a:pt x="105" y="240"/>
                    <a:pt x="105" y="240"/>
                    <a:pt x="105" y="240"/>
                  </a:cubicBezTo>
                  <a:cubicBezTo>
                    <a:pt x="105" y="218"/>
                    <a:pt x="105" y="218"/>
                    <a:pt x="105" y="218"/>
                  </a:cubicBezTo>
                  <a:cubicBezTo>
                    <a:pt x="38" y="225"/>
                    <a:pt x="38" y="225"/>
                    <a:pt x="38" y="225"/>
                  </a:cubicBezTo>
                  <a:cubicBezTo>
                    <a:pt x="38" y="223"/>
                    <a:pt x="38" y="223"/>
                    <a:pt x="38" y="223"/>
                  </a:cubicBezTo>
                  <a:cubicBezTo>
                    <a:pt x="38" y="247"/>
                    <a:pt x="38" y="247"/>
                    <a:pt x="38" y="247"/>
                  </a:cubicBezTo>
                  <a:close/>
                  <a:moveTo>
                    <a:pt x="105" y="116"/>
                  </a:moveTo>
                  <a:cubicBezTo>
                    <a:pt x="105" y="133"/>
                    <a:pt x="105" y="133"/>
                    <a:pt x="105" y="133"/>
                  </a:cubicBezTo>
                  <a:cubicBezTo>
                    <a:pt x="67" y="137"/>
                    <a:pt x="67" y="137"/>
                    <a:pt x="67" y="137"/>
                  </a:cubicBezTo>
                  <a:cubicBezTo>
                    <a:pt x="68" y="142"/>
                    <a:pt x="69" y="148"/>
                    <a:pt x="69" y="153"/>
                  </a:cubicBezTo>
                  <a:cubicBezTo>
                    <a:pt x="105" y="150"/>
                    <a:pt x="105" y="150"/>
                    <a:pt x="105" y="150"/>
                  </a:cubicBezTo>
                  <a:cubicBezTo>
                    <a:pt x="105" y="167"/>
                    <a:pt x="105" y="167"/>
                    <a:pt x="105" y="167"/>
                  </a:cubicBezTo>
                  <a:cubicBezTo>
                    <a:pt x="38" y="174"/>
                    <a:pt x="38" y="174"/>
                    <a:pt x="38" y="174"/>
                  </a:cubicBezTo>
                  <a:cubicBezTo>
                    <a:pt x="38" y="156"/>
                    <a:pt x="38" y="156"/>
                    <a:pt x="38" y="156"/>
                  </a:cubicBezTo>
                  <a:cubicBezTo>
                    <a:pt x="58" y="154"/>
                    <a:pt x="58" y="154"/>
                    <a:pt x="58" y="154"/>
                  </a:cubicBezTo>
                  <a:cubicBezTo>
                    <a:pt x="58" y="149"/>
                    <a:pt x="57" y="143"/>
                    <a:pt x="56" y="138"/>
                  </a:cubicBezTo>
                  <a:cubicBezTo>
                    <a:pt x="38" y="140"/>
                    <a:pt x="38" y="140"/>
                    <a:pt x="38" y="140"/>
                  </a:cubicBezTo>
                  <a:cubicBezTo>
                    <a:pt x="38" y="122"/>
                    <a:pt x="38" y="122"/>
                    <a:pt x="38" y="122"/>
                  </a:cubicBezTo>
                  <a:cubicBezTo>
                    <a:pt x="105" y="116"/>
                    <a:pt x="105" y="116"/>
                    <a:pt x="105" y="116"/>
                  </a:cubicBezTo>
                  <a:close/>
                  <a:moveTo>
                    <a:pt x="105" y="184"/>
                  </a:moveTo>
                  <a:cubicBezTo>
                    <a:pt x="105" y="201"/>
                    <a:pt x="105" y="201"/>
                    <a:pt x="105" y="201"/>
                  </a:cubicBezTo>
                  <a:cubicBezTo>
                    <a:pt x="38" y="208"/>
                    <a:pt x="38" y="208"/>
                    <a:pt x="38" y="208"/>
                  </a:cubicBezTo>
                  <a:cubicBezTo>
                    <a:pt x="38" y="190"/>
                    <a:pt x="38" y="190"/>
                    <a:pt x="38" y="190"/>
                  </a:cubicBezTo>
                  <a:lnTo>
                    <a:pt x="105" y="184"/>
                  </a:lnTo>
                  <a:close/>
                  <a:moveTo>
                    <a:pt x="38" y="11"/>
                  </a:moveTo>
                  <a:cubicBezTo>
                    <a:pt x="0" y="15"/>
                    <a:pt x="0" y="15"/>
                    <a:pt x="0" y="15"/>
                  </a:cubicBezTo>
                  <a:cubicBezTo>
                    <a:pt x="4" y="54"/>
                    <a:pt x="8" y="93"/>
                    <a:pt x="12" y="132"/>
                  </a:cubicBezTo>
                  <a:cubicBezTo>
                    <a:pt x="16" y="171"/>
                    <a:pt x="20" y="209"/>
                    <a:pt x="24" y="248"/>
                  </a:cubicBezTo>
                  <a:cubicBezTo>
                    <a:pt x="38" y="247"/>
                    <a:pt x="38" y="247"/>
                    <a:pt x="38" y="247"/>
                  </a:cubicBezTo>
                  <a:cubicBezTo>
                    <a:pt x="38" y="223"/>
                    <a:pt x="38" y="223"/>
                    <a:pt x="38" y="223"/>
                  </a:cubicBezTo>
                  <a:cubicBezTo>
                    <a:pt x="37" y="208"/>
                    <a:pt x="37" y="208"/>
                    <a:pt x="37" y="208"/>
                  </a:cubicBezTo>
                  <a:cubicBezTo>
                    <a:pt x="38" y="208"/>
                    <a:pt x="38" y="208"/>
                    <a:pt x="38" y="208"/>
                  </a:cubicBezTo>
                  <a:cubicBezTo>
                    <a:pt x="38" y="190"/>
                    <a:pt x="38" y="190"/>
                    <a:pt x="38" y="190"/>
                  </a:cubicBezTo>
                  <a:cubicBezTo>
                    <a:pt x="35" y="191"/>
                    <a:pt x="35" y="191"/>
                    <a:pt x="35" y="191"/>
                  </a:cubicBezTo>
                  <a:cubicBezTo>
                    <a:pt x="35" y="185"/>
                    <a:pt x="34" y="180"/>
                    <a:pt x="33" y="174"/>
                  </a:cubicBezTo>
                  <a:cubicBezTo>
                    <a:pt x="38" y="174"/>
                    <a:pt x="38" y="174"/>
                    <a:pt x="38" y="174"/>
                  </a:cubicBezTo>
                  <a:cubicBezTo>
                    <a:pt x="38" y="156"/>
                    <a:pt x="38" y="156"/>
                    <a:pt x="38" y="156"/>
                  </a:cubicBezTo>
                  <a:cubicBezTo>
                    <a:pt x="32" y="157"/>
                    <a:pt x="32" y="157"/>
                    <a:pt x="32" y="157"/>
                  </a:cubicBezTo>
                  <a:cubicBezTo>
                    <a:pt x="31" y="152"/>
                    <a:pt x="31" y="146"/>
                    <a:pt x="30" y="140"/>
                  </a:cubicBezTo>
                  <a:cubicBezTo>
                    <a:pt x="38" y="140"/>
                    <a:pt x="38" y="140"/>
                    <a:pt x="38" y="140"/>
                  </a:cubicBezTo>
                  <a:cubicBezTo>
                    <a:pt x="38" y="122"/>
                    <a:pt x="38" y="122"/>
                    <a:pt x="38" y="122"/>
                  </a:cubicBezTo>
                  <a:cubicBezTo>
                    <a:pt x="28" y="123"/>
                    <a:pt x="28" y="123"/>
                    <a:pt x="28" y="123"/>
                  </a:cubicBezTo>
                  <a:cubicBezTo>
                    <a:pt x="28" y="118"/>
                    <a:pt x="27" y="112"/>
                    <a:pt x="27" y="107"/>
                  </a:cubicBezTo>
                  <a:cubicBezTo>
                    <a:pt x="38" y="106"/>
                    <a:pt x="38" y="106"/>
                    <a:pt x="38" y="106"/>
                  </a:cubicBezTo>
                  <a:cubicBezTo>
                    <a:pt x="38" y="88"/>
                    <a:pt x="38" y="88"/>
                    <a:pt x="38" y="88"/>
                  </a:cubicBezTo>
                  <a:cubicBezTo>
                    <a:pt x="25" y="90"/>
                    <a:pt x="25" y="90"/>
                    <a:pt x="25" y="90"/>
                  </a:cubicBezTo>
                  <a:cubicBezTo>
                    <a:pt x="24" y="84"/>
                    <a:pt x="24" y="79"/>
                    <a:pt x="23" y="73"/>
                  </a:cubicBezTo>
                  <a:cubicBezTo>
                    <a:pt x="38" y="72"/>
                    <a:pt x="38" y="72"/>
                    <a:pt x="38" y="72"/>
                  </a:cubicBezTo>
                  <a:cubicBezTo>
                    <a:pt x="38" y="54"/>
                    <a:pt x="38" y="54"/>
                    <a:pt x="38" y="54"/>
                  </a:cubicBezTo>
                  <a:cubicBezTo>
                    <a:pt x="21" y="56"/>
                    <a:pt x="21" y="56"/>
                    <a:pt x="21" y="56"/>
                  </a:cubicBezTo>
                  <a:cubicBezTo>
                    <a:pt x="21" y="51"/>
                    <a:pt x="20" y="45"/>
                    <a:pt x="20" y="39"/>
                  </a:cubicBezTo>
                  <a:cubicBezTo>
                    <a:pt x="38" y="37"/>
                    <a:pt x="38" y="37"/>
                    <a:pt x="38" y="37"/>
                  </a:cubicBezTo>
                  <a:lnTo>
                    <a:pt x="38" y="11"/>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3" name="îšľîḓé">
              <a:extLst>
                <a:ext uri="{FF2B5EF4-FFF2-40B4-BE49-F238E27FC236}">
                  <a16:creationId xmlns:a16="http://schemas.microsoft.com/office/drawing/2014/main" id="{07367467-E54D-4C49-A95C-57486E4C3F1F}"/>
                </a:ext>
              </a:extLst>
            </p:cNvPr>
            <p:cNvSpPr/>
            <p:nvPr/>
          </p:nvSpPr>
          <p:spPr bwMode="auto">
            <a:xfrm flipH="1">
              <a:off x="3237915" y="1851158"/>
              <a:ext cx="302756" cy="783794"/>
            </a:xfrm>
            <a:custGeom>
              <a:avLst/>
              <a:gdLst>
                <a:gd name="T0" fmla="*/ 154 w 181"/>
                <a:gd name="T1" fmla="*/ 0 h 480"/>
                <a:gd name="T2" fmla="*/ 154 w 181"/>
                <a:gd name="T3" fmla="*/ 407 h 480"/>
                <a:gd name="T4" fmla="*/ 123 w 181"/>
                <a:gd name="T5" fmla="*/ 20 h 480"/>
                <a:gd name="T6" fmla="*/ 125 w 181"/>
                <a:gd name="T7" fmla="*/ 121 h 480"/>
                <a:gd name="T8" fmla="*/ 127 w 181"/>
                <a:gd name="T9" fmla="*/ 55 h 480"/>
                <a:gd name="T10" fmla="*/ 125 w 181"/>
                <a:gd name="T11" fmla="*/ 221 h 480"/>
                <a:gd name="T12" fmla="*/ 128 w 181"/>
                <a:gd name="T13" fmla="*/ 206 h 480"/>
                <a:gd name="T14" fmla="*/ 123 w 181"/>
                <a:gd name="T15" fmla="*/ 156 h 480"/>
                <a:gd name="T16" fmla="*/ 130 w 181"/>
                <a:gd name="T17" fmla="*/ 322 h 480"/>
                <a:gd name="T18" fmla="*/ 122 w 181"/>
                <a:gd name="T19" fmla="*/ 307 h 480"/>
                <a:gd name="T20" fmla="*/ 130 w 181"/>
                <a:gd name="T21" fmla="*/ 256 h 480"/>
                <a:gd name="T22" fmla="*/ 128 w 181"/>
                <a:gd name="T23" fmla="*/ 357 h 480"/>
                <a:gd name="T24" fmla="*/ 117 w 181"/>
                <a:gd name="T25" fmla="*/ 20 h 480"/>
                <a:gd name="T26" fmla="*/ 119 w 181"/>
                <a:gd name="T27" fmla="*/ 55 h 480"/>
                <a:gd name="T28" fmla="*/ 119 w 181"/>
                <a:gd name="T29" fmla="*/ 121 h 480"/>
                <a:gd name="T30" fmla="*/ 119 w 181"/>
                <a:gd name="T31" fmla="*/ 156 h 480"/>
                <a:gd name="T32" fmla="*/ 119 w 181"/>
                <a:gd name="T33" fmla="*/ 171 h 480"/>
                <a:gd name="T34" fmla="*/ 118 w 181"/>
                <a:gd name="T35" fmla="*/ 221 h 480"/>
                <a:gd name="T36" fmla="*/ 120 w 181"/>
                <a:gd name="T37" fmla="*/ 206 h 480"/>
                <a:gd name="T38" fmla="*/ 120 w 181"/>
                <a:gd name="T39" fmla="*/ 256 h 480"/>
                <a:gd name="T40" fmla="*/ 118 w 181"/>
                <a:gd name="T41" fmla="*/ 322 h 480"/>
                <a:gd name="T42" fmla="*/ 120 w 181"/>
                <a:gd name="T43" fmla="*/ 357 h 480"/>
                <a:gd name="T44" fmla="*/ 95 w 181"/>
                <a:gd name="T45" fmla="*/ 20 h 480"/>
                <a:gd name="T46" fmla="*/ 96 w 181"/>
                <a:gd name="T47" fmla="*/ 70 h 480"/>
                <a:gd name="T48" fmla="*/ 92 w 181"/>
                <a:gd name="T49" fmla="*/ 55 h 480"/>
                <a:gd name="T50" fmla="*/ 91 w 181"/>
                <a:gd name="T51" fmla="*/ 105 h 480"/>
                <a:gd name="T52" fmla="*/ 97 w 181"/>
                <a:gd name="T53" fmla="*/ 221 h 480"/>
                <a:gd name="T54" fmla="*/ 97 w 181"/>
                <a:gd name="T55" fmla="*/ 272 h 480"/>
                <a:gd name="T56" fmla="*/ 91 w 181"/>
                <a:gd name="T57" fmla="*/ 256 h 480"/>
                <a:gd name="T58" fmla="*/ 91 w 181"/>
                <a:gd name="T59" fmla="*/ 407 h 480"/>
                <a:gd name="T60" fmla="*/ 95 w 181"/>
                <a:gd name="T61" fmla="*/ 372 h 480"/>
                <a:gd name="T62" fmla="*/ 94 w 181"/>
                <a:gd name="T63" fmla="*/ 307 h 480"/>
                <a:gd name="T64" fmla="*/ 87 w 181"/>
                <a:gd name="T65" fmla="*/ 20 h 480"/>
                <a:gd name="T66" fmla="*/ 87 w 181"/>
                <a:gd name="T67" fmla="*/ 55 h 480"/>
                <a:gd name="T68" fmla="*/ 86 w 181"/>
                <a:gd name="T69" fmla="*/ 70 h 480"/>
                <a:gd name="T70" fmla="*/ 61 w 181"/>
                <a:gd name="T71" fmla="*/ 70 h 480"/>
                <a:gd name="T72" fmla="*/ 63 w 181"/>
                <a:gd name="T73" fmla="*/ 458 h 480"/>
                <a:gd name="T74" fmla="*/ 63 w 181"/>
                <a:gd name="T75" fmla="*/ 171 h 480"/>
                <a:gd name="T76" fmla="*/ 62 w 181"/>
                <a:gd name="T77" fmla="*/ 105 h 480"/>
                <a:gd name="T78" fmla="*/ 87 w 181"/>
                <a:gd name="T79" fmla="*/ 105 h 480"/>
                <a:gd name="T80" fmla="*/ 86 w 181"/>
                <a:gd name="T81" fmla="*/ 221 h 480"/>
                <a:gd name="T82" fmla="*/ 88 w 181"/>
                <a:gd name="T83" fmla="*/ 256 h 480"/>
                <a:gd name="T84" fmla="*/ 85 w 181"/>
                <a:gd name="T85" fmla="*/ 272 h 480"/>
                <a:gd name="T86" fmla="*/ 60 w 181"/>
                <a:gd name="T87" fmla="*/ 272 h 480"/>
                <a:gd name="T88" fmla="*/ 65 w 181"/>
                <a:gd name="T89" fmla="*/ 206 h 480"/>
                <a:gd name="T90" fmla="*/ 84 w 181"/>
                <a:gd name="T91" fmla="*/ 372 h 480"/>
                <a:gd name="T92" fmla="*/ 59 w 181"/>
                <a:gd name="T93" fmla="*/ 372 h 480"/>
                <a:gd name="T94" fmla="*/ 65 w 181"/>
                <a:gd name="T95" fmla="*/ 307 h 480"/>
                <a:gd name="T96" fmla="*/ 90 w 181"/>
                <a:gd name="T97" fmla="*/ 407 h 480"/>
                <a:gd name="T98" fmla="*/ 59 w 181"/>
                <a:gd name="T99" fmla="*/ 407 h 480"/>
                <a:gd name="T100" fmla="*/ 84 w 181"/>
                <a:gd name="T101" fmla="*/ 407 h 480"/>
                <a:gd name="T102" fmla="*/ 57 w 181"/>
                <a:gd name="T103" fmla="*/ 70 h 480"/>
                <a:gd name="T104" fmla="*/ 54 w 181"/>
                <a:gd name="T105" fmla="*/ 105 h 480"/>
                <a:gd name="T106" fmla="*/ 57 w 181"/>
                <a:gd name="T107" fmla="*/ 171 h 480"/>
                <a:gd name="T108" fmla="*/ 59 w 181"/>
                <a:gd name="T109" fmla="*/ 480 h 480"/>
                <a:gd name="T110" fmla="*/ 58 w 181"/>
                <a:gd name="T111" fmla="*/ 407 h 480"/>
                <a:gd name="T112" fmla="*/ 52 w 181"/>
                <a:gd name="T113" fmla="*/ 423 h 480"/>
                <a:gd name="T114" fmla="*/ 52 w 181"/>
                <a:gd name="T115" fmla="*/ 221 h 480"/>
                <a:gd name="T116" fmla="*/ 52 w 181"/>
                <a:gd name="T117" fmla="*/ 307 h 480"/>
                <a:gd name="T118" fmla="*/ 59 w 181"/>
                <a:gd name="T119" fmla="*/ 357 h 480"/>
                <a:gd name="T120" fmla="*/ 27 w 181"/>
                <a:gd name="T121" fmla="*/ 357 h 480"/>
                <a:gd name="T122" fmla="*/ 57 w 181"/>
                <a:gd name="T123" fmla="*/ 206 h 480"/>
                <a:gd name="T124" fmla="*/ 27 w 181"/>
                <a:gd name="T125" fmla="*/ 423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480">
                  <a:moveTo>
                    <a:pt x="154" y="0"/>
                  </a:moveTo>
                  <a:cubicBezTo>
                    <a:pt x="181" y="0"/>
                    <a:pt x="181" y="0"/>
                    <a:pt x="181" y="0"/>
                  </a:cubicBezTo>
                  <a:cubicBezTo>
                    <a:pt x="181" y="80"/>
                    <a:pt x="181" y="160"/>
                    <a:pt x="181" y="240"/>
                  </a:cubicBezTo>
                  <a:cubicBezTo>
                    <a:pt x="181" y="320"/>
                    <a:pt x="181" y="400"/>
                    <a:pt x="181" y="480"/>
                  </a:cubicBezTo>
                  <a:cubicBezTo>
                    <a:pt x="154" y="480"/>
                    <a:pt x="154" y="480"/>
                    <a:pt x="154" y="480"/>
                  </a:cubicBezTo>
                  <a:cubicBezTo>
                    <a:pt x="154" y="458"/>
                    <a:pt x="154" y="458"/>
                    <a:pt x="154" y="458"/>
                  </a:cubicBezTo>
                  <a:cubicBezTo>
                    <a:pt x="162" y="458"/>
                    <a:pt x="162" y="458"/>
                    <a:pt x="162" y="458"/>
                  </a:cubicBezTo>
                  <a:cubicBezTo>
                    <a:pt x="162" y="446"/>
                    <a:pt x="162" y="434"/>
                    <a:pt x="162" y="423"/>
                  </a:cubicBezTo>
                  <a:cubicBezTo>
                    <a:pt x="154" y="423"/>
                    <a:pt x="154" y="423"/>
                    <a:pt x="154" y="423"/>
                  </a:cubicBezTo>
                  <a:cubicBezTo>
                    <a:pt x="154" y="407"/>
                    <a:pt x="154" y="407"/>
                    <a:pt x="154" y="407"/>
                  </a:cubicBezTo>
                  <a:cubicBezTo>
                    <a:pt x="162" y="407"/>
                    <a:pt x="162" y="407"/>
                    <a:pt x="162" y="407"/>
                  </a:cubicBezTo>
                  <a:cubicBezTo>
                    <a:pt x="162" y="396"/>
                    <a:pt x="162" y="384"/>
                    <a:pt x="162" y="372"/>
                  </a:cubicBezTo>
                  <a:cubicBezTo>
                    <a:pt x="154" y="372"/>
                    <a:pt x="154" y="372"/>
                    <a:pt x="154" y="372"/>
                  </a:cubicBezTo>
                  <a:cubicBezTo>
                    <a:pt x="154" y="357"/>
                    <a:pt x="154" y="357"/>
                    <a:pt x="154" y="357"/>
                  </a:cubicBezTo>
                  <a:cubicBezTo>
                    <a:pt x="162" y="357"/>
                    <a:pt x="162" y="357"/>
                    <a:pt x="162" y="357"/>
                  </a:cubicBezTo>
                  <a:cubicBezTo>
                    <a:pt x="162" y="345"/>
                    <a:pt x="162" y="334"/>
                    <a:pt x="162" y="322"/>
                  </a:cubicBezTo>
                  <a:cubicBezTo>
                    <a:pt x="154" y="322"/>
                    <a:pt x="154" y="322"/>
                    <a:pt x="154" y="322"/>
                  </a:cubicBezTo>
                  <a:cubicBezTo>
                    <a:pt x="154" y="307"/>
                    <a:pt x="154" y="307"/>
                    <a:pt x="154" y="307"/>
                  </a:cubicBezTo>
                  <a:cubicBezTo>
                    <a:pt x="162" y="307"/>
                    <a:pt x="162" y="307"/>
                    <a:pt x="162" y="307"/>
                  </a:cubicBezTo>
                  <a:cubicBezTo>
                    <a:pt x="162" y="295"/>
                    <a:pt x="162" y="283"/>
                    <a:pt x="162" y="272"/>
                  </a:cubicBezTo>
                  <a:cubicBezTo>
                    <a:pt x="154" y="272"/>
                    <a:pt x="154" y="272"/>
                    <a:pt x="154" y="272"/>
                  </a:cubicBezTo>
                  <a:cubicBezTo>
                    <a:pt x="154" y="256"/>
                    <a:pt x="154" y="256"/>
                    <a:pt x="154" y="256"/>
                  </a:cubicBezTo>
                  <a:cubicBezTo>
                    <a:pt x="162" y="256"/>
                    <a:pt x="162" y="256"/>
                    <a:pt x="162" y="256"/>
                  </a:cubicBezTo>
                  <a:cubicBezTo>
                    <a:pt x="162" y="245"/>
                    <a:pt x="162" y="233"/>
                    <a:pt x="162" y="221"/>
                  </a:cubicBezTo>
                  <a:cubicBezTo>
                    <a:pt x="154" y="221"/>
                    <a:pt x="154" y="221"/>
                    <a:pt x="154" y="221"/>
                  </a:cubicBezTo>
                  <a:cubicBezTo>
                    <a:pt x="154" y="206"/>
                    <a:pt x="154" y="206"/>
                    <a:pt x="154" y="206"/>
                  </a:cubicBezTo>
                  <a:cubicBezTo>
                    <a:pt x="162" y="206"/>
                    <a:pt x="162" y="206"/>
                    <a:pt x="162" y="206"/>
                  </a:cubicBezTo>
                  <a:cubicBezTo>
                    <a:pt x="162" y="194"/>
                    <a:pt x="162" y="183"/>
                    <a:pt x="162" y="171"/>
                  </a:cubicBezTo>
                  <a:cubicBezTo>
                    <a:pt x="154" y="171"/>
                    <a:pt x="154" y="171"/>
                    <a:pt x="154" y="171"/>
                  </a:cubicBezTo>
                  <a:cubicBezTo>
                    <a:pt x="154" y="156"/>
                    <a:pt x="154" y="156"/>
                    <a:pt x="154" y="156"/>
                  </a:cubicBezTo>
                  <a:cubicBezTo>
                    <a:pt x="162" y="156"/>
                    <a:pt x="162" y="156"/>
                    <a:pt x="162" y="156"/>
                  </a:cubicBezTo>
                  <a:cubicBezTo>
                    <a:pt x="162" y="144"/>
                    <a:pt x="162" y="132"/>
                    <a:pt x="162" y="121"/>
                  </a:cubicBezTo>
                  <a:cubicBezTo>
                    <a:pt x="154" y="121"/>
                    <a:pt x="154" y="121"/>
                    <a:pt x="154" y="121"/>
                  </a:cubicBezTo>
                  <a:cubicBezTo>
                    <a:pt x="154" y="105"/>
                    <a:pt x="154" y="105"/>
                    <a:pt x="154" y="105"/>
                  </a:cubicBezTo>
                  <a:cubicBezTo>
                    <a:pt x="162" y="105"/>
                    <a:pt x="162" y="105"/>
                    <a:pt x="162" y="105"/>
                  </a:cubicBezTo>
                  <a:cubicBezTo>
                    <a:pt x="162" y="94"/>
                    <a:pt x="162" y="82"/>
                    <a:pt x="162" y="70"/>
                  </a:cubicBezTo>
                  <a:cubicBezTo>
                    <a:pt x="154" y="70"/>
                    <a:pt x="154" y="70"/>
                    <a:pt x="154" y="70"/>
                  </a:cubicBezTo>
                  <a:cubicBezTo>
                    <a:pt x="154" y="55"/>
                    <a:pt x="154" y="55"/>
                    <a:pt x="154" y="55"/>
                  </a:cubicBezTo>
                  <a:cubicBezTo>
                    <a:pt x="162" y="55"/>
                    <a:pt x="162" y="55"/>
                    <a:pt x="162" y="55"/>
                  </a:cubicBezTo>
                  <a:cubicBezTo>
                    <a:pt x="162" y="43"/>
                    <a:pt x="162" y="32"/>
                    <a:pt x="162" y="20"/>
                  </a:cubicBezTo>
                  <a:cubicBezTo>
                    <a:pt x="154" y="20"/>
                    <a:pt x="154" y="20"/>
                    <a:pt x="154" y="20"/>
                  </a:cubicBezTo>
                  <a:lnTo>
                    <a:pt x="154" y="0"/>
                  </a:lnTo>
                  <a:close/>
                  <a:moveTo>
                    <a:pt x="138" y="0"/>
                  </a:moveTo>
                  <a:cubicBezTo>
                    <a:pt x="154" y="0"/>
                    <a:pt x="154" y="0"/>
                    <a:pt x="154" y="0"/>
                  </a:cubicBezTo>
                  <a:cubicBezTo>
                    <a:pt x="154" y="20"/>
                    <a:pt x="154" y="20"/>
                    <a:pt x="154" y="20"/>
                  </a:cubicBezTo>
                  <a:cubicBezTo>
                    <a:pt x="138" y="20"/>
                    <a:pt x="138" y="20"/>
                    <a:pt x="138" y="20"/>
                  </a:cubicBezTo>
                  <a:cubicBezTo>
                    <a:pt x="138" y="0"/>
                    <a:pt x="138" y="0"/>
                    <a:pt x="138" y="0"/>
                  </a:cubicBezTo>
                  <a:close/>
                  <a:moveTo>
                    <a:pt x="154" y="480"/>
                  </a:moveTo>
                  <a:cubicBezTo>
                    <a:pt x="138" y="480"/>
                    <a:pt x="138" y="480"/>
                    <a:pt x="138" y="480"/>
                  </a:cubicBezTo>
                  <a:cubicBezTo>
                    <a:pt x="138" y="458"/>
                    <a:pt x="138" y="458"/>
                    <a:pt x="138" y="458"/>
                  </a:cubicBezTo>
                  <a:cubicBezTo>
                    <a:pt x="154" y="458"/>
                    <a:pt x="154" y="458"/>
                    <a:pt x="154" y="458"/>
                  </a:cubicBezTo>
                  <a:cubicBezTo>
                    <a:pt x="154" y="480"/>
                    <a:pt x="154" y="480"/>
                    <a:pt x="154" y="480"/>
                  </a:cubicBezTo>
                  <a:close/>
                  <a:moveTo>
                    <a:pt x="154" y="55"/>
                  </a:moveTo>
                  <a:cubicBezTo>
                    <a:pt x="154" y="70"/>
                    <a:pt x="154" y="70"/>
                    <a:pt x="154" y="70"/>
                  </a:cubicBezTo>
                  <a:cubicBezTo>
                    <a:pt x="147" y="70"/>
                    <a:pt x="147" y="70"/>
                    <a:pt x="147" y="70"/>
                  </a:cubicBezTo>
                  <a:cubicBezTo>
                    <a:pt x="147" y="82"/>
                    <a:pt x="147" y="94"/>
                    <a:pt x="147" y="105"/>
                  </a:cubicBezTo>
                  <a:cubicBezTo>
                    <a:pt x="154" y="105"/>
                    <a:pt x="154" y="105"/>
                    <a:pt x="154" y="105"/>
                  </a:cubicBezTo>
                  <a:cubicBezTo>
                    <a:pt x="154" y="121"/>
                    <a:pt x="154" y="121"/>
                    <a:pt x="154" y="121"/>
                  </a:cubicBezTo>
                  <a:cubicBezTo>
                    <a:pt x="138" y="121"/>
                    <a:pt x="138" y="121"/>
                    <a:pt x="138" y="121"/>
                  </a:cubicBezTo>
                  <a:cubicBezTo>
                    <a:pt x="138" y="55"/>
                    <a:pt x="138" y="55"/>
                    <a:pt x="138" y="55"/>
                  </a:cubicBezTo>
                  <a:cubicBezTo>
                    <a:pt x="154" y="55"/>
                    <a:pt x="154" y="55"/>
                    <a:pt x="154" y="55"/>
                  </a:cubicBezTo>
                  <a:close/>
                  <a:moveTo>
                    <a:pt x="154" y="156"/>
                  </a:moveTo>
                  <a:cubicBezTo>
                    <a:pt x="154" y="171"/>
                    <a:pt x="154" y="171"/>
                    <a:pt x="154" y="171"/>
                  </a:cubicBezTo>
                  <a:cubicBezTo>
                    <a:pt x="147" y="171"/>
                    <a:pt x="147" y="171"/>
                    <a:pt x="147" y="171"/>
                  </a:cubicBezTo>
                  <a:cubicBezTo>
                    <a:pt x="147" y="183"/>
                    <a:pt x="147" y="194"/>
                    <a:pt x="147" y="206"/>
                  </a:cubicBezTo>
                  <a:cubicBezTo>
                    <a:pt x="154" y="206"/>
                    <a:pt x="154" y="206"/>
                    <a:pt x="154" y="206"/>
                  </a:cubicBezTo>
                  <a:cubicBezTo>
                    <a:pt x="154" y="221"/>
                    <a:pt x="154" y="221"/>
                    <a:pt x="154" y="221"/>
                  </a:cubicBezTo>
                  <a:cubicBezTo>
                    <a:pt x="138" y="221"/>
                    <a:pt x="138" y="221"/>
                    <a:pt x="138" y="221"/>
                  </a:cubicBezTo>
                  <a:cubicBezTo>
                    <a:pt x="138" y="156"/>
                    <a:pt x="138" y="156"/>
                    <a:pt x="138" y="156"/>
                  </a:cubicBezTo>
                  <a:cubicBezTo>
                    <a:pt x="154" y="156"/>
                    <a:pt x="154" y="156"/>
                    <a:pt x="154" y="156"/>
                  </a:cubicBezTo>
                  <a:close/>
                  <a:moveTo>
                    <a:pt x="154" y="256"/>
                  </a:moveTo>
                  <a:cubicBezTo>
                    <a:pt x="154" y="272"/>
                    <a:pt x="154" y="272"/>
                    <a:pt x="154" y="272"/>
                  </a:cubicBezTo>
                  <a:cubicBezTo>
                    <a:pt x="147" y="272"/>
                    <a:pt x="147" y="272"/>
                    <a:pt x="147" y="272"/>
                  </a:cubicBezTo>
                  <a:cubicBezTo>
                    <a:pt x="147" y="283"/>
                    <a:pt x="147" y="295"/>
                    <a:pt x="147" y="307"/>
                  </a:cubicBezTo>
                  <a:cubicBezTo>
                    <a:pt x="154" y="307"/>
                    <a:pt x="154" y="307"/>
                    <a:pt x="154" y="307"/>
                  </a:cubicBezTo>
                  <a:cubicBezTo>
                    <a:pt x="154" y="322"/>
                    <a:pt x="154" y="322"/>
                    <a:pt x="154" y="322"/>
                  </a:cubicBezTo>
                  <a:cubicBezTo>
                    <a:pt x="138" y="322"/>
                    <a:pt x="138" y="322"/>
                    <a:pt x="138" y="322"/>
                  </a:cubicBezTo>
                  <a:cubicBezTo>
                    <a:pt x="138" y="256"/>
                    <a:pt x="138" y="256"/>
                    <a:pt x="138" y="256"/>
                  </a:cubicBezTo>
                  <a:cubicBezTo>
                    <a:pt x="154" y="256"/>
                    <a:pt x="154" y="256"/>
                    <a:pt x="154" y="256"/>
                  </a:cubicBezTo>
                  <a:close/>
                  <a:moveTo>
                    <a:pt x="154" y="357"/>
                  </a:moveTo>
                  <a:cubicBezTo>
                    <a:pt x="154" y="372"/>
                    <a:pt x="154" y="372"/>
                    <a:pt x="154" y="372"/>
                  </a:cubicBezTo>
                  <a:cubicBezTo>
                    <a:pt x="147" y="372"/>
                    <a:pt x="147" y="372"/>
                    <a:pt x="147" y="372"/>
                  </a:cubicBezTo>
                  <a:cubicBezTo>
                    <a:pt x="147" y="384"/>
                    <a:pt x="147" y="396"/>
                    <a:pt x="147" y="407"/>
                  </a:cubicBezTo>
                  <a:cubicBezTo>
                    <a:pt x="154" y="407"/>
                    <a:pt x="154" y="407"/>
                    <a:pt x="154" y="407"/>
                  </a:cubicBezTo>
                  <a:cubicBezTo>
                    <a:pt x="154" y="423"/>
                    <a:pt x="154" y="423"/>
                    <a:pt x="154" y="423"/>
                  </a:cubicBezTo>
                  <a:cubicBezTo>
                    <a:pt x="138" y="423"/>
                    <a:pt x="138" y="423"/>
                    <a:pt x="138" y="423"/>
                  </a:cubicBezTo>
                  <a:cubicBezTo>
                    <a:pt x="138" y="357"/>
                    <a:pt x="138" y="357"/>
                    <a:pt x="138" y="357"/>
                  </a:cubicBezTo>
                  <a:lnTo>
                    <a:pt x="154" y="357"/>
                  </a:lnTo>
                  <a:close/>
                  <a:moveTo>
                    <a:pt x="122" y="0"/>
                  </a:moveTo>
                  <a:cubicBezTo>
                    <a:pt x="138" y="0"/>
                    <a:pt x="138" y="0"/>
                    <a:pt x="138" y="0"/>
                  </a:cubicBezTo>
                  <a:cubicBezTo>
                    <a:pt x="138" y="20"/>
                    <a:pt x="138" y="20"/>
                    <a:pt x="138" y="20"/>
                  </a:cubicBezTo>
                  <a:cubicBezTo>
                    <a:pt x="130" y="20"/>
                    <a:pt x="130" y="20"/>
                    <a:pt x="130" y="20"/>
                  </a:cubicBezTo>
                  <a:cubicBezTo>
                    <a:pt x="129" y="20"/>
                    <a:pt x="129" y="20"/>
                    <a:pt x="129" y="20"/>
                  </a:cubicBezTo>
                  <a:cubicBezTo>
                    <a:pt x="129" y="20"/>
                    <a:pt x="129" y="20"/>
                    <a:pt x="129" y="20"/>
                  </a:cubicBezTo>
                  <a:cubicBezTo>
                    <a:pt x="129" y="20"/>
                    <a:pt x="129" y="20"/>
                    <a:pt x="129" y="20"/>
                  </a:cubicBezTo>
                  <a:cubicBezTo>
                    <a:pt x="129" y="20"/>
                    <a:pt x="129" y="20"/>
                    <a:pt x="129" y="20"/>
                  </a:cubicBezTo>
                  <a:cubicBezTo>
                    <a:pt x="129" y="20"/>
                    <a:pt x="129" y="20"/>
                    <a:pt x="129" y="20"/>
                  </a:cubicBezTo>
                  <a:cubicBezTo>
                    <a:pt x="128" y="20"/>
                    <a:pt x="128" y="20"/>
                    <a:pt x="128" y="20"/>
                  </a:cubicBezTo>
                  <a:cubicBezTo>
                    <a:pt x="128" y="20"/>
                    <a:pt x="128" y="20"/>
                    <a:pt x="128" y="20"/>
                  </a:cubicBezTo>
                  <a:cubicBezTo>
                    <a:pt x="128" y="20"/>
                    <a:pt x="128" y="20"/>
                    <a:pt x="128" y="20"/>
                  </a:cubicBezTo>
                  <a:cubicBezTo>
                    <a:pt x="128" y="20"/>
                    <a:pt x="128" y="20"/>
                    <a:pt x="128" y="20"/>
                  </a:cubicBezTo>
                  <a:cubicBezTo>
                    <a:pt x="128" y="20"/>
                    <a:pt x="128" y="20"/>
                    <a:pt x="128" y="20"/>
                  </a:cubicBezTo>
                  <a:cubicBezTo>
                    <a:pt x="127" y="20"/>
                    <a:pt x="127" y="20"/>
                    <a:pt x="127" y="20"/>
                  </a:cubicBezTo>
                  <a:cubicBezTo>
                    <a:pt x="127" y="20"/>
                    <a:pt x="127" y="20"/>
                    <a:pt x="127" y="20"/>
                  </a:cubicBezTo>
                  <a:cubicBezTo>
                    <a:pt x="127" y="20"/>
                    <a:pt x="127" y="20"/>
                    <a:pt x="127" y="20"/>
                  </a:cubicBezTo>
                  <a:cubicBezTo>
                    <a:pt x="127" y="20"/>
                    <a:pt x="127" y="20"/>
                    <a:pt x="127" y="20"/>
                  </a:cubicBezTo>
                  <a:cubicBezTo>
                    <a:pt x="127" y="20"/>
                    <a:pt x="127" y="20"/>
                    <a:pt x="127" y="20"/>
                  </a:cubicBezTo>
                  <a:cubicBezTo>
                    <a:pt x="126" y="20"/>
                    <a:pt x="126" y="20"/>
                    <a:pt x="126" y="20"/>
                  </a:cubicBezTo>
                  <a:cubicBezTo>
                    <a:pt x="126" y="20"/>
                    <a:pt x="126" y="20"/>
                    <a:pt x="126" y="20"/>
                  </a:cubicBezTo>
                  <a:cubicBezTo>
                    <a:pt x="126" y="20"/>
                    <a:pt x="126" y="20"/>
                    <a:pt x="126" y="20"/>
                  </a:cubicBezTo>
                  <a:cubicBezTo>
                    <a:pt x="126" y="20"/>
                    <a:pt x="126" y="20"/>
                    <a:pt x="126" y="20"/>
                  </a:cubicBezTo>
                  <a:cubicBezTo>
                    <a:pt x="126" y="20"/>
                    <a:pt x="126" y="20"/>
                    <a:pt x="126"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5" y="20"/>
                    <a:pt x="125" y="20"/>
                    <a:pt x="125" y="20"/>
                  </a:cubicBezTo>
                  <a:cubicBezTo>
                    <a:pt x="124" y="20"/>
                    <a:pt x="124" y="20"/>
                    <a:pt x="124" y="20"/>
                  </a:cubicBezTo>
                  <a:cubicBezTo>
                    <a:pt x="124" y="20"/>
                    <a:pt x="124" y="20"/>
                    <a:pt x="124" y="20"/>
                  </a:cubicBezTo>
                  <a:cubicBezTo>
                    <a:pt x="124" y="20"/>
                    <a:pt x="124" y="20"/>
                    <a:pt x="124" y="20"/>
                  </a:cubicBezTo>
                  <a:cubicBezTo>
                    <a:pt x="124" y="20"/>
                    <a:pt x="124" y="20"/>
                    <a:pt x="124" y="20"/>
                  </a:cubicBezTo>
                  <a:cubicBezTo>
                    <a:pt x="124" y="20"/>
                    <a:pt x="124" y="20"/>
                    <a:pt x="124" y="20"/>
                  </a:cubicBezTo>
                  <a:cubicBezTo>
                    <a:pt x="123" y="20"/>
                    <a:pt x="123" y="20"/>
                    <a:pt x="123" y="20"/>
                  </a:cubicBezTo>
                  <a:cubicBezTo>
                    <a:pt x="123" y="20"/>
                    <a:pt x="123" y="20"/>
                    <a:pt x="123" y="20"/>
                  </a:cubicBezTo>
                  <a:cubicBezTo>
                    <a:pt x="123" y="20"/>
                    <a:pt x="123" y="20"/>
                    <a:pt x="123" y="20"/>
                  </a:cubicBezTo>
                  <a:cubicBezTo>
                    <a:pt x="123" y="20"/>
                    <a:pt x="123" y="20"/>
                    <a:pt x="123" y="20"/>
                  </a:cubicBezTo>
                  <a:cubicBezTo>
                    <a:pt x="123" y="20"/>
                    <a:pt x="123" y="20"/>
                    <a:pt x="123" y="20"/>
                  </a:cubicBezTo>
                  <a:cubicBezTo>
                    <a:pt x="122" y="20"/>
                    <a:pt x="122" y="20"/>
                    <a:pt x="122" y="20"/>
                  </a:cubicBezTo>
                  <a:cubicBezTo>
                    <a:pt x="122" y="20"/>
                    <a:pt x="122" y="20"/>
                    <a:pt x="122" y="20"/>
                  </a:cubicBezTo>
                  <a:cubicBezTo>
                    <a:pt x="122" y="0"/>
                    <a:pt x="122" y="0"/>
                    <a:pt x="122" y="0"/>
                  </a:cubicBezTo>
                  <a:close/>
                  <a:moveTo>
                    <a:pt x="138" y="480"/>
                  </a:moveTo>
                  <a:cubicBezTo>
                    <a:pt x="122" y="480"/>
                    <a:pt x="122" y="480"/>
                    <a:pt x="122" y="480"/>
                  </a:cubicBezTo>
                  <a:cubicBezTo>
                    <a:pt x="122" y="458"/>
                    <a:pt x="122" y="458"/>
                    <a:pt x="122" y="458"/>
                  </a:cubicBezTo>
                  <a:cubicBezTo>
                    <a:pt x="130" y="458"/>
                    <a:pt x="130" y="458"/>
                    <a:pt x="130" y="458"/>
                  </a:cubicBezTo>
                  <a:cubicBezTo>
                    <a:pt x="138" y="458"/>
                    <a:pt x="138" y="458"/>
                    <a:pt x="138" y="458"/>
                  </a:cubicBezTo>
                  <a:cubicBezTo>
                    <a:pt x="138" y="480"/>
                    <a:pt x="138" y="480"/>
                    <a:pt x="138" y="480"/>
                  </a:cubicBezTo>
                  <a:close/>
                  <a:moveTo>
                    <a:pt x="138" y="55"/>
                  </a:moveTo>
                  <a:cubicBezTo>
                    <a:pt x="138" y="121"/>
                    <a:pt x="138" y="121"/>
                    <a:pt x="138" y="121"/>
                  </a:cubicBezTo>
                  <a:cubicBezTo>
                    <a:pt x="130" y="121"/>
                    <a:pt x="130" y="121"/>
                    <a:pt x="130" y="121"/>
                  </a:cubicBezTo>
                  <a:cubicBezTo>
                    <a:pt x="129" y="121"/>
                    <a:pt x="129" y="121"/>
                    <a:pt x="129" y="121"/>
                  </a:cubicBezTo>
                  <a:cubicBezTo>
                    <a:pt x="129" y="121"/>
                    <a:pt x="129" y="121"/>
                    <a:pt x="129" y="121"/>
                  </a:cubicBezTo>
                  <a:cubicBezTo>
                    <a:pt x="129" y="121"/>
                    <a:pt x="129" y="121"/>
                    <a:pt x="129" y="121"/>
                  </a:cubicBezTo>
                  <a:cubicBezTo>
                    <a:pt x="129" y="121"/>
                    <a:pt x="129" y="121"/>
                    <a:pt x="129" y="121"/>
                  </a:cubicBezTo>
                  <a:cubicBezTo>
                    <a:pt x="129" y="121"/>
                    <a:pt x="129" y="121"/>
                    <a:pt x="129" y="121"/>
                  </a:cubicBezTo>
                  <a:cubicBezTo>
                    <a:pt x="128" y="121"/>
                    <a:pt x="128" y="121"/>
                    <a:pt x="128" y="121"/>
                  </a:cubicBezTo>
                  <a:cubicBezTo>
                    <a:pt x="128" y="121"/>
                    <a:pt x="128" y="121"/>
                    <a:pt x="128" y="121"/>
                  </a:cubicBezTo>
                  <a:cubicBezTo>
                    <a:pt x="128" y="121"/>
                    <a:pt x="128" y="121"/>
                    <a:pt x="128" y="121"/>
                  </a:cubicBezTo>
                  <a:cubicBezTo>
                    <a:pt x="128" y="121"/>
                    <a:pt x="128" y="121"/>
                    <a:pt x="128" y="121"/>
                  </a:cubicBezTo>
                  <a:cubicBezTo>
                    <a:pt x="128" y="121"/>
                    <a:pt x="128" y="121"/>
                    <a:pt x="128" y="121"/>
                  </a:cubicBezTo>
                  <a:cubicBezTo>
                    <a:pt x="128" y="121"/>
                    <a:pt x="128" y="121"/>
                    <a:pt x="128" y="121"/>
                  </a:cubicBezTo>
                  <a:cubicBezTo>
                    <a:pt x="127" y="121"/>
                    <a:pt x="127" y="121"/>
                    <a:pt x="127" y="121"/>
                  </a:cubicBezTo>
                  <a:cubicBezTo>
                    <a:pt x="127" y="121"/>
                    <a:pt x="127" y="121"/>
                    <a:pt x="127" y="121"/>
                  </a:cubicBezTo>
                  <a:cubicBezTo>
                    <a:pt x="127" y="121"/>
                    <a:pt x="127" y="121"/>
                    <a:pt x="127" y="121"/>
                  </a:cubicBezTo>
                  <a:cubicBezTo>
                    <a:pt x="127" y="121"/>
                    <a:pt x="127" y="121"/>
                    <a:pt x="127" y="121"/>
                  </a:cubicBezTo>
                  <a:cubicBezTo>
                    <a:pt x="127" y="121"/>
                    <a:pt x="127" y="121"/>
                    <a:pt x="127" y="121"/>
                  </a:cubicBezTo>
                  <a:cubicBezTo>
                    <a:pt x="127" y="121"/>
                    <a:pt x="127" y="121"/>
                    <a:pt x="127" y="121"/>
                  </a:cubicBezTo>
                  <a:cubicBezTo>
                    <a:pt x="126" y="121"/>
                    <a:pt x="126" y="121"/>
                    <a:pt x="126" y="121"/>
                  </a:cubicBezTo>
                  <a:cubicBezTo>
                    <a:pt x="126" y="121"/>
                    <a:pt x="126" y="121"/>
                    <a:pt x="126" y="121"/>
                  </a:cubicBezTo>
                  <a:cubicBezTo>
                    <a:pt x="126" y="121"/>
                    <a:pt x="126" y="121"/>
                    <a:pt x="126" y="121"/>
                  </a:cubicBezTo>
                  <a:cubicBezTo>
                    <a:pt x="126" y="121"/>
                    <a:pt x="126" y="121"/>
                    <a:pt x="126" y="121"/>
                  </a:cubicBezTo>
                  <a:cubicBezTo>
                    <a:pt x="126" y="121"/>
                    <a:pt x="126" y="121"/>
                    <a:pt x="126"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5" y="121"/>
                    <a:pt x="125" y="121"/>
                    <a:pt x="125" y="121"/>
                  </a:cubicBezTo>
                  <a:cubicBezTo>
                    <a:pt x="124" y="121"/>
                    <a:pt x="124" y="121"/>
                    <a:pt x="124" y="121"/>
                  </a:cubicBezTo>
                  <a:cubicBezTo>
                    <a:pt x="124" y="121"/>
                    <a:pt x="124" y="121"/>
                    <a:pt x="124" y="121"/>
                  </a:cubicBezTo>
                  <a:cubicBezTo>
                    <a:pt x="124" y="121"/>
                    <a:pt x="124" y="121"/>
                    <a:pt x="124" y="121"/>
                  </a:cubicBezTo>
                  <a:cubicBezTo>
                    <a:pt x="124" y="121"/>
                    <a:pt x="124" y="121"/>
                    <a:pt x="124" y="121"/>
                  </a:cubicBezTo>
                  <a:cubicBezTo>
                    <a:pt x="124" y="121"/>
                    <a:pt x="124" y="121"/>
                    <a:pt x="124" y="121"/>
                  </a:cubicBezTo>
                  <a:cubicBezTo>
                    <a:pt x="123" y="121"/>
                    <a:pt x="123" y="121"/>
                    <a:pt x="123" y="121"/>
                  </a:cubicBezTo>
                  <a:cubicBezTo>
                    <a:pt x="123" y="121"/>
                    <a:pt x="123" y="121"/>
                    <a:pt x="123" y="121"/>
                  </a:cubicBezTo>
                  <a:cubicBezTo>
                    <a:pt x="123" y="121"/>
                    <a:pt x="123" y="121"/>
                    <a:pt x="123" y="121"/>
                  </a:cubicBezTo>
                  <a:cubicBezTo>
                    <a:pt x="123" y="121"/>
                    <a:pt x="123" y="121"/>
                    <a:pt x="123" y="121"/>
                  </a:cubicBezTo>
                  <a:cubicBezTo>
                    <a:pt x="123" y="121"/>
                    <a:pt x="123" y="121"/>
                    <a:pt x="123" y="121"/>
                  </a:cubicBezTo>
                  <a:cubicBezTo>
                    <a:pt x="123" y="121"/>
                    <a:pt x="123" y="121"/>
                    <a:pt x="123" y="121"/>
                  </a:cubicBezTo>
                  <a:cubicBezTo>
                    <a:pt x="122" y="121"/>
                    <a:pt x="122" y="121"/>
                    <a:pt x="122" y="121"/>
                  </a:cubicBezTo>
                  <a:cubicBezTo>
                    <a:pt x="122" y="105"/>
                    <a:pt x="122" y="105"/>
                    <a:pt x="122" y="105"/>
                  </a:cubicBezTo>
                  <a:cubicBezTo>
                    <a:pt x="130" y="105"/>
                    <a:pt x="130" y="105"/>
                    <a:pt x="130" y="105"/>
                  </a:cubicBezTo>
                  <a:cubicBezTo>
                    <a:pt x="130" y="94"/>
                    <a:pt x="130" y="82"/>
                    <a:pt x="130" y="70"/>
                  </a:cubicBezTo>
                  <a:cubicBezTo>
                    <a:pt x="122" y="70"/>
                    <a:pt x="122" y="70"/>
                    <a:pt x="122" y="70"/>
                  </a:cubicBezTo>
                  <a:cubicBezTo>
                    <a:pt x="122" y="55"/>
                    <a:pt x="122" y="55"/>
                    <a:pt x="122" y="55"/>
                  </a:cubicBezTo>
                  <a:cubicBezTo>
                    <a:pt x="122" y="55"/>
                    <a:pt x="122" y="55"/>
                    <a:pt x="122" y="55"/>
                  </a:cubicBezTo>
                  <a:cubicBezTo>
                    <a:pt x="123" y="55"/>
                    <a:pt x="123" y="55"/>
                    <a:pt x="123" y="55"/>
                  </a:cubicBezTo>
                  <a:cubicBezTo>
                    <a:pt x="123" y="55"/>
                    <a:pt x="123" y="55"/>
                    <a:pt x="123" y="55"/>
                  </a:cubicBezTo>
                  <a:cubicBezTo>
                    <a:pt x="123" y="55"/>
                    <a:pt x="123" y="55"/>
                    <a:pt x="123" y="55"/>
                  </a:cubicBezTo>
                  <a:cubicBezTo>
                    <a:pt x="123" y="55"/>
                    <a:pt x="123" y="55"/>
                    <a:pt x="123" y="55"/>
                  </a:cubicBezTo>
                  <a:cubicBezTo>
                    <a:pt x="123" y="55"/>
                    <a:pt x="123" y="55"/>
                    <a:pt x="123" y="55"/>
                  </a:cubicBezTo>
                  <a:cubicBezTo>
                    <a:pt x="124" y="55"/>
                    <a:pt x="124" y="55"/>
                    <a:pt x="124" y="55"/>
                  </a:cubicBezTo>
                  <a:cubicBezTo>
                    <a:pt x="124" y="55"/>
                    <a:pt x="124" y="55"/>
                    <a:pt x="124" y="55"/>
                  </a:cubicBezTo>
                  <a:cubicBezTo>
                    <a:pt x="124" y="55"/>
                    <a:pt x="124" y="55"/>
                    <a:pt x="124" y="55"/>
                  </a:cubicBezTo>
                  <a:cubicBezTo>
                    <a:pt x="124" y="55"/>
                    <a:pt x="124" y="55"/>
                    <a:pt x="124" y="55"/>
                  </a:cubicBezTo>
                  <a:cubicBezTo>
                    <a:pt x="124" y="55"/>
                    <a:pt x="124" y="55"/>
                    <a:pt x="124" y="55"/>
                  </a:cubicBezTo>
                  <a:cubicBezTo>
                    <a:pt x="125" y="55"/>
                    <a:pt x="125" y="55"/>
                    <a:pt x="125" y="55"/>
                  </a:cubicBezTo>
                  <a:cubicBezTo>
                    <a:pt x="125" y="55"/>
                    <a:pt x="125" y="55"/>
                    <a:pt x="125" y="55"/>
                  </a:cubicBezTo>
                  <a:cubicBezTo>
                    <a:pt x="125" y="55"/>
                    <a:pt x="125" y="55"/>
                    <a:pt x="125" y="55"/>
                  </a:cubicBezTo>
                  <a:cubicBezTo>
                    <a:pt x="125" y="55"/>
                    <a:pt x="125" y="55"/>
                    <a:pt x="125" y="55"/>
                  </a:cubicBezTo>
                  <a:cubicBezTo>
                    <a:pt x="125" y="55"/>
                    <a:pt x="125" y="55"/>
                    <a:pt x="125" y="55"/>
                  </a:cubicBezTo>
                  <a:cubicBezTo>
                    <a:pt x="125" y="55"/>
                    <a:pt x="125" y="55"/>
                    <a:pt x="125" y="55"/>
                  </a:cubicBezTo>
                  <a:cubicBezTo>
                    <a:pt x="126" y="55"/>
                    <a:pt x="126" y="55"/>
                    <a:pt x="126" y="55"/>
                  </a:cubicBezTo>
                  <a:cubicBezTo>
                    <a:pt x="126" y="55"/>
                    <a:pt x="126" y="55"/>
                    <a:pt x="126" y="55"/>
                  </a:cubicBezTo>
                  <a:cubicBezTo>
                    <a:pt x="126" y="55"/>
                    <a:pt x="126" y="55"/>
                    <a:pt x="126" y="55"/>
                  </a:cubicBezTo>
                  <a:cubicBezTo>
                    <a:pt x="126" y="55"/>
                    <a:pt x="126" y="55"/>
                    <a:pt x="126" y="55"/>
                  </a:cubicBezTo>
                  <a:cubicBezTo>
                    <a:pt x="126" y="55"/>
                    <a:pt x="126" y="55"/>
                    <a:pt x="126" y="55"/>
                  </a:cubicBezTo>
                  <a:cubicBezTo>
                    <a:pt x="127" y="55"/>
                    <a:pt x="127" y="55"/>
                    <a:pt x="127" y="55"/>
                  </a:cubicBezTo>
                  <a:cubicBezTo>
                    <a:pt x="127" y="55"/>
                    <a:pt x="127" y="55"/>
                    <a:pt x="127" y="55"/>
                  </a:cubicBezTo>
                  <a:cubicBezTo>
                    <a:pt x="127" y="55"/>
                    <a:pt x="127" y="55"/>
                    <a:pt x="127" y="55"/>
                  </a:cubicBezTo>
                  <a:cubicBezTo>
                    <a:pt x="127" y="55"/>
                    <a:pt x="127" y="55"/>
                    <a:pt x="127" y="55"/>
                  </a:cubicBezTo>
                  <a:cubicBezTo>
                    <a:pt x="127" y="55"/>
                    <a:pt x="127" y="55"/>
                    <a:pt x="127" y="55"/>
                  </a:cubicBezTo>
                  <a:cubicBezTo>
                    <a:pt x="128" y="55"/>
                    <a:pt x="128" y="55"/>
                    <a:pt x="128" y="55"/>
                  </a:cubicBezTo>
                  <a:cubicBezTo>
                    <a:pt x="128" y="55"/>
                    <a:pt x="128" y="55"/>
                    <a:pt x="128" y="55"/>
                  </a:cubicBezTo>
                  <a:cubicBezTo>
                    <a:pt x="128" y="55"/>
                    <a:pt x="128" y="55"/>
                    <a:pt x="128" y="55"/>
                  </a:cubicBezTo>
                  <a:cubicBezTo>
                    <a:pt x="128" y="55"/>
                    <a:pt x="128" y="55"/>
                    <a:pt x="128" y="55"/>
                  </a:cubicBezTo>
                  <a:cubicBezTo>
                    <a:pt x="128" y="55"/>
                    <a:pt x="128" y="55"/>
                    <a:pt x="128" y="55"/>
                  </a:cubicBezTo>
                  <a:cubicBezTo>
                    <a:pt x="129" y="55"/>
                    <a:pt x="129" y="55"/>
                    <a:pt x="129" y="55"/>
                  </a:cubicBezTo>
                  <a:cubicBezTo>
                    <a:pt x="129" y="55"/>
                    <a:pt x="129" y="55"/>
                    <a:pt x="129" y="55"/>
                  </a:cubicBezTo>
                  <a:cubicBezTo>
                    <a:pt x="129" y="55"/>
                    <a:pt x="129" y="55"/>
                    <a:pt x="129" y="55"/>
                  </a:cubicBezTo>
                  <a:cubicBezTo>
                    <a:pt x="129" y="55"/>
                    <a:pt x="129" y="55"/>
                    <a:pt x="129" y="55"/>
                  </a:cubicBezTo>
                  <a:cubicBezTo>
                    <a:pt x="129" y="55"/>
                    <a:pt x="129" y="55"/>
                    <a:pt x="129" y="55"/>
                  </a:cubicBezTo>
                  <a:cubicBezTo>
                    <a:pt x="130" y="55"/>
                    <a:pt x="130" y="55"/>
                    <a:pt x="130" y="55"/>
                  </a:cubicBezTo>
                  <a:cubicBezTo>
                    <a:pt x="138" y="55"/>
                    <a:pt x="138" y="55"/>
                    <a:pt x="138" y="55"/>
                  </a:cubicBezTo>
                  <a:close/>
                  <a:moveTo>
                    <a:pt x="138" y="156"/>
                  </a:moveTo>
                  <a:cubicBezTo>
                    <a:pt x="138" y="221"/>
                    <a:pt x="138" y="221"/>
                    <a:pt x="138" y="221"/>
                  </a:cubicBezTo>
                  <a:cubicBezTo>
                    <a:pt x="130" y="221"/>
                    <a:pt x="130" y="221"/>
                    <a:pt x="130" y="221"/>
                  </a:cubicBezTo>
                  <a:cubicBezTo>
                    <a:pt x="129" y="221"/>
                    <a:pt x="129" y="221"/>
                    <a:pt x="129" y="221"/>
                  </a:cubicBezTo>
                  <a:cubicBezTo>
                    <a:pt x="129" y="221"/>
                    <a:pt x="129" y="221"/>
                    <a:pt x="129" y="221"/>
                  </a:cubicBezTo>
                  <a:cubicBezTo>
                    <a:pt x="129" y="221"/>
                    <a:pt x="129" y="221"/>
                    <a:pt x="129" y="221"/>
                  </a:cubicBezTo>
                  <a:cubicBezTo>
                    <a:pt x="129" y="221"/>
                    <a:pt x="129" y="221"/>
                    <a:pt x="129" y="221"/>
                  </a:cubicBezTo>
                  <a:cubicBezTo>
                    <a:pt x="129" y="221"/>
                    <a:pt x="129" y="221"/>
                    <a:pt x="129" y="221"/>
                  </a:cubicBezTo>
                  <a:cubicBezTo>
                    <a:pt x="128" y="221"/>
                    <a:pt x="128" y="221"/>
                    <a:pt x="128" y="221"/>
                  </a:cubicBezTo>
                  <a:cubicBezTo>
                    <a:pt x="128" y="221"/>
                    <a:pt x="128" y="221"/>
                    <a:pt x="128" y="221"/>
                  </a:cubicBezTo>
                  <a:cubicBezTo>
                    <a:pt x="128" y="221"/>
                    <a:pt x="128" y="221"/>
                    <a:pt x="128" y="221"/>
                  </a:cubicBezTo>
                  <a:cubicBezTo>
                    <a:pt x="128" y="221"/>
                    <a:pt x="128" y="221"/>
                    <a:pt x="128" y="221"/>
                  </a:cubicBezTo>
                  <a:cubicBezTo>
                    <a:pt x="128" y="221"/>
                    <a:pt x="128" y="221"/>
                    <a:pt x="128" y="221"/>
                  </a:cubicBezTo>
                  <a:cubicBezTo>
                    <a:pt x="127" y="221"/>
                    <a:pt x="127" y="221"/>
                    <a:pt x="127" y="221"/>
                  </a:cubicBezTo>
                  <a:cubicBezTo>
                    <a:pt x="127" y="221"/>
                    <a:pt x="127" y="221"/>
                    <a:pt x="127" y="221"/>
                  </a:cubicBezTo>
                  <a:cubicBezTo>
                    <a:pt x="127" y="221"/>
                    <a:pt x="127" y="221"/>
                    <a:pt x="127" y="221"/>
                  </a:cubicBezTo>
                  <a:cubicBezTo>
                    <a:pt x="127" y="221"/>
                    <a:pt x="127" y="221"/>
                    <a:pt x="127" y="221"/>
                  </a:cubicBezTo>
                  <a:cubicBezTo>
                    <a:pt x="127" y="221"/>
                    <a:pt x="127" y="221"/>
                    <a:pt x="127" y="221"/>
                  </a:cubicBezTo>
                  <a:cubicBezTo>
                    <a:pt x="126" y="221"/>
                    <a:pt x="126" y="221"/>
                    <a:pt x="126" y="221"/>
                  </a:cubicBezTo>
                  <a:cubicBezTo>
                    <a:pt x="126" y="221"/>
                    <a:pt x="126" y="221"/>
                    <a:pt x="126" y="221"/>
                  </a:cubicBezTo>
                  <a:cubicBezTo>
                    <a:pt x="126" y="221"/>
                    <a:pt x="126" y="221"/>
                    <a:pt x="126" y="221"/>
                  </a:cubicBezTo>
                  <a:cubicBezTo>
                    <a:pt x="126" y="221"/>
                    <a:pt x="126" y="221"/>
                    <a:pt x="126" y="221"/>
                  </a:cubicBezTo>
                  <a:cubicBezTo>
                    <a:pt x="126" y="221"/>
                    <a:pt x="126" y="221"/>
                    <a:pt x="126" y="221"/>
                  </a:cubicBezTo>
                  <a:cubicBezTo>
                    <a:pt x="125" y="221"/>
                    <a:pt x="125" y="221"/>
                    <a:pt x="125" y="221"/>
                  </a:cubicBezTo>
                  <a:cubicBezTo>
                    <a:pt x="125" y="221"/>
                    <a:pt x="125" y="221"/>
                    <a:pt x="125" y="221"/>
                  </a:cubicBezTo>
                  <a:cubicBezTo>
                    <a:pt x="125" y="221"/>
                    <a:pt x="125" y="221"/>
                    <a:pt x="125" y="221"/>
                  </a:cubicBezTo>
                  <a:cubicBezTo>
                    <a:pt x="125" y="221"/>
                    <a:pt x="125" y="221"/>
                    <a:pt x="125" y="221"/>
                  </a:cubicBezTo>
                  <a:cubicBezTo>
                    <a:pt x="125" y="221"/>
                    <a:pt x="125" y="221"/>
                    <a:pt x="125" y="221"/>
                  </a:cubicBezTo>
                  <a:cubicBezTo>
                    <a:pt x="125" y="221"/>
                    <a:pt x="125" y="221"/>
                    <a:pt x="125" y="221"/>
                  </a:cubicBezTo>
                  <a:cubicBezTo>
                    <a:pt x="124" y="221"/>
                    <a:pt x="124" y="221"/>
                    <a:pt x="124" y="221"/>
                  </a:cubicBezTo>
                  <a:cubicBezTo>
                    <a:pt x="124" y="221"/>
                    <a:pt x="124" y="221"/>
                    <a:pt x="124" y="221"/>
                  </a:cubicBezTo>
                  <a:cubicBezTo>
                    <a:pt x="124" y="221"/>
                    <a:pt x="124" y="221"/>
                    <a:pt x="124" y="221"/>
                  </a:cubicBezTo>
                  <a:cubicBezTo>
                    <a:pt x="124" y="221"/>
                    <a:pt x="124" y="221"/>
                    <a:pt x="124" y="221"/>
                  </a:cubicBezTo>
                  <a:cubicBezTo>
                    <a:pt x="124" y="221"/>
                    <a:pt x="124" y="221"/>
                    <a:pt x="124" y="221"/>
                  </a:cubicBezTo>
                  <a:cubicBezTo>
                    <a:pt x="123" y="221"/>
                    <a:pt x="123" y="221"/>
                    <a:pt x="123" y="221"/>
                  </a:cubicBezTo>
                  <a:cubicBezTo>
                    <a:pt x="123" y="221"/>
                    <a:pt x="123" y="221"/>
                    <a:pt x="123" y="221"/>
                  </a:cubicBezTo>
                  <a:cubicBezTo>
                    <a:pt x="123" y="221"/>
                    <a:pt x="123" y="221"/>
                    <a:pt x="123" y="221"/>
                  </a:cubicBezTo>
                  <a:cubicBezTo>
                    <a:pt x="123" y="221"/>
                    <a:pt x="123" y="221"/>
                    <a:pt x="123" y="221"/>
                  </a:cubicBezTo>
                  <a:cubicBezTo>
                    <a:pt x="123" y="221"/>
                    <a:pt x="123" y="221"/>
                    <a:pt x="123" y="221"/>
                  </a:cubicBezTo>
                  <a:cubicBezTo>
                    <a:pt x="122" y="221"/>
                    <a:pt x="122" y="221"/>
                    <a:pt x="122" y="221"/>
                  </a:cubicBezTo>
                  <a:cubicBezTo>
                    <a:pt x="122" y="221"/>
                    <a:pt x="122" y="221"/>
                    <a:pt x="122" y="221"/>
                  </a:cubicBezTo>
                  <a:cubicBezTo>
                    <a:pt x="122" y="206"/>
                    <a:pt x="122" y="206"/>
                    <a:pt x="122" y="206"/>
                  </a:cubicBezTo>
                  <a:cubicBezTo>
                    <a:pt x="123" y="206"/>
                    <a:pt x="123" y="206"/>
                    <a:pt x="123" y="206"/>
                  </a:cubicBezTo>
                  <a:cubicBezTo>
                    <a:pt x="123" y="206"/>
                    <a:pt x="123" y="206"/>
                    <a:pt x="123" y="206"/>
                  </a:cubicBezTo>
                  <a:cubicBezTo>
                    <a:pt x="123" y="206"/>
                    <a:pt x="123" y="206"/>
                    <a:pt x="123" y="206"/>
                  </a:cubicBezTo>
                  <a:cubicBezTo>
                    <a:pt x="123" y="206"/>
                    <a:pt x="123" y="206"/>
                    <a:pt x="123" y="206"/>
                  </a:cubicBezTo>
                  <a:cubicBezTo>
                    <a:pt x="123" y="206"/>
                    <a:pt x="123" y="206"/>
                    <a:pt x="123" y="206"/>
                  </a:cubicBezTo>
                  <a:cubicBezTo>
                    <a:pt x="124" y="206"/>
                    <a:pt x="124" y="206"/>
                    <a:pt x="124" y="206"/>
                  </a:cubicBezTo>
                  <a:cubicBezTo>
                    <a:pt x="124" y="206"/>
                    <a:pt x="124" y="206"/>
                    <a:pt x="124" y="206"/>
                  </a:cubicBezTo>
                  <a:cubicBezTo>
                    <a:pt x="124" y="206"/>
                    <a:pt x="124" y="206"/>
                    <a:pt x="124" y="206"/>
                  </a:cubicBezTo>
                  <a:cubicBezTo>
                    <a:pt x="124" y="206"/>
                    <a:pt x="124" y="206"/>
                    <a:pt x="124" y="206"/>
                  </a:cubicBezTo>
                  <a:cubicBezTo>
                    <a:pt x="125" y="206"/>
                    <a:pt x="125" y="206"/>
                    <a:pt x="125" y="206"/>
                  </a:cubicBezTo>
                  <a:cubicBezTo>
                    <a:pt x="125" y="206"/>
                    <a:pt x="125" y="206"/>
                    <a:pt x="125" y="206"/>
                  </a:cubicBezTo>
                  <a:cubicBezTo>
                    <a:pt x="125" y="206"/>
                    <a:pt x="125" y="206"/>
                    <a:pt x="125" y="206"/>
                  </a:cubicBezTo>
                  <a:cubicBezTo>
                    <a:pt x="125" y="206"/>
                    <a:pt x="125" y="206"/>
                    <a:pt x="125" y="206"/>
                  </a:cubicBezTo>
                  <a:cubicBezTo>
                    <a:pt x="125" y="206"/>
                    <a:pt x="125" y="206"/>
                    <a:pt x="125" y="206"/>
                  </a:cubicBezTo>
                  <a:cubicBezTo>
                    <a:pt x="126" y="206"/>
                    <a:pt x="126" y="206"/>
                    <a:pt x="126" y="206"/>
                  </a:cubicBezTo>
                  <a:cubicBezTo>
                    <a:pt x="126" y="206"/>
                    <a:pt x="126" y="206"/>
                    <a:pt x="126" y="206"/>
                  </a:cubicBezTo>
                  <a:cubicBezTo>
                    <a:pt x="126" y="206"/>
                    <a:pt x="126" y="206"/>
                    <a:pt x="126" y="206"/>
                  </a:cubicBezTo>
                  <a:cubicBezTo>
                    <a:pt x="126" y="206"/>
                    <a:pt x="126" y="206"/>
                    <a:pt x="126" y="206"/>
                  </a:cubicBezTo>
                  <a:cubicBezTo>
                    <a:pt x="127" y="206"/>
                    <a:pt x="127" y="206"/>
                    <a:pt x="127" y="206"/>
                  </a:cubicBezTo>
                  <a:cubicBezTo>
                    <a:pt x="127" y="206"/>
                    <a:pt x="127" y="206"/>
                    <a:pt x="127" y="206"/>
                  </a:cubicBezTo>
                  <a:cubicBezTo>
                    <a:pt x="127" y="206"/>
                    <a:pt x="127" y="206"/>
                    <a:pt x="127" y="206"/>
                  </a:cubicBezTo>
                  <a:cubicBezTo>
                    <a:pt x="127" y="206"/>
                    <a:pt x="127" y="206"/>
                    <a:pt x="127" y="206"/>
                  </a:cubicBezTo>
                  <a:cubicBezTo>
                    <a:pt x="128" y="206"/>
                    <a:pt x="128" y="206"/>
                    <a:pt x="128" y="206"/>
                  </a:cubicBezTo>
                  <a:cubicBezTo>
                    <a:pt x="128" y="206"/>
                    <a:pt x="128" y="206"/>
                    <a:pt x="128" y="206"/>
                  </a:cubicBezTo>
                  <a:cubicBezTo>
                    <a:pt x="128" y="206"/>
                    <a:pt x="128" y="206"/>
                    <a:pt x="128" y="206"/>
                  </a:cubicBezTo>
                  <a:cubicBezTo>
                    <a:pt x="128" y="206"/>
                    <a:pt x="128" y="206"/>
                    <a:pt x="128" y="206"/>
                  </a:cubicBezTo>
                  <a:cubicBezTo>
                    <a:pt x="128" y="206"/>
                    <a:pt x="128" y="206"/>
                    <a:pt x="128" y="206"/>
                  </a:cubicBezTo>
                  <a:cubicBezTo>
                    <a:pt x="129" y="206"/>
                    <a:pt x="129" y="206"/>
                    <a:pt x="129" y="206"/>
                  </a:cubicBezTo>
                  <a:cubicBezTo>
                    <a:pt x="129" y="206"/>
                    <a:pt x="129" y="206"/>
                    <a:pt x="129" y="206"/>
                  </a:cubicBezTo>
                  <a:cubicBezTo>
                    <a:pt x="129" y="206"/>
                    <a:pt x="129" y="206"/>
                    <a:pt x="129" y="206"/>
                  </a:cubicBezTo>
                  <a:cubicBezTo>
                    <a:pt x="129" y="206"/>
                    <a:pt x="129" y="206"/>
                    <a:pt x="129" y="206"/>
                  </a:cubicBezTo>
                  <a:cubicBezTo>
                    <a:pt x="130" y="206"/>
                    <a:pt x="130" y="206"/>
                    <a:pt x="130" y="206"/>
                  </a:cubicBezTo>
                  <a:cubicBezTo>
                    <a:pt x="130" y="194"/>
                    <a:pt x="130" y="183"/>
                    <a:pt x="130" y="171"/>
                  </a:cubicBezTo>
                  <a:cubicBezTo>
                    <a:pt x="129" y="171"/>
                    <a:pt x="129" y="171"/>
                    <a:pt x="129" y="171"/>
                  </a:cubicBezTo>
                  <a:cubicBezTo>
                    <a:pt x="129" y="171"/>
                    <a:pt x="129" y="171"/>
                    <a:pt x="129" y="171"/>
                  </a:cubicBezTo>
                  <a:cubicBezTo>
                    <a:pt x="129" y="171"/>
                    <a:pt x="129" y="171"/>
                    <a:pt x="129" y="171"/>
                  </a:cubicBezTo>
                  <a:cubicBezTo>
                    <a:pt x="129" y="171"/>
                    <a:pt x="129" y="171"/>
                    <a:pt x="129" y="171"/>
                  </a:cubicBezTo>
                  <a:cubicBezTo>
                    <a:pt x="128" y="171"/>
                    <a:pt x="128" y="171"/>
                    <a:pt x="128" y="171"/>
                  </a:cubicBezTo>
                  <a:cubicBezTo>
                    <a:pt x="128" y="171"/>
                    <a:pt x="128" y="171"/>
                    <a:pt x="128" y="171"/>
                  </a:cubicBezTo>
                  <a:cubicBezTo>
                    <a:pt x="128" y="171"/>
                    <a:pt x="128" y="171"/>
                    <a:pt x="128" y="171"/>
                  </a:cubicBezTo>
                  <a:cubicBezTo>
                    <a:pt x="128" y="171"/>
                    <a:pt x="128" y="171"/>
                    <a:pt x="128" y="171"/>
                  </a:cubicBezTo>
                  <a:cubicBezTo>
                    <a:pt x="128" y="171"/>
                    <a:pt x="128" y="171"/>
                    <a:pt x="128" y="171"/>
                  </a:cubicBezTo>
                  <a:cubicBezTo>
                    <a:pt x="127" y="171"/>
                    <a:pt x="127" y="171"/>
                    <a:pt x="127" y="171"/>
                  </a:cubicBezTo>
                  <a:cubicBezTo>
                    <a:pt x="127" y="171"/>
                    <a:pt x="127" y="171"/>
                    <a:pt x="127" y="171"/>
                  </a:cubicBezTo>
                  <a:cubicBezTo>
                    <a:pt x="127" y="171"/>
                    <a:pt x="127" y="171"/>
                    <a:pt x="127" y="171"/>
                  </a:cubicBezTo>
                  <a:cubicBezTo>
                    <a:pt x="127" y="171"/>
                    <a:pt x="127" y="171"/>
                    <a:pt x="127" y="171"/>
                  </a:cubicBezTo>
                  <a:cubicBezTo>
                    <a:pt x="126" y="171"/>
                    <a:pt x="126" y="171"/>
                    <a:pt x="126" y="171"/>
                  </a:cubicBezTo>
                  <a:cubicBezTo>
                    <a:pt x="126" y="171"/>
                    <a:pt x="126" y="171"/>
                    <a:pt x="126" y="171"/>
                  </a:cubicBezTo>
                  <a:cubicBezTo>
                    <a:pt x="126" y="171"/>
                    <a:pt x="126" y="171"/>
                    <a:pt x="126" y="171"/>
                  </a:cubicBezTo>
                  <a:cubicBezTo>
                    <a:pt x="126" y="171"/>
                    <a:pt x="126" y="171"/>
                    <a:pt x="126" y="171"/>
                  </a:cubicBezTo>
                  <a:cubicBezTo>
                    <a:pt x="125" y="171"/>
                    <a:pt x="125" y="171"/>
                    <a:pt x="125" y="171"/>
                  </a:cubicBezTo>
                  <a:cubicBezTo>
                    <a:pt x="125" y="171"/>
                    <a:pt x="125" y="171"/>
                    <a:pt x="125" y="171"/>
                  </a:cubicBezTo>
                  <a:cubicBezTo>
                    <a:pt x="125" y="171"/>
                    <a:pt x="125" y="171"/>
                    <a:pt x="125" y="171"/>
                  </a:cubicBezTo>
                  <a:cubicBezTo>
                    <a:pt x="125" y="171"/>
                    <a:pt x="125" y="171"/>
                    <a:pt x="125" y="171"/>
                  </a:cubicBezTo>
                  <a:cubicBezTo>
                    <a:pt x="125" y="171"/>
                    <a:pt x="125" y="171"/>
                    <a:pt x="125" y="171"/>
                  </a:cubicBezTo>
                  <a:cubicBezTo>
                    <a:pt x="124" y="171"/>
                    <a:pt x="124" y="171"/>
                    <a:pt x="124" y="171"/>
                  </a:cubicBezTo>
                  <a:cubicBezTo>
                    <a:pt x="124" y="171"/>
                    <a:pt x="124" y="171"/>
                    <a:pt x="124" y="171"/>
                  </a:cubicBezTo>
                  <a:cubicBezTo>
                    <a:pt x="124" y="171"/>
                    <a:pt x="124" y="171"/>
                    <a:pt x="124" y="171"/>
                  </a:cubicBezTo>
                  <a:cubicBezTo>
                    <a:pt x="124" y="171"/>
                    <a:pt x="124" y="171"/>
                    <a:pt x="124" y="171"/>
                  </a:cubicBezTo>
                  <a:cubicBezTo>
                    <a:pt x="123" y="171"/>
                    <a:pt x="123" y="171"/>
                    <a:pt x="123" y="171"/>
                  </a:cubicBezTo>
                  <a:cubicBezTo>
                    <a:pt x="123" y="171"/>
                    <a:pt x="123" y="171"/>
                    <a:pt x="123" y="171"/>
                  </a:cubicBezTo>
                  <a:cubicBezTo>
                    <a:pt x="123" y="171"/>
                    <a:pt x="123" y="171"/>
                    <a:pt x="123" y="171"/>
                  </a:cubicBezTo>
                  <a:cubicBezTo>
                    <a:pt x="123" y="171"/>
                    <a:pt x="123" y="171"/>
                    <a:pt x="123" y="171"/>
                  </a:cubicBezTo>
                  <a:cubicBezTo>
                    <a:pt x="123" y="171"/>
                    <a:pt x="123" y="171"/>
                    <a:pt x="123" y="171"/>
                  </a:cubicBezTo>
                  <a:cubicBezTo>
                    <a:pt x="122" y="171"/>
                    <a:pt x="122" y="171"/>
                    <a:pt x="122" y="171"/>
                  </a:cubicBezTo>
                  <a:cubicBezTo>
                    <a:pt x="122" y="156"/>
                    <a:pt x="122" y="156"/>
                    <a:pt x="122" y="156"/>
                  </a:cubicBezTo>
                  <a:cubicBezTo>
                    <a:pt x="123" y="156"/>
                    <a:pt x="123" y="156"/>
                    <a:pt x="123" y="156"/>
                  </a:cubicBezTo>
                  <a:cubicBezTo>
                    <a:pt x="123" y="156"/>
                    <a:pt x="123" y="156"/>
                    <a:pt x="123" y="156"/>
                  </a:cubicBezTo>
                  <a:cubicBezTo>
                    <a:pt x="123" y="156"/>
                    <a:pt x="123" y="156"/>
                    <a:pt x="123" y="156"/>
                  </a:cubicBezTo>
                  <a:cubicBezTo>
                    <a:pt x="123" y="156"/>
                    <a:pt x="123" y="156"/>
                    <a:pt x="123" y="156"/>
                  </a:cubicBezTo>
                  <a:cubicBezTo>
                    <a:pt x="123" y="156"/>
                    <a:pt x="123" y="156"/>
                    <a:pt x="123" y="156"/>
                  </a:cubicBezTo>
                  <a:cubicBezTo>
                    <a:pt x="123" y="156"/>
                    <a:pt x="123" y="156"/>
                    <a:pt x="123" y="156"/>
                  </a:cubicBezTo>
                  <a:cubicBezTo>
                    <a:pt x="124" y="156"/>
                    <a:pt x="124" y="156"/>
                    <a:pt x="124" y="156"/>
                  </a:cubicBezTo>
                  <a:cubicBezTo>
                    <a:pt x="124" y="156"/>
                    <a:pt x="124" y="156"/>
                    <a:pt x="124" y="156"/>
                  </a:cubicBezTo>
                  <a:cubicBezTo>
                    <a:pt x="124" y="156"/>
                    <a:pt x="124" y="156"/>
                    <a:pt x="124" y="156"/>
                  </a:cubicBezTo>
                  <a:cubicBezTo>
                    <a:pt x="124" y="156"/>
                    <a:pt x="124" y="156"/>
                    <a:pt x="124" y="156"/>
                  </a:cubicBezTo>
                  <a:cubicBezTo>
                    <a:pt x="124" y="156"/>
                    <a:pt x="124" y="156"/>
                    <a:pt x="124"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5" y="156"/>
                    <a:pt x="125" y="156"/>
                    <a:pt x="125" y="156"/>
                  </a:cubicBezTo>
                  <a:cubicBezTo>
                    <a:pt x="126" y="156"/>
                    <a:pt x="126" y="156"/>
                    <a:pt x="126" y="156"/>
                  </a:cubicBezTo>
                  <a:cubicBezTo>
                    <a:pt x="126" y="156"/>
                    <a:pt x="126" y="156"/>
                    <a:pt x="126" y="156"/>
                  </a:cubicBezTo>
                  <a:cubicBezTo>
                    <a:pt x="126" y="156"/>
                    <a:pt x="126" y="156"/>
                    <a:pt x="126" y="156"/>
                  </a:cubicBezTo>
                  <a:cubicBezTo>
                    <a:pt x="126" y="156"/>
                    <a:pt x="126" y="156"/>
                    <a:pt x="126" y="156"/>
                  </a:cubicBezTo>
                  <a:cubicBezTo>
                    <a:pt x="126" y="156"/>
                    <a:pt x="126" y="156"/>
                    <a:pt x="126" y="156"/>
                  </a:cubicBezTo>
                  <a:cubicBezTo>
                    <a:pt x="127" y="156"/>
                    <a:pt x="127" y="156"/>
                    <a:pt x="127" y="156"/>
                  </a:cubicBezTo>
                  <a:cubicBezTo>
                    <a:pt x="127" y="156"/>
                    <a:pt x="127" y="156"/>
                    <a:pt x="127" y="156"/>
                  </a:cubicBezTo>
                  <a:cubicBezTo>
                    <a:pt x="127" y="156"/>
                    <a:pt x="127" y="156"/>
                    <a:pt x="127" y="156"/>
                  </a:cubicBezTo>
                  <a:cubicBezTo>
                    <a:pt x="127" y="156"/>
                    <a:pt x="127" y="156"/>
                    <a:pt x="127" y="156"/>
                  </a:cubicBezTo>
                  <a:cubicBezTo>
                    <a:pt x="127" y="156"/>
                    <a:pt x="127" y="156"/>
                    <a:pt x="127" y="156"/>
                  </a:cubicBezTo>
                  <a:cubicBezTo>
                    <a:pt x="127" y="156"/>
                    <a:pt x="127" y="156"/>
                    <a:pt x="127" y="156"/>
                  </a:cubicBezTo>
                  <a:cubicBezTo>
                    <a:pt x="128" y="156"/>
                    <a:pt x="128" y="156"/>
                    <a:pt x="128" y="156"/>
                  </a:cubicBezTo>
                  <a:cubicBezTo>
                    <a:pt x="128" y="156"/>
                    <a:pt x="128" y="156"/>
                    <a:pt x="128" y="156"/>
                  </a:cubicBezTo>
                  <a:cubicBezTo>
                    <a:pt x="128" y="156"/>
                    <a:pt x="128" y="156"/>
                    <a:pt x="128" y="156"/>
                  </a:cubicBezTo>
                  <a:cubicBezTo>
                    <a:pt x="128" y="156"/>
                    <a:pt x="128" y="156"/>
                    <a:pt x="128" y="156"/>
                  </a:cubicBezTo>
                  <a:cubicBezTo>
                    <a:pt x="128" y="156"/>
                    <a:pt x="128" y="156"/>
                    <a:pt x="128" y="156"/>
                  </a:cubicBezTo>
                  <a:cubicBezTo>
                    <a:pt x="128" y="156"/>
                    <a:pt x="128" y="156"/>
                    <a:pt x="128" y="156"/>
                  </a:cubicBezTo>
                  <a:cubicBezTo>
                    <a:pt x="129" y="156"/>
                    <a:pt x="129" y="156"/>
                    <a:pt x="129" y="156"/>
                  </a:cubicBezTo>
                  <a:cubicBezTo>
                    <a:pt x="129" y="156"/>
                    <a:pt x="129" y="156"/>
                    <a:pt x="129" y="156"/>
                  </a:cubicBezTo>
                  <a:cubicBezTo>
                    <a:pt x="129" y="156"/>
                    <a:pt x="129" y="156"/>
                    <a:pt x="129" y="156"/>
                  </a:cubicBezTo>
                  <a:cubicBezTo>
                    <a:pt x="129" y="156"/>
                    <a:pt x="129" y="156"/>
                    <a:pt x="129" y="156"/>
                  </a:cubicBezTo>
                  <a:cubicBezTo>
                    <a:pt x="129" y="156"/>
                    <a:pt x="129" y="156"/>
                    <a:pt x="129" y="156"/>
                  </a:cubicBezTo>
                  <a:cubicBezTo>
                    <a:pt x="130" y="156"/>
                    <a:pt x="130" y="156"/>
                    <a:pt x="130" y="156"/>
                  </a:cubicBezTo>
                  <a:cubicBezTo>
                    <a:pt x="138" y="156"/>
                    <a:pt x="138" y="156"/>
                    <a:pt x="138" y="156"/>
                  </a:cubicBezTo>
                  <a:close/>
                  <a:moveTo>
                    <a:pt x="138" y="256"/>
                  </a:moveTo>
                  <a:cubicBezTo>
                    <a:pt x="138" y="322"/>
                    <a:pt x="138" y="322"/>
                    <a:pt x="138" y="322"/>
                  </a:cubicBezTo>
                  <a:cubicBezTo>
                    <a:pt x="130" y="322"/>
                    <a:pt x="130" y="322"/>
                    <a:pt x="130" y="322"/>
                  </a:cubicBezTo>
                  <a:cubicBezTo>
                    <a:pt x="129" y="322"/>
                    <a:pt x="129" y="322"/>
                    <a:pt x="129" y="322"/>
                  </a:cubicBezTo>
                  <a:cubicBezTo>
                    <a:pt x="129" y="322"/>
                    <a:pt x="129" y="322"/>
                    <a:pt x="129" y="322"/>
                  </a:cubicBezTo>
                  <a:cubicBezTo>
                    <a:pt x="129" y="322"/>
                    <a:pt x="129" y="322"/>
                    <a:pt x="129" y="322"/>
                  </a:cubicBezTo>
                  <a:cubicBezTo>
                    <a:pt x="129" y="322"/>
                    <a:pt x="129" y="322"/>
                    <a:pt x="129" y="322"/>
                  </a:cubicBezTo>
                  <a:cubicBezTo>
                    <a:pt x="129" y="322"/>
                    <a:pt x="129" y="322"/>
                    <a:pt x="129" y="322"/>
                  </a:cubicBezTo>
                  <a:cubicBezTo>
                    <a:pt x="128" y="322"/>
                    <a:pt x="128" y="322"/>
                    <a:pt x="128" y="322"/>
                  </a:cubicBezTo>
                  <a:cubicBezTo>
                    <a:pt x="128" y="322"/>
                    <a:pt x="128" y="322"/>
                    <a:pt x="128" y="322"/>
                  </a:cubicBezTo>
                  <a:cubicBezTo>
                    <a:pt x="128" y="322"/>
                    <a:pt x="128" y="322"/>
                    <a:pt x="128" y="322"/>
                  </a:cubicBezTo>
                  <a:cubicBezTo>
                    <a:pt x="128" y="322"/>
                    <a:pt x="128" y="322"/>
                    <a:pt x="128" y="322"/>
                  </a:cubicBezTo>
                  <a:cubicBezTo>
                    <a:pt x="128" y="322"/>
                    <a:pt x="128" y="322"/>
                    <a:pt x="128" y="322"/>
                  </a:cubicBezTo>
                  <a:cubicBezTo>
                    <a:pt x="128" y="322"/>
                    <a:pt x="128" y="322"/>
                    <a:pt x="128" y="322"/>
                  </a:cubicBezTo>
                  <a:cubicBezTo>
                    <a:pt x="127" y="322"/>
                    <a:pt x="127" y="322"/>
                    <a:pt x="127" y="322"/>
                  </a:cubicBezTo>
                  <a:cubicBezTo>
                    <a:pt x="127" y="322"/>
                    <a:pt x="127" y="322"/>
                    <a:pt x="127" y="322"/>
                  </a:cubicBezTo>
                  <a:cubicBezTo>
                    <a:pt x="127" y="322"/>
                    <a:pt x="127" y="322"/>
                    <a:pt x="127" y="322"/>
                  </a:cubicBezTo>
                  <a:cubicBezTo>
                    <a:pt x="127" y="322"/>
                    <a:pt x="127" y="322"/>
                    <a:pt x="127" y="322"/>
                  </a:cubicBezTo>
                  <a:cubicBezTo>
                    <a:pt x="127" y="322"/>
                    <a:pt x="127" y="322"/>
                    <a:pt x="127" y="322"/>
                  </a:cubicBezTo>
                  <a:cubicBezTo>
                    <a:pt x="127" y="322"/>
                    <a:pt x="127" y="322"/>
                    <a:pt x="127" y="322"/>
                  </a:cubicBezTo>
                  <a:cubicBezTo>
                    <a:pt x="126" y="322"/>
                    <a:pt x="126" y="322"/>
                    <a:pt x="126" y="322"/>
                  </a:cubicBezTo>
                  <a:cubicBezTo>
                    <a:pt x="126" y="322"/>
                    <a:pt x="126" y="322"/>
                    <a:pt x="126" y="322"/>
                  </a:cubicBezTo>
                  <a:cubicBezTo>
                    <a:pt x="126" y="322"/>
                    <a:pt x="126" y="322"/>
                    <a:pt x="126" y="322"/>
                  </a:cubicBezTo>
                  <a:cubicBezTo>
                    <a:pt x="126" y="322"/>
                    <a:pt x="126" y="322"/>
                    <a:pt x="126" y="322"/>
                  </a:cubicBezTo>
                  <a:cubicBezTo>
                    <a:pt x="126" y="322"/>
                    <a:pt x="126" y="322"/>
                    <a:pt x="126"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5" y="322"/>
                    <a:pt x="125" y="322"/>
                    <a:pt x="125" y="322"/>
                  </a:cubicBezTo>
                  <a:cubicBezTo>
                    <a:pt x="124" y="322"/>
                    <a:pt x="124" y="322"/>
                    <a:pt x="124" y="322"/>
                  </a:cubicBezTo>
                  <a:cubicBezTo>
                    <a:pt x="124" y="322"/>
                    <a:pt x="124" y="322"/>
                    <a:pt x="124" y="322"/>
                  </a:cubicBezTo>
                  <a:cubicBezTo>
                    <a:pt x="124" y="322"/>
                    <a:pt x="124" y="322"/>
                    <a:pt x="124" y="322"/>
                  </a:cubicBezTo>
                  <a:cubicBezTo>
                    <a:pt x="124" y="322"/>
                    <a:pt x="124" y="322"/>
                    <a:pt x="124" y="322"/>
                  </a:cubicBezTo>
                  <a:cubicBezTo>
                    <a:pt x="124" y="322"/>
                    <a:pt x="124" y="322"/>
                    <a:pt x="124" y="322"/>
                  </a:cubicBezTo>
                  <a:cubicBezTo>
                    <a:pt x="123" y="322"/>
                    <a:pt x="123" y="322"/>
                    <a:pt x="123" y="322"/>
                  </a:cubicBezTo>
                  <a:cubicBezTo>
                    <a:pt x="123" y="322"/>
                    <a:pt x="123" y="322"/>
                    <a:pt x="123" y="322"/>
                  </a:cubicBezTo>
                  <a:cubicBezTo>
                    <a:pt x="123" y="322"/>
                    <a:pt x="123" y="322"/>
                    <a:pt x="123" y="322"/>
                  </a:cubicBezTo>
                  <a:cubicBezTo>
                    <a:pt x="123" y="322"/>
                    <a:pt x="123" y="322"/>
                    <a:pt x="123" y="322"/>
                  </a:cubicBezTo>
                  <a:cubicBezTo>
                    <a:pt x="123" y="322"/>
                    <a:pt x="123" y="322"/>
                    <a:pt x="123" y="322"/>
                  </a:cubicBezTo>
                  <a:cubicBezTo>
                    <a:pt x="123" y="322"/>
                    <a:pt x="123" y="322"/>
                    <a:pt x="123" y="322"/>
                  </a:cubicBezTo>
                  <a:cubicBezTo>
                    <a:pt x="122" y="322"/>
                    <a:pt x="122" y="322"/>
                    <a:pt x="122" y="322"/>
                  </a:cubicBezTo>
                  <a:cubicBezTo>
                    <a:pt x="122" y="307"/>
                    <a:pt x="122" y="307"/>
                    <a:pt x="122" y="307"/>
                  </a:cubicBezTo>
                  <a:cubicBezTo>
                    <a:pt x="130" y="307"/>
                    <a:pt x="130" y="307"/>
                    <a:pt x="130" y="307"/>
                  </a:cubicBezTo>
                  <a:cubicBezTo>
                    <a:pt x="130" y="295"/>
                    <a:pt x="130" y="283"/>
                    <a:pt x="130" y="272"/>
                  </a:cubicBezTo>
                  <a:cubicBezTo>
                    <a:pt x="122" y="272"/>
                    <a:pt x="122" y="272"/>
                    <a:pt x="122" y="272"/>
                  </a:cubicBezTo>
                  <a:cubicBezTo>
                    <a:pt x="122" y="256"/>
                    <a:pt x="122" y="256"/>
                    <a:pt x="122" y="256"/>
                  </a:cubicBezTo>
                  <a:cubicBezTo>
                    <a:pt x="122" y="256"/>
                    <a:pt x="122" y="256"/>
                    <a:pt x="122" y="256"/>
                  </a:cubicBezTo>
                  <a:cubicBezTo>
                    <a:pt x="123" y="256"/>
                    <a:pt x="123" y="256"/>
                    <a:pt x="123" y="256"/>
                  </a:cubicBezTo>
                  <a:cubicBezTo>
                    <a:pt x="123" y="256"/>
                    <a:pt x="123" y="256"/>
                    <a:pt x="123" y="256"/>
                  </a:cubicBezTo>
                  <a:cubicBezTo>
                    <a:pt x="123" y="256"/>
                    <a:pt x="123" y="256"/>
                    <a:pt x="123" y="256"/>
                  </a:cubicBezTo>
                  <a:cubicBezTo>
                    <a:pt x="123" y="256"/>
                    <a:pt x="123" y="256"/>
                    <a:pt x="123" y="256"/>
                  </a:cubicBezTo>
                  <a:cubicBezTo>
                    <a:pt x="123" y="256"/>
                    <a:pt x="123" y="256"/>
                    <a:pt x="123" y="256"/>
                  </a:cubicBezTo>
                  <a:cubicBezTo>
                    <a:pt x="124" y="256"/>
                    <a:pt x="124" y="256"/>
                    <a:pt x="124" y="256"/>
                  </a:cubicBezTo>
                  <a:cubicBezTo>
                    <a:pt x="124" y="256"/>
                    <a:pt x="124" y="256"/>
                    <a:pt x="124" y="256"/>
                  </a:cubicBezTo>
                  <a:cubicBezTo>
                    <a:pt x="124" y="256"/>
                    <a:pt x="124" y="256"/>
                    <a:pt x="124" y="256"/>
                  </a:cubicBezTo>
                  <a:cubicBezTo>
                    <a:pt x="124" y="256"/>
                    <a:pt x="124" y="256"/>
                    <a:pt x="124" y="256"/>
                  </a:cubicBezTo>
                  <a:cubicBezTo>
                    <a:pt x="124" y="256"/>
                    <a:pt x="124" y="256"/>
                    <a:pt x="124" y="256"/>
                  </a:cubicBezTo>
                  <a:cubicBezTo>
                    <a:pt x="125" y="256"/>
                    <a:pt x="125" y="256"/>
                    <a:pt x="125" y="256"/>
                  </a:cubicBezTo>
                  <a:cubicBezTo>
                    <a:pt x="125" y="256"/>
                    <a:pt x="125" y="256"/>
                    <a:pt x="125" y="256"/>
                  </a:cubicBezTo>
                  <a:cubicBezTo>
                    <a:pt x="125" y="256"/>
                    <a:pt x="125" y="256"/>
                    <a:pt x="125" y="256"/>
                  </a:cubicBezTo>
                  <a:cubicBezTo>
                    <a:pt x="125" y="256"/>
                    <a:pt x="125" y="256"/>
                    <a:pt x="125" y="256"/>
                  </a:cubicBezTo>
                  <a:cubicBezTo>
                    <a:pt x="125" y="256"/>
                    <a:pt x="125" y="256"/>
                    <a:pt x="125" y="256"/>
                  </a:cubicBezTo>
                  <a:cubicBezTo>
                    <a:pt x="125" y="256"/>
                    <a:pt x="125" y="256"/>
                    <a:pt x="125" y="256"/>
                  </a:cubicBezTo>
                  <a:cubicBezTo>
                    <a:pt x="126" y="256"/>
                    <a:pt x="126" y="256"/>
                    <a:pt x="126" y="256"/>
                  </a:cubicBezTo>
                  <a:cubicBezTo>
                    <a:pt x="126" y="256"/>
                    <a:pt x="126" y="256"/>
                    <a:pt x="126" y="256"/>
                  </a:cubicBezTo>
                  <a:cubicBezTo>
                    <a:pt x="126" y="256"/>
                    <a:pt x="126" y="256"/>
                    <a:pt x="126" y="256"/>
                  </a:cubicBezTo>
                  <a:cubicBezTo>
                    <a:pt x="126" y="256"/>
                    <a:pt x="126" y="256"/>
                    <a:pt x="126" y="256"/>
                  </a:cubicBezTo>
                  <a:cubicBezTo>
                    <a:pt x="126" y="256"/>
                    <a:pt x="126" y="256"/>
                    <a:pt x="126" y="256"/>
                  </a:cubicBezTo>
                  <a:cubicBezTo>
                    <a:pt x="127" y="256"/>
                    <a:pt x="127" y="256"/>
                    <a:pt x="127" y="256"/>
                  </a:cubicBezTo>
                  <a:cubicBezTo>
                    <a:pt x="127" y="256"/>
                    <a:pt x="127" y="256"/>
                    <a:pt x="127" y="256"/>
                  </a:cubicBezTo>
                  <a:cubicBezTo>
                    <a:pt x="127" y="256"/>
                    <a:pt x="127" y="256"/>
                    <a:pt x="127" y="256"/>
                  </a:cubicBezTo>
                  <a:cubicBezTo>
                    <a:pt x="127" y="256"/>
                    <a:pt x="127" y="256"/>
                    <a:pt x="127" y="256"/>
                  </a:cubicBezTo>
                  <a:cubicBezTo>
                    <a:pt x="127" y="256"/>
                    <a:pt x="127" y="256"/>
                    <a:pt x="127"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29" y="256"/>
                    <a:pt x="129" y="256"/>
                    <a:pt x="129" y="256"/>
                  </a:cubicBezTo>
                  <a:cubicBezTo>
                    <a:pt x="129" y="256"/>
                    <a:pt x="129" y="256"/>
                    <a:pt x="129" y="256"/>
                  </a:cubicBezTo>
                  <a:cubicBezTo>
                    <a:pt x="129" y="256"/>
                    <a:pt x="129" y="256"/>
                    <a:pt x="129" y="256"/>
                  </a:cubicBezTo>
                  <a:cubicBezTo>
                    <a:pt x="129" y="256"/>
                    <a:pt x="129" y="256"/>
                    <a:pt x="129" y="256"/>
                  </a:cubicBezTo>
                  <a:cubicBezTo>
                    <a:pt x="129" y="256"/>
                    <a:pt x="129" y="256"/>
                    <a:pt x="129" y="256"/>
                  </a:cubicBezTo>
                  <a:cubicBezTo>
                    <a:pt x="130" y="256"/>
                    <a:pt x="130" y="256"/>
                    <a:pt x="130" y="256"/>
                  </a:cubicBezTo>
                  <a:cubicBezTo>
                    <a:pt x="138" y="256"/>
                    <a:pt x="138" y="256"/>
                    <a:pt x="138" y="256"/>
                  </a:cubicBezTo>
                  <a:close/>
                  <a:moveTo>
                    <a:pt x="138" y="357"/>
                  </a:moveTo>
                  <a:cubicBezTo>
                    <a:pt x="138" y="423"/>
                    <a:pt x="138" y="423"/>
                    <a:pt x="138" y="423"/>
                  </a:cubicBezTo>
                  <a:cubicBezTo>
                    <a:pt x="130" y="423"/>
                    <a:pt x="130" y="423"/>
                    <a:pt x="130" y="423"/>
                  </a:cubicBezTo>
                  <a:cubicBezTo>
                    <a:pt x="122" y="423"/>
                    <a:pt x="122" y="423"/>
                    <a:pt x="122" y="423"/>
                  </a:cubicBezTo>
                  <a:cubicBezTo>
                    <a:pt x="122" y="407"/>
                    <a:pt x="122" y="407"/>
                    <a:pt x="122" y="407"/>
                  </a:cubicBezTo>
                  <a:cubicBezTo>
                    <a:pt x="130" y="407"/>
                    <a:pt x="130" y="407"/>
                    <a:pt x="130" y="407"/>
                  </a:cubicBezTo>
                  <a:cubicBezTo>
                    <a:pt x="130" y="396"/>
                    <a:pt x="130" y="384"/>
                    <a:pt x="130" y="372"/>
                  </a:cubicBezTo>
                  <a:cubicBezTo>
                    <a:pt x="122" y="372"/>
                    <a:pt x="122" y="372"/>
                    <a:pt x="122" y="372"/>
                  </a:cubicBezTo>
                  <a:cubicBezTo>
                    <a:pt x="122" y="357"/>
                    <a:pt x="122" y="357"/>
                    <a:pt x="122" y="357"/>
                  </a:cubicBezTo>
                  <a:cubicBezTo>
                    <a:pt x="123" y="357"/>
                    <a:pt x="123" y="357"/>
                    <a:pt x="123" y="357"/>
                  </a:cubicBezTo>
                  <a:cubicBezTo>
                    <a:pt x="123" y="357"/>
                    <a:pt x="123" y="357"/>
                    <a:pt x="123" y="357"/>
                  </a:cubicBezTo>
                  <a:cubicBezTo>
                    <a:pt x="123" y="357"/>
                    <a:pt x="123" y="357"/>
                    <a:pt x="123" y="357"/>
                  </a:cubicBezTo>
                  <a:cubicBezTo>
                    <a:pt x="123" y="357"/>
                    <a:pt x="123" y="357"/>
                    <a:pt x="123" y="357"/>
                  </a:cubicBezTo>
                  <a:cubicBezTo>
                    <a:pt x="123" y="357"/>
                    <a:pt x="123" y="357"/>
                    <a:pt x="123" y="357"/>
                  </a:cubicBezTo>
                  <a:cubicBezTo>
                    <a:pt x="123" y="357"/>
                    <a:pt x="123" y="357"/>
                    <a:pt x="123" y="357"/>
                  </a:cubicBezTo>
                  <a:cubicBezTo>
                    <a:pt x="124" y="357"/>
                    <a:pt x="124" y="357"/>
                    <a:pt x="124" y="357"/>
                  </a:cubicBezTo>
                  <a:cubicBezTo>
                    <a:pt x="124" y="357"/>
                    <a:pt x="124" y="357"/>
                    <a:pt x="124" y="357"/>
                  </a:cubicBezTo>
                  <a:cubicBezTo>
                    <a:pt x="124" y="357"/>
                    <a:pt x="124" y="357"/>
                    <a:pt x="124" y="357"/>
                  </a:cubicBezTo>
                  <a:cubicBezTo>
                    <a:pt x="124" y="357"/>
                    <a:pt x="124" y="357"/>
                    <a:pt x="124" y="357"/>
                  </a:cubicBezTo>
                  <a:cubicBezTo>
                    <a:pt x="124" y="357"/>
                    <a:pt x="124" y="357"/>
                    <a:pt x="124"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5" y="357"/>
                    <a:pt x="125" y="357"/>
                    <a:pt x="125" y="357"/>
                  </a:cubicBezTo>
                  <a:cubicBezTo>
                    <a:pt x="126" y="357"/>
                    <a:pt x="126" y="357"/>
                    <a:pt x="126" y="357"/>
                  </a:cubicBezTo>
                  <a:cubicBezTo>
                    <a:pt x="126" y="357"/>
                    <a:pt x="126" y="357"/>
                    <a:pt x="126" y="357"/>
                  </a:cubicBezTo>
                  <a:cubicBezTo>
                    <a:pt x="126" y="357"/>
                    <a:pt x="126" y="357"/>
                    <a:pt x="126" y="357"/>
                  </a:cubicBezTo>
                  <a:cubicBezTo>
                    <a:pt x="126" y="357"/>
                    <a:pt x="126" y="357"/>
                    <a:pt x="126" y="357"/>
                  </a:cubicBezTo>
                  <a:cubicBezTo>
                    <a:pt x="126" y="357"/>
                    <a:pt x="126" y="357"/>
                    <a:pt x="126" y="357"/>
                  </a:cubicBezTo>
                  <a:cubicBezTo>
                    <a:pt x="127" y="357"/>
                    <a:pt x="127" y="357"/>
                    <a:pt x="127" y="357"/>
                  </a:cubicBezTo>
                  <a:cubicBezTo>
                    <a:pt x="127" y="357"/>
                    <a:pt x="127" y="357"/>
                    <a:pt x="127" y="357"/>
                  </a:cubicBezTo>
                  <a:cubicBezTo>
                    <a:pt x="127" y="357"/>
                    <a:pt x="127" y="357"/>
                    <a:pt x="127" y="357"/>
                  </a:cubicBezTo>
                  <a:cubicBezTo>
                    <a:pt x="127" y="357"/>
                    <a:pt x="127" y="357"/>
                    <a:pt x="127" y="357"/>
                  </a:cubicBezTo>
                  <a:cubicBezTo>
                    <a:pt x="127" y="357"/>
                    <a:pt x="127" y="357"/>
                    <a:pt x="127" y="357"/>
                  </a:cubicBezTo>
                  <a:cubicBezTo>
                    <a:pt x="127" y="357"/>
                    <a:pt x="127" y="357"/>
                    <a:pt x="127"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9" y="357"/>
                    <a:pt x="129" y="357"/>
                    <a:pt x="129" y="357"/>
                  </a:cubicBezTo>
                  <a:cubicBezTo>
                    <a:pt x="129" y="357"/>
                    <a:pt x="129" y="357"/>
                    <a:pt x="129" y="357"/>
                  </a:cubicBezTo>
                  <a:cubicBezTo>
                    <a:pt x="129" y="357"/>
                    <a:pt x="129" y="357"/>
                    <a:pt x="129" y="357"/>
                  </a:cubicBezTo>
                  <a:cubicBezTo>
                    <a:pt x="129" y="357"/>
                    <a:pt x="129" y="357"/>
                    <a:pt x="129" y="357"/>
                  </a:cubicBezTo>
                  <a:cubicBezTo>
                    <a:pt x="129" y="357"/>
                    <a:pt x="129" y="357"/>
                    <a:pt x="129" y="357"/>
                  </a:cubicBezTo>
                  <a:cubicBezTo>
                    <a:pt x="130" y="357"/>
                    <a:pt x="130" y="357"/>
                    <a:pt x="130" y="357"/>
                  </a:cubicBezTo>
                  <a:lnTo>
                    <a:pt x="138" y="357"/>
                  </a:lnTo>
                  <a:close/>
                  <a:moveTo>
                    <a:pt x="107" y="0"/>
                  </a:moveTo>
                  <a:cubicBezTo>
                    <a:pt x="122" y="0"/>
                    <a:pt x="122" y="0"/>
                    <a:pt x="122" y="0"/>
                  </a:cubicBezTo>
                  <a:cubicBezTo>
                    <a:pt x="122" y="20"/>
                    <a:pt x="122" y="20"/>
                    <a:pt x="122" y="20"/>
                  </a:cubicBezTo>
                  <a:cubicBezTo>
                    <a:pt x="122" y="20"/>
                    <a:pt x="122" y="20"/>
                    <a:pt x="122" y="20"/>
                  </a:cubicBezTo>
                  <a:cubicBezTo>
                    <a:pt x="122" y="20"/>
                    <a:pt x="122" y="20"/>
                    <a:pt x="122" y="20"/>
                  </a:cubicBezTo>
                  <a:cubicBezTo>
                    <a:pt x="122" y="20"/>
                    <a:pt x="122" y="20"/>
                    <a:pt x="122" y="20"/>
                  </a:cubicBezTo>
                  <a:cubicBezTo>
                    <a:pt x="122" y="20"/>
                    <a:pt x="122" y="20"/>
                    <a:pt x="122" y="20"/>
                  </a:cubicBezTo>
                  <a:cubicBezTo>
                    <a:pt x="121" y="20"/>
                    <a:pt x="121" y="20"/>
                    <a:pt x="121" y="20"/>
                  </a:cubicBezTo>
                  <a:cubicBezTo>
                    <a:pt x="121" y="20"/>
                    <a:pt x="121" y="20"/>
                    <a:pt x="121" y="20"/>
                  </a:cubicBezTo>
                  <a:cubicBezTo>
                    <a:pt x="121" y="20"/>
                    <a:pt x="121" y="20"/>
                    <a:pt x="121" y="20"/>
                  </a:cubicBezTo>
                  <a:cubicBezTo>
                    <a:pt x="121" y="20"/>
                    <a:pt x="121" y="20"/>
                    <a:pt x="121" y="20"/>
                  </a:cubicBezTo>
                  <a:cubicBezTo>
                    <a:pt x="121" y="20"/>
                    <a:pt x="121" y="20"/>
                    <a:pt x="121" y="20"/>
                  </a:cubicBezTo>
                  <a:cubicBezTo>
                    <a:pt x="121" y="20"/>
                    <a:pt x="121" y="20"/>
                    <a:pt x="121" y="20"/>
                  </a:cubicBezTo>
                  <a:cubicBezTo>
                    <a:pt x="120" y="20"/>
                    <a:pt x="120" y="20"/>
                    <a:pt x="120" y="20"/>
                  </a:cubicBezTo>
                  <a:cubicBezTo>
                    <a:pt x="120" y="20"/>
                    <a:pt x="120" y="20"/>
                    <a:pt x="120" y="20"/>
                  </a:cubicBezTo>
                  <a:cubicBezTo>
                    <a:pt x="120" y="20"/>
                    <a:pt x="120" y="20"/>
                    <a:pt x="120" y="20"/>
                  </a:cubicBezTo>
                  <a:cubicBezTo>
                    <a:pt x="120" y="20"/>
                    <a:pt x="120" y="20"/>
                    <a:pt x="120" y="20"/>
                  </a:cubicBezTo>
                  <a:cubicBezTo>
                    <a:pt x="120" y="20"/>
                    <a:pt x="120" y="20"/>
                    <a:pt x="120"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8" y="20"/>
                    <a:pt x="118" y="20"/>
                    <a:pt x="118" y="20"/>
                  </a:cubicBezTo>
                  <a:cubicBezTo>
                    <a:pt x="118" y="20"/>
                    <a:pt x="118" y="20"/>
                    <a:pt x="118" y="20"/>
                  </a:cubicBezTo>
                  <a:cubicBezTo>
                    <a:pt x="118" y="20"/>
                    <a:pt x="118" y="20"/>
                    <a:pt x="118" y="20"/>
                  </a:cubicBezTo>
                  <a:cubicBezTo>
                    <a:pt x="118" y="20"/>
                    <a:pt x="118" y="20"/>
                    <a:pt x="118" y="20"/>
                  </a:cubicBezTo>
                  <a:cubicBezTo>
                    <a:pt x="118" y="20"/>
                    <a:pt x="118" y="20"/>
                    <a:pt x="118" y="20"/>
                  </a:cubicBezTo>
                  <a:cubicBezTo>
                    <a:pt x="117" y="20"/>
                    <a:pt x="117" y="20"/>
                    <a:pt x="117" y="20"/>
                  </a:cubicBezTo>
                  <a:cubicBezTo>
                    <a:pt x="117" y="20"/>
                    <a:pt x="117" y="20"/>
                    <a:pt x="117" y="20"/>
                  </a:cubicBezTo>
                  <a:cubicBezTo>
                    <a:pt x="117" y="20"/>
                    <a:pt x="117" y="20"/>
                    <a:pt x="117" y="20"/>
                  </a:cubicBezTo>
                  <a:cubicBezTo>
                    <a:pt x="117" y="20"/>
                    <a:pt x="117" y="20"/>
                    <a:pt x="117" y="20"/>
                  </a:cubicBezTo>
                  <a:cubicBezTo>
                    <a:pt x="117" y="20"/>
                    <a:pt x="117" y="20"/>
                    <a:pt x="117" y="20"/>
                  </a:cubicBezTo>
                  <a:cubicBezTo>
                    <a:pt x="116" y="20"/>
                    <a:pt x="116" y="20"/>
                    <a:pt x="116" y="20"/>
                  </a:cubicBezTo>
                  <a:cubicBezTo>
                    <a:pt x="116" y="20"/>
                    <a:pt x="116" y="20"/>
                    <a:pt x="116" y="20"/>
                  </a:cubicBezTo>
                  <a:cubicBezTo>
                    <a:pt x="116" y="20"/>
                    <a:pt x="116" y="20"/>
                    <a:pt x="116" y="20"/>
                  </a:cubicBezTo>
                  <a:cubicBezTo>
                    <a:pt x="116" y="20"/>
                    <a:pt x="116" y="20"/>
                    <a:pt x="116" y="20"/>
                  </a:cubicBezTo>
                  <a:cubicBezTo>
                    <a:pt x="116" y="20"/>
                    <a:pt x="116" y="20"/>
                    <a:pt x="116" y="20"/>
                  </a:cubicBezTo>
                  <a:cubicBezTo>
                    <a:pt x="115" y="20"/>
                    <a:pt x="115" y="20"/>
                    <a:pt x="115" y="20"/>
                  </a:cubicBezTo>
                  <a:cubicBezTo>
                    <a:pt x="115" y="20"/>
                    <a:pt x="115" y="20"/>
                    <a:pt x="115" y="20"/>
                  </a:cubicBezTo>
                  <a:cubicBezTo>
                    <a:pt x="107" y="20"/>
                    <a:pt x="107" y="20"/>
                    <a:pt x="107" y="20"/>
                  </a:cubicBezTo>
                  <a:cubicBezTo>
                    <a:pt x="107" y="0"/>
                    <a:pt x="107" y="0"/>
                    <a:pt x="107" y="0"/>
                  </a:cubicBezTo>
                  <a:close/>
                  <a:moveTo>
                    <a:pt x="122" y="480"/>
                  </a:moveTo>
                  <a:cubicBezTo>
                    <a:pt x="107" y="480"/>
                    <a:pt x="107" y="480"/>
                    <a:pt x="107" y="480"/>
                  </a:cubicBezTo>
                  <a:cubicBezTo>
                    <a:pt x="107" y="458"/>
                    <a:pt x="107" y="458"/>
                    <a:pt x="107" y="458"/>
                  </a:cubicBezTo>
                  <a:cubicBezTo>
                    <a:pt x="115" y="458"/>
                    <a:pt x="115" y="458"/>
                    <a:pt x="115" y="458"/>
                  </a:cubicBezTo>
                  <a:cubicBezTo>
                    <a:pt x="122" y="458"/>
                    <a:pt x="122" y="458"/>
                    <a:pt x="122" y="458"/>
                  </a:cubicBezTo>
                  <a:cubicBezTo>
                    <a:pt x="122" y="480"/>
                    <a:pt x="122" y="480"/>
                    <a:pt x="122" y="480"/>
                  </a:cubicBezTo>
                  <a:close/>
                  <a:moveTo>
                    <a:pt x="122" y="55"/>
                  </a:moveTo>
                  <a:cubicBezTo>
                    <a:pt x="122" y="70"/>
                    <a:pt x="122" y="70"/>
                    <a:pt x="122" y="70"/>
                  </a:cubicBezTo>
                  <a:cubicBezTo>
                    <a:pt x="107" y="70"/>
                    <a:pt x="107" y="70"/>
                    <a:pt x="107" y="70"/>
                  </a:cubicBezTo>
                  <a:cubicBezTo>
                    <a:pt x="107" y="55"/>
                    <a:pt x="107" y="55"/>
                    <a:pt x="107" y="55"/>
                  </a:cubicBezTo>
                  <a:cubicBezTo>
                    <a:pt x="115" y="55"/>
                    <a:pt x="115" y="55"/>
                    <a:pt x="115" y="55"/>
                  </a:cubicBezTo>
                  <a:cubicBezTo>
                    <a:pt x="115" y="55"/>
                    <a:pt x="115" y="55"/>
                    <a:pt x="115" y="55"/>
                  </a:cubicBezTo>
                  <a:cubicBezTo>
                    <a:pt x="116" y="55"/>
                    <a:pt x="116" y="55"/>
                    <a:pt x="116" y="55"/>
                  </a:cubicBezTo>
                  <a:cubicBezTo>
                    <a:pt x="116" y="55"/>
                    <a:pt x="116" y="55"/>
                    <a:pt x="116" y="55"/>
                  </a:cubicBezTo>
                  <a:cubicBezTo>
                    <a:pt x="116" y="55"/>
                    <a:pt x="116" y="55"/>
                    <a:pt x="116" y="55"/>
                  </a:cubicBezTo>
                  <a:cubicBezTo>
                    <a:pt x="116" y="55"/>
                    <a:pt x="116" y="55"/>
                    <a:pt x="116" y="55"/>
                  </a:cubicBezTo>
                  <a:cubicBezTo>
                    <a:pt x="116" y="55"/>
                    <a:pt x="116" y="55"/>
                    <a:pt x="116" y="55"/>
                  </a:cubicBezTo>
                  <a:cubicBezTo>
                    <a:pt x="117" y="55"/>
                    <a:pt x="117" y="55"/>
                    <a:pt x="117" y="55"/>
                  </a:cubicBezTo>
                  <a:cubicBezTo>
                    <a:pt x="117" y="55"/>
                    <a:pt x="117" y="55"/>
                    <a:pt x="117" y="55"/>
                  </a:cubicBezTo>
                  <a:cubicBezTo>
                    <a:pt x="117" y="55"/>
                    <a:pt x="117" y="55"/>
                    <a:pt x="117" y="55"/>
                  </a:cubicBezTo>
                  <a:cubicBezTo>
                    <a:pt x="117" y="55"/>
                    <a:pt x="117" y="55"/>
                    <a:pt x="117" y="55"/>
                  </a:cubicBezTo>
                  <a:cubicBezTo>
                    <a:pt x="117" y="55"/>
                    <a:pt x="117" y="55"/>
                    <a:pt x="117" y="55"/>
                  </a:cubicBezTo>
                  <a:cubicBezTo>
                    <a:pt x="118" y="55"/>
                    <a:pt x="118" y="55"/>
                    <a:pt x="118" y="55"/>
                  </a:cubicBezTo>
                  <a:cubicBezTo>
                    <a:pt x="118" y="55"/>
                    <a:pt x="118" y="55"/>
                    <a:pt x="118" y="55"/>
                  </a:cubicBezTo>
                  <a:cubicBezTo>
                    <a:pt x="118" y="55"/>
                    <a:pt x="118" y="55"/>
                    <a:pt x="118" y="55"/>
                  </a:cubicBezTo>
                  <a:cubicBezTo>
                    <a:pt x="118" y="55"/>
                    <a:pt x="118" y="55"/>
                    <a:pt x="118" y="55"/>
                  </a:cubicBezTo>
                  <a:cubicBezTo>
                    <a:pt x="118" y="55"/>
                    <a:pt x="118" y="55"/>
                    <a:pt x="118" y="55"/>
                  </a:cubicBezTo>
                  <a:cubicBezTo>
                    <a:pt x="119" y="55"/>
                    <a:pt x="119" y="55"/>
                    <a:pt x="119" y="55"/>
                  </a:cubicBezTo>
                  <a:cubicBezTo>
                    <a:pt x="119" y="55"/>
                    <a:pt x="119" y="55"/>
                    <a:pt x="119" y="55"/>
                  </a:cubicBezTo>
                  <a:cubicBezTo>
                    <a:pt x="119" y="55"/>
                    <a:pt x="119" y="55"/>
                    <a:pt x="119" y="55"/>
                  </a:cubicBezTo>
                  <a:cubicBezTo>
                    <a:pt x="119" y="55"/>
                    <a:pt x="119" y="55"/>
                    <a:pt x="119" y="55"/>
                  </a:cubicBezTo>
                  <a:cubicBezTo>
                    <a:pt x="119" y="55"/>
                    <a:pt x="119" y="55"/>
                    <a:pt x="119" y="55"/>
                  </a:cubicBezTo>
                  <a:cubicBezTo>
                    <a:pt x="119" y="55"/>
                    <a:pt x="119" y="55"/>
                    <a:pt x="119" y="55"/>
                  </a:cubicBezTo>
                  <a:cubicBezTo>
                    <a:pt x="120" y="55"/>
                    <a:pt x="120" y="55"/>
                    <a:pt x="120" y="55"/>
                  </a:cubicBezTo>
                  <a:cubicBezTo>
                    <a:pt x="120" y="55"/>
                    <a:pt x="120" y="55"/>
                    <a:pt x="120" y="55"/>
                  </a:cubicBezTo>
                  <a:cubicBezTo>
                    <a:pt x="120" y="55"/>
                    <a:pt x="120" y="55"/>
                    <a:pt x="120" y="55"/>
                  </a:cubicBezTo>
                  <a:cubicBezTo>
                    <a:pt x="120" y="55"/>
                    <a:pt x="120" y="55"/>
                    <a:pt x="120" y="55"/>
                  </a:cubicBezTo>
                  <a:cubicBezTo>
                    <a:pt x="120" y="55"/>
                    <a:pt x="120" y="55"/>
                    <a:pt x="120" y="55"/>
                  </a:cubicBezTo>
                  <a:cubicBezTo>
                    <a:pt x="121" y="55"/>
                    <a:pt x="121" y="55"/>
                    <a:pt x="121" y="55"/>
                  </a:cubicBezTo>
                  <a:cubicBezTo>
                    <a:pt x="121" y="55"/>
                    <a:pt x="121" y="55"/>
                    <a:pt x="121" y="55"/>
                  </a:cubicBezTo>
                  <a:cubicBezTo>
                    <a:pt x="121" y="55"/>
                    <a:pt x="121" y="55"/>
                    <a:pt x="121" y="55"/>
                  </a:cubicBezTo>
                  <a:cubicBezTo>
                    <a:pt x="121" y="55"/>
                    <a:pt x="121" y="55"/>
                    <a:pt x="121" y="55"/>
                  </a:cubicBezTo>
                  <a:cubicBezTo>
                    <a:pt x="121" y="55"/>
                    <a:pt x="121" y="55"/>
                    <a:pt x="121" y="55"/>
                  </a:cubicBezTo>
                  <a:cubicBezTo>
                    <a:pt x="121" y="55"/>
                    <a:pt x="121" y="55"/>
                    <a:pt x="121" y="55"/>
                  </a:cubicBezTo>
                  <a:cubicBezTo>
                    <a:pt x="122" y="55"/>
                    <a:pt x="122" y="55"/>
                    <a:pt x="122" y="55"/>
                  </a:cubicBezTo>
                  <a:cubicBezTo>
                    <a:pt x="122" y="55"/>
                    <a:pt x="122" y="55"/>
                    <a:pt x="122" y="55"/>
                  </a:cubicBezTo>
                  <a:cubicBezTo>
                    <a:pt x="122" y="55"/>
                    <a:pt x="122" y="55"/>
                    <a:pt x="122" y="55"/>
                  </a:cubicBezTo>
                  <a:cubicBezTo>
                    <a:pt x="122" y="55"/>
                    <a:pt x="122" y="55"/>
                    <a:pt x="122" y="55"/>
                  </a:cubicBezTo>
                  <a:cubicBezTo>
                    <a:pt x="122" y="55"/>
                    <a:pt x="122" y="55"/>
                    <a:pt x="122" y="55"/>
                  </a:cubicBezTo>
                  <a:close/>
                  <a:moveTo>
                    <a:pt x="122" y="105"/>
                  </a:move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2" y="121"/>
                    <a:pt x="122" y="121"/>
                    <a:pt x="122" y="121"/>
                  </a:cubicBezTo>
                  <a:cubicBezTo>
                    <a:pt x="121" y="121"/>
                    <a:pt x="121" y="121"/>
                    <a:pt x="121" y="121"/>
                  </a:cubicBezTo>
                  <a:cubicBezTo>
                    <a:pt x="121" y="121"/>
                    <a:pt x="121" y="121"/>
                    <a:pt x="121" y="121"/>
                  </a:cubicBezTo>
                  <a:cubicBezTo>
                    <a:pt x="121" y="121"/>
                    <a:pt x="121" y="121"/>
                    <a:pt x="121" y="121"/>
                  </a:cubicBezTo>
                  <a:cubicBezTo>
                    <a:pt x="121" y="121"/>
                    <a:pt x="121" y="121"/>
                    <a:pt x="121" y="121"/>
                  </a:cubicBezTo>
                  <a:cubicBezTo>
                    <a:pt x="121" y="121"/>
                    <a:pt x="121" y="121"/>
                    <a:pt x="121" y="121"/>
                  </a:cubicBezTo>
                  <a:cubicBezTo>
                    <a:pt x="121" y="121"/>
                    <a:pt x="121" y="121"/>
                    <a:pt x="121" y="121"/>
                  </a:cubicBezTo>
                  <a:cubicBezTo>
                    <a:pt x="120" y="121"/>
                    <a:pt x="120" y="121"/>
                    <a:pt x="120" y="121"/>
                  </a:cubicBezTo>
                  <a:cubicBezTo>
                    <a:pt x="120" y="121"/>
                    <a:pt x="120" y="121"/>
                    <a:pt x="120" y="121"/>
                  </a:cubicBezTo>
                  <a:cubicBezTo>
                    <a:pt x="120" y="121"/>
                    <a:pt x="120" y="121"/>
                    <a:pt x="120" y="121"/>
                  </a:cubicBezTo>
                  <a:cubicBezTo>
                    <a:pt x="120" y="121"/>
                    <a:pt x="120" y="121"/>
                    <a:pt x="120" y="121"/>
                  </a:cubicBezTo>
                  <a:cubicBezTo>
                    <a:pt x="120" y="121"/>
                    <a:pt x="120" y="121"/>
                    <a:pt x="120" y="121"/>
                  </a:cubicBezTo>
                  <a:cubicBezTo>
                    <a:pt x="120" y="121"/>
                    <a:pt x="120" y="121"/>
                    <a:pt x="120" y="121"/>
                  </a:cubicBezTo>
                  <a:cubicBezTo>
                    <a:pt x="119" y="121"/>
                    <a:pt x="119" y="121"/>
                    <a:pt x="119" y="121"/>
                  </a:cubicBezTo>
                  <a:cubicBezTo>
                    <a:pt x="119" y="121"/>
                    <a:pt x="119" y="121"/>
                    <a:pt x="119" y="121"/>
                  </a:cubicBezTo>
                  <a:cubicBezTo>
                    <a:pt x="119" y="121"/>
                    <a:pt x="119" y="121"/>
                    <a:pt x="119" y="121"/>
                  </a:cubicBezTo>
                  <a:cubicBezTo>
                    <a:pt x="119" y="121"/>
                    <a:pt x="119" y="121"/>
                    <a:pt x="119" y="121"/>
                  </a:cubicBezTo>
                  <a:cubicBezTo>
                    <a:pt x="119" y="121"/>
                    <a:pt x="119" y="121"/>
                    <a:pt x="119" y="121"/>
                  </a:cubicBezTo>
                  <a:cubicBezTo>
                    <a:pt x="119" y="121"/>
                    <a:pt x="119" y="121"/>
                    <a:pt x="119" y="121"/>
                  </a:cubicBezTo>
                  <a:cubicBezTo>
                    <a:pt x="118" y="121"/>
                    <a:pt x="118" y="121"/>
                    <a:pt x="118" y="121"/>
                  </a:cubicBezTo>
                  <a:cubicBezTo>
                    <a:pt x="118" y="121"/>
                    <a:pt x="118" y="121"/>
                    <a:pt x="118" y="121"/>
                  </a:cubicBezTo>
                  <a:cubicBezTo>
                    <a:pt x="118" y="121"/>
                    <a:pt x="118" y="121"/>
                    <a:pt x="118" y="121"/>
                  </a:cubicBezTo>
                  <a:cubicBezTo>
                    <a:pt x="118" y="121"/>
                    <a:pt x="118" y="121"/>
                    <a:pt x="118" y="121"/>
                  </a:cubicBezTo>
                  <a:cubicBezTo>
                    <a:pt x="118" y="121"/>
                    <a:pt x="118" y="121"/>
                    <a:pt x="118"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7" y="121"/>
                    <a:pt x="117" y="121"/>
                    <a:pt x="117" y="121"/>
                  </a:cubicBezTo>
                  <a:cubicBezTo>
                    <a:pt x="116" y="121"/>
                    <a:pt x="116" y="121"/>
                    <a:pt x="116" y="121"/>
                  </a:cubicBezTo>
                  <a:cubicBezTo>
                    <a:pt x="116" y="121"/>
                    <a:pt x="116" y="121"/>
                    <a:pt x="116" y="121"/>
                  </a:cubicBezTo>
                  <a:cubicBezTo>
                    <a:pt x="116" y="121"/>
                    <a:pt x="116" y="121"/>
                    <a:pt x="116" y="121"/>
                  </a:cubicBezTo>
                  <a:cubicBezTo>
                    <a:pt x="116" y="121"/>
                    <a:pt x="116" y="121"/>
                    <a:pt x="116" y="121"/>
                  </a:cubicBezTo>
                  <a:cubicBezTo>
                    <a:pt x="116" y="121"/>
                    <a:pt x="116" y="121"/>
                    <a:pt x="116" y="121"/>
                  </a:cubicBezTo>
                  <a:cubicBezTo>
                    <a:pt x="115" y="121"/>
                    <a:pt x="115" y="121"/>
                    <a:pt x="115" y="121"/>
                  </a:cubicBezTo>
                  <a:cubicBezTo>
                    <a:pt x="115" y="121"/>
                    <a:pt x="115" y="121"/>
                    <a:pt x="115" y="121"/>
                  </a:cubicBezTo>
                  <a:cubicBezTo>
                    <a:pt x="115" y="132"/>
                    <a:pt x="115" y="144"/>
                    <a:pt x="115" y="156"/>
                  </a:cubicBezTo>
                  <a:cubicBezTo>
                    <a:pt x="115" y="156"/>
                    <a:pt x="115" y="156"/>
                    <a:pt x="115" y="156"/>
                  </a:cubicBezTo>
                  <a:cubicBezTo>
                    <a:pt x="116" y="156"/>
                    <a:pt x="116" y="156"/>
                    <a:pt x="116" y="156"/>
                  </a:cubicBezTo>
                  <a:cubicBezTo>
                    <a:pt x="116" y="156"/>
                    <a:pt x="116" y="156"/>
                    <a:pt x="116" y="156"/>
                  </a:cubicBezTo>
                  <a:cubicBezTo>
                    <a:pt x="116" y="156"/>
                    <a:pt x="116" y="156"/>
                    <a:pt x="116" y="156"/>
                  </a:cubicBezTo>
                  <a:cubicBezTo>
                    <a:pt x="116" y="156"/>
                    <a:pt x="116" y="156"/>
                    <a:pt x="116" y="156"/>
                  </a:cubicBezTo>
                  <a:cubicBezTo>
                    <a:pt x="116" y="156"/>
                    <a:pt x="116" y="156"/>
                    <a:pt x="116"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7" y="156"/>
                    <a:pt x="117" y="156"/>
                    <a:pt x="117" y="156"/>
                  </a:cubicBezTo>
                  <a:cubicBezTo>
                    <a:pt x="118" y="156"/>
                    <a:pt x="118" y="156"/>
                    <a:pt x="118" y="156"/>
                  </a:cubicBezTo>
                  <a:cubicBezTo>
                    <a:pt x="118" y="156"/>
                    <a:pt x="118" y="156"/>
                    <a:pt x="118" y="156"/>
                  </a:cubicBezTo>
                  <a:cubicBezTo>
                    <a:pt x="118" y="156"/>
                    <a:pt x="118" y="156"/>
                    <a:pt x="118" y="156"/>
                  </a:cubicBezTo>
                  <a:cubicBezTo>
                    <a:pt x="118" y="156"/>
                    <a:pt x="118" y="156"/>
                    <a:pt x="118" y="156"/>
                  </a:cubicBezTo>
                  <a:cubicBezTo>
                    <a:pt x="118" y="156"/>
                    <a:pt x="118" y="156"/>
                    <a:pt x="118" y="156"/>
                  </a:cubicBezTo>
                  <a:cubicBezTo>
                    <a:pt x="119" y="156"/>
                    <a:pt x="119" y="156"/>
                    <a:pt x="119" y="156"/>
                  </a:cubicBezTo>
                  <a:cubicBezTo>
                    <a:pt x="119" y="156"/>
                    <a:pt x="119" y="156"/>
                    <a:pt x="119" y="156"/>
                  </a:cubicBezTo>
                  <a:cubicBezTo>
                    <a:pt x="119" y="156"/>
                    <a:pt x="119" y="156"/>
                    <a:pt x="119" y="156"/>
                  </a:cubicBezTo>
                  <a:cubicBezTo>
                    <a:pt x="119" y="156"/>
                    <a:pt x="119" y="156"/>
                    <a:pt x="119" y="156"/>
                  </a:cubicBezTo>
                  <a:cubicBezTo>
                    <a:pt x="119" y="156"/>
                    <a:pt x="119" y="156"/>
                    <a:pt x="119" y="156"/>
                  </a:cubicBezTo>
                  <a:cubicBezTo>
                    <a:pt x="119" y="156"/>
                    <a:pt x="119" y="156"/>
                    <a:pt x="119" y="156"/>
                  </a:cubicBezTo>
                  <a:cubicBezTo>
                    <a:pt x="120" y="156"/>
                    <a:pt x="120" y="156"/>
                    <a:pt x="120" y="156"/>
                  </a:cubicBezTo>
                  <a:cubicBezTo>
                    <a:pt x="120" y="156"/>
                    <a:pt x="120" y="156"/>
                    <a:pt x="120" y="156"/>
                  </a:cubicBezTo>
                  <a:cubicBezTo>
                    <a:pt x="120" y="156"/>
                    <a:pt x="120" y="156"/>
                    <a:pt x="120" y="156"/>
                  </a:cubicBezTo>
                  <a:cubicBezTo>
                    <a:pt x="120" y="156"/>
                    <a:pt x="120" y="156"/>
                    <a:pt x="120" y="156"/>
                  </a:cubicBezTo>
                  <a:cubicBezTo>
                    <a:pt x="120" y="156"/>
                    <a:pt x="120" y="156"/>
                    <a:pt x="120" y="156"/>
                  </a:cubicBezTo>
                  <a:cubicBezTo>
                    <a:pt x="120" y="156"/>
                    <a:pt x="120" y="156"/>
                    <a:pt x="120" y="156"/>
                  </a:cubicBezTo>
                  <a:cubicBezTo>
                    <a:pt x="121" y="156"/>
                    <a:pt x="121" y="156"/>
                    <a:pt x="121" y="156"/>
                  </a:cubicBezTo>
                  <a:cubicBezTo>
                    <a:pt x="121" y="156"/>
                    <a:pt x="121" y="156"/>
                    <a:pt x="121" y="156"/>
                  </a:cubicBezTo>
                  <a:cubicBezTo>
                    <a:pt x="121" y="156"/>
                    <a:pt x="121" y="156"/>
                    <a:pt x="121" y="156"/>
                  </a:cubicBezTo>
                  <a:cubicBezTo>
                    <a:pt x="121" y="156"/>
                    <a:pt x="121" y="156"/>
                    <a:pt x="121" y="156"/>
                  </a:cubicBezTo>
                  <a:cubicBezTo>
                    <a:pt x="121" y="156"/>
                    <a:pt x="121" y="156"/>
                    <a:pt x="121" y="156"/>
                  </a:cubicBezTo>
                  <a:cubicBezTo>
                    <a:pt x="121" y="156"/>
                    <a:pt x="121" y="156"/>
                    <a:pt x="121"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56"/>
                    <a:pt x="122" y="156"/>
                    <a:pt x="122" y="156"/>
                  </a:cubicBezTo>
                  <a:cubicBezTo>
                    <a:pt x="122" y="171"/>
                    <a:pt x="122" y="171"/>
                    <a:pt x="122" y="171"/>
                  </a:cubicBezTo>
                  <a:cubicBezTo>
                    <a:pt x="122" y="171"/>
                    <a:pt x="122" y="171"/>
                    <a:pt x="122" y="171"/>
                  </a:cubicBezTo>
                  <a:cubicBezTo>
                    <a:pt x="122" y="171"/>
                    <a:pt x="122" y="171"/>
                    <a:pt x="122" y="171"/>
                  </a:cubicBezTo>
                  <a:cubicBezTo>
                    <a:pt x="122" y="171"/>
                    <a:pt x="122" y="171"/>
                    <a:pt x="122" y="171"/>
                  </a:cubicBezTo>
                  <a:cubicBezTo>
                    <a:pt x="122" y="171"/>
                    <a:pt x="122" y="171"/>
                    <a:pt x="122" y="171"/>
                  </a:cubicBezTo>
                  <a:cubicBezTo>
                    <a:pt x="121" y="171"/>
                    <a:pt x="121" y="171"/>
                    <a:pt x="121" y="171"/>
                  </a:cubicBezTo>
                  <a:cubicBezTo>
                    <a:pt x="121" y="171"/>
                    <a:pt x="121" y="171"/>
                    <a:pt x="121" y="171"/>
                  </a:cubicBezTo>
                  <a:cubicBezTo>
                    <a:pt x="121" y="171"/>
                    <a:pt x="121" y="171"/>
                    <a:pt x="121" y="171"/>
                  </a:cubicBezTo>
                  <a:cubicBezTo>
                    <a:pt x="121" y="171"/>
                    <a:pt x="121" y="171"/>
                    <a:pt x="121" y="171"/>
                  </a:cubicBezTo>
                  <a:cubicBezTo>
                    <a:pt x="121" y="171"/>
                    <a:pt x="121" y="171"/>
                    <a:pt x="121" y="171"/>
                  </a:cubicBezTo>
                  <a:cubicBezTo>
                    <a:pt x="120" y="171"/>
                    <a:pt x="120" y="171"/>
                    <a:pt x="120" y="171"/>
                  </a:cubicBezTo>
                  <a:cubicBezTo>
                    <a:pt x="120" y="171"/>
                    <a:pt x="120" y="171"/>
                    <a:pt x="120" y="171"/>
                  </a:cubicBezTo>
                  <a:cubicBezTo>
                    <a:pt x="120" y="171"/>
                    <a:pt x="120" y="171"/>
                    <a:pt x="120" y="171"/>
                  </a:cubicBezTo>
                  <a:cubicBezTo>
                    <a:pt x="120" y="171"/>
                    <a:pt x="120" y="171"/>
                    <a:pt x="120" y="171"/>
                  </a:cubicBezTo>
                  <a:cubicBezTo>
                    <a:pt x="119" y="171"/>
                    <a:pt x="119" y="171"/>
                    <a:pt x="119" y="171"/>
                  </a:cubicBezTo>
                  <a:cubicBezTo>
                    <a:pt x="119" y="171"/>
                    <a:pt x="119" y="171"/>
                    <a:pt x="119" y="171"/>
                  </a:cubicBezTo>
                  <a:cubicBezTo>
                    <a:pt x="119" y="171"/>
                    <a:pt x="119" y="171"/>
                    <a:pt x="119" y="171"/>
                  </a:cubicBezTo>
                  <a:cubicBezTo>
                    <a:pt x="119" y="171"/>
                    <a:pt x="119" y="171"/>
                    <a:pt x="119" y="171"/>
                  </a:cubicBezTo>
                  <a:cubicBezTo>
                    <a:pt x="119" y="171"/>
                    <a:pt x="119" y="171"/>
                    <a:pt x="119" y="171"/>
                  </a:cubicBezTo>
                  <a:cubicBezTo>
                    <a:pt x="118" y="171"/>
                    <a:pt x="118" y="171"/>
                    <a:pt x="118" y="171"/>
                  </a:cubicBezTo>
                  <a:cubicBezTo>
                    <a:pt x="118" y="171"/>
                    <a:pt x="118" y="171"/>
                    <a:pt x="118" y="171"/>
                  </a:cubicBezTo>
                  <a:cubicBezTo>
                    <a:pt x="118" y="171"/>
                    <a:pt x="118" y="171"/>
                    <a:pt x="118" y="171"/>
                  </a:cubicBezTo>
                  <a:cubicBezTo>
                    <a:pt x="118" y="171"/>
                    <a:pt x="118" y="171"/>
                    <a:pt x="118" y="171"/>
                  </a:cubicBezTo>
                  <a:cubicBezTo>
                    <a:pt x="117" y="171"/>
                    <a:pt x="117" y="171"/>
                    <a:pt x="117" y="171"/>
                  </a:cubicBezTo>
                  <a:cubicBezTo>
                    <a:pt x="117" y="171"/>
                    <a:pt x="117" y="171"/>
                    <a:pt x="117" y="171"/>
                  </a:cubicBezTo>
                  <a:cubicBezTo>
                    <a:pt x="117" y="171"/>
                    <a:pt x="117" y="171"/>
                    <a:pt x="117" y="171"/>
                  </a:cubicBezTo>
                  <a:cubicBezTo>
                    <a:pt x="117" y="171"/>
                    <a:pt x="117" y="171"/>
                    <a:pt x="117" y="171"/>
                  </a:cubicBezTo>
                  <a:cubicBezTo>
                    <a:pt x="117" y="171"/>
                    <a:pt x="117" y="171"/>
                    <a:pt x="117" y="171"/>
                  </a:cubicBezTo>
                  <a:cubicBezTo>
                    <a:pt x="116" y="171"/>
                    <a:pt x="116" y="171"/>
                    <a:pt x="116" y="171"/>
                  </a:cubicBezTo>
                  <a:cubicBezTo>
                    <a:pt x="116" y="171"/>
                    <a:pt x="116" y="171"/>
                    <a:pt x="116" y="171"/>
                  </a:cubicBezTo>
                  <a:cubicBezTo>
                    <a:pt x="116" y="171"/>
                    <a:pt x="116" y="171"/>
                    <a:pt x="116" y="171"/>
                  </a:cubicBezTo>
                  <a:cubicBezTo>
                    <a:pt x="116" y="171"/>
                    <a:pt x="116" y="171"/>
                    <a:pt x="116" y="171"/>
                  </a:cubicBezTo>
                  <a:cubicBezTo>
                    <a:pt x="115" y="171"/>
                    <a:pt x="115" y="171"/>
                    <a:pt x="115" y="171"/>
                  </a:cubicBezTo>
                  <a:cubicBezTo>
                    <a:pt x="115" y="171"/>
                    <a:pt x="115" y="171"/>
                    <a:pt x="115" y="171"/>
                  </a:cubicBezTo>
                  <a:cubicBezTo>
                    <a:pt x="107" y="171"/>
                    <a:pt x="107" y="171"/>
                    <a:pt x="107" y="171"/>
                  </a:cubicBezTo>
                  <a:cubicBezTo>
                    <a:pt x="107" y="105"/>
                    <a:pt x="107" y="105"/>
                    <a:pt x="107" y="105"/>
                  </a:cubicBezTo>
                  <a:cubicBezTo>
                    <a:pt x="122" y="105"/>
                    <a:pt x="122" y="105"/>
                    <a:pt x="122" y="105"/>
                  </a:cubicBezTo>
                  <a:close/>
                  <a:moveTo>
                    <a:pt x="122" y="206"/>
                  </a:moveTo>
                  <a:cubicBezTo>
                    <a:pt x="122" y="221"/>
                    <a:pt x="122" y="221"/>
                    <a:pt x="122" y="221"/>
                  </a:cubicBezTo>
                  <a:cubicBezTo>
                    <a:pt x="122" y="221"/>
                    <a:pt x="122" y="221"/>
                    <a:pt x="122" y="221"/>
                  </a:cubicBezTo>
                  <a:cubicBezTo>
                    <a:pt x="122" y="221"/>
                    <a:pt x="122" y="221"/>
                    <a:pt x="122" y="221"/>
                  </a:cubicBezTo>
                  <a:cubicBezTo>
                    <a:pt x="122" y="221"/>
                    <a:pt x="122" y="221"/>
                    <a:pt x="122" y="221"/>
                  </a:cubicBezTo>
                  <a:cubicBezTo>
                    <a:pt x="122" y="221"/>
                    <a:pt x="122" y="221"/>
                    <a:pt x="122" y="221"/>
                  </a:cubicBezTo>
                  <a:cubicBezTo>
                    <a:pt x="121" y="221"/>
                    <a:pt x="121" y="221"/>
                    <a:pt x="121" y="221"/>
                  </a:cubicBezTo>
                  <a:cubicBezTo>
                    <a:pt x="121" y="221"/>
                    <a:pt x="121" y="221"/>
                    <a:pt x="121" y="221"/>
                  </a:cubicBezTo>
                  <a:cubicBezTo>
                    <a:pt x="121" y="221"/>
                    <a:pt x="121" y="221"/>
                    <a:pt x="121" y="221"/>
                  </a:cubicBezTo>
                  <a:cubicBezTo>
                    <a:pt x="121" y="221"/>
                    <a:pt x="121" y="221"/>
                    <a:pt x="121" y="221"/>
                  </a:cubicBezTo>
                  <a:cubicBezTo>
                    <a:pt x="121" y="221"/>
                    <a:pt x="121" y="221"/>
                    <a:pt x="121" y="221"/>
                  </a:cubicBezTo>
                  <a:cubicBezTo>
                    <a:pt x="121" y="221"/>
                    <a:pt x="121" y="221"/>
                    <a:pt x="121" y="221"/>
                  </a:cubicBezTo>
                  <a:cubicBezTo>
                    <a:pt x="120" y="221"/>
                    <a:pt x="120" y="221"/>
                    <a:pt x="120" y="221"/>
                  </a:cubicBezTo>
                  <a:cubicBezTo>
                    <a:pt x="120" y="221"/>
                    <a:pt x="120" y="221"/>
                    <a:pt x="120" y="221"/>
                  </a:cubicBezTo>
                  <a:cubicBezTo>
                    <a:pt x="120" y="221"/>
                    <a:pt x="120" y="221"/>
                    <a:pt x="120" y="221"/>
                  </a:cubicBezTo>
                  <a:cubicBezTo>
                    <a:pt x="120" y="221"/>
                    <a:pt x="120" y="221"/>
                    <a:pt x="120" y="221"/>
                  </a:cubicBezTo>
                  <a:cubicBezTo>
                    <a:pt x="120" y="221"/>
                    <a:pt x="120" y="221"/>
                    <a:pt x="120" y="221"/>
                  </a:cubicBezTo>
                  <a:cubicBezTo>
                    <a:pt x="119" y="221"/>
                    <a:pt x="119" y="221"/>
                    <a:pt x="119" y="221"/>
                  </a:cubicBezTo>
                  <a:cubicBezTo>
                    <a:pt x="119" y="221"/>
                    <a:pt x="119" y="221"/>
                    <a:pt x="119" y="221"/>
                  </a:cubicBezTo>
                  <a:cubicBezTo>
                    <a:pt x="119" y="221"/>
                    <a:pt x="119" y="221"/>
                    <a:pt x="119" y="221"/>
                  </a:cubicBezTo>
                  <a:cubicBezTo>
                    <a:pt x="119" y="221"/>
                    <a:pt x="119" y="221"/>
                    <a:pt x="119" y="221"/>
                  </a:cubicBezTo>
                  <a:cubicBezTo>
                    <a:pt x="119" y="221"/>
                    <a:pt x="119" y="221"/>
                    <a:pt x="119" y="221"/>
                  </a:cubicBezTo>
                  <a:cubicBezTo>
                    <a:pt x="119" y="221"/>
                    <a:pt x="119" y="221"/>
                    <a:pt x="119" y="221"/>
                  </a:cubicBezTo>
                  <a:cubicBezTo>
                    <a:pt x="118" y="221"/>
                    <a:pt x="118" y="221"/>
                    <a:pt x="118" y="221"/>
                  </a:cubicBezTo>
                  <a:cubicBezTo>
                    <a:pt x="118" y="221"/>
                    <a:pt x="118" y="221"/>
                    <a:pt x="118" y="221"/>
                  </a:cubicBezTo>
                  <a:cubicBezTo>
                    <a:pt x="118" y="221"/>
                    <a:pt x="118" y="221"/>
                    <a:pt x="118" y="221"/>
                  </a:cubicBezTo>
                  <a:cubicBezTo>
                    <a:pt x="118" y="221"/>
                    <a:pt x="118" y="221"/>
                    <a:pt x="118" y="221"/>
                  </a:cubicBezTo>
                  <a:cubicBezTo>
                    <a:pt x="118" y="221"/>
                    <a:pt x="118" y="221"/>
                    <a:pt x="118" y="221"/>
                  </a:cubicBezTo>
                  <a:cubicBezTo>
                    <a:pt x="117" y="221"/>
                    <a:pt x="117" y="221"/>
                    <a:pt x="117" y="221"/>
                  </a:cubicBezTo>
                  <a:cubicBezTo>
                    <a:pt x="117" y="221"/>
                    <a:pt x="117" y="221"/>
                    <a:pt x="117" y="221"/>
                  </a:cubicBezTo>
                  <a:cubicBezTo>
                    <a:pt x="117" y="221"/>
                    <a:pt x="117" y="221"/>
                    <a:pt x="117" y="221"/>
                  </a:cubicBezTo>
                  <a:cubicBezTo>
                    <a:pt x="117" y="221"/>
                    <a:pt x="117" y="221"/>
                    <a:pt x="117" y="221"/>
                  </a:cubicBezTo>
                  <a:cubicBezTo>
                    <a:pt x="117" y="221"/>
                    <a:pt x="117" y="221"/>
                    <a:pt x="117" y="221"/>
                  </a:cubicBezTo>
                  <a:cubicBezTo>
                    <a:pt x="116" y="221"/>
                    <a:pt x="116" y="221"/>
                    <a:pt x="116" y="221"/>
                  </a:cubicBezTo>
                  <a:cubicBezTo>
                    <a:pt x="116" y="221"/>
                    <a:pt x="116" y="221"/>
                    <a:pt x="116" y="221"/>
                  </a:cubicBezTo>
                  <a:cubicBezTo>
                    <a:pt x="116" y="221"/>
                    <a:pt x="116" y="221"/>
                    <a:pt x="116" y="221"/>
                  </a:cubicBezTo>
                  <a:cubicBezTo>
                    <a:pt x="116" y="221"/>
                    <a:pt x="116" y="221"/>
                    <a:pt x="116" y="221"/>
                  </a:cubicBezTo>
                  <a:cubicBezTo>
                    <a:pt x="116" y="221"/>
                    <a:pt x="116" y="221"/>
                    <a:pt x="116" y="221"/>
                  </a:cubicBezTo>
                  <a:cubicBezTo>
                    <a:pt x="115" y="221"/>
                    <a:pt x="115" y="221"/>
                    <a:pt x="115" y="221"/>
                  </a:cubicBezTo>
                  <a:cubicBezTo>
                    <a:pt x="115" y="221"/>
                    <a:pt x="115" y="221"/>
                    <a:pt x="115" y="221"/>
                  </a:cubicBezTo>
                  <a:cubicBezTo>
                    <a:pt x="107" y="221"/>
                    <a:pt x="107" y="221"/>
                    <a:pt x="107" y="221"/>
                  </a:cubicBezTo>
                  <a:cubicBezTo>
                    <a:pt x="107" y="206"/>
                    <a:pt x="107" y="206"/>
                    <a:pt x="107" y="206"/>
                  </a:cubicBezTo>
                  <a:cubicBezTo>
                    <a:pt x="115" y="206"/>
                    <a:pt x="115" y="206"/>
                    <a:pt x="115" y="206"/>
                  </a:cubicBezTo>
                  <a:cubicBezTo>
                    <a:pt x="115" y="206"/>
                    <a:pt x="115" y="206"/>
                    <a:pt x="115" y="206"/>
                  </a:cubicBezTo>
                  <a:cubicBezTo>
                    <a:pt x="116" y="206"/>
                    <a:pt x="116" y="206"/>
                    <a:pt x="116" y="206"/>
                  </a:cubicBezTo>
                  <a:cubicBezTo>
                    <a:pt x="116" y="206"/>
                    <a:pt x="116" y="206"/>
                    <a:pt x="116" y="206"/>
                  </a:cubicBezTo>
                  <a:cubicBezTo>
                    <a:pt x="116" y="206"/>
                    <a:pt x="116" y="206"/>
                    <a:pt x="116" y="206"/>
                  </a:cubicBezTo>
                  <a:cubicBezTo>
                    <a:pt x="116" y="206"/>
                    <a:pt x="116" y="206"/>
                    <a:pt x="116" y="206"/>
                  </a:cubicBezTo>
                  <a:cubicBezTo>
                    <a:pt x="117" y="206"/>
                    <a:pt x="117" y="206"/>
                    <a:pt x="117" y="206"/>
                  </a:cubicBezTo>
                  <a:cubicBezTo>
                    <a:pt x="117" y="206"/>
                    <a:pt x="117" y="206"/>
                    <a:pt x="117" y="206"/>
                  </a:cubicBezTo>
                  <a:cubicBezTo>
                    <a:pt x="117" y="206"/>
                    <a:pt x="117" y="206"/>
                    <a:pt x="117" y="206"/>
                  </a:cubicBezTo>
                  <a:cubicBezTo>
                    <a:pt x="117" y="206"/>
                    <a:pt x="117" y="206"/>
                    <a:pt x="117" y="206"/>
                  </a:cubicBezTo>
                  <a:cubicBezTo>
                    <a:pt x="117" y="206"/>
                    <a:pt x="117" y="206"/>
                    <a:pt x="117" y="206"/>
                  </a:cubicBezTo>
                  <a:cubicBezTo>
                    <a:pt x="118" y="206"/>
                    <a:pt x="118" y="206"/>
                    <a:pt x="118" y="206"/>
                  </a:cubicBezTo>
                  <a:cubicBezTo>
                    <a:pt x="118" y="206"/>
                    <a:pt x="118" y="206"/>
                    <a:pt x="118" y="206"/>
                  </a:cubicBezTo>
                  <a:cubicBezTo>
                    <a:pt x="118" y="206"/>
                    <a:pt x="118" y="206"/>
                    <a:pt x="118" y="206"/>
                  </a:cubicBezTo>
                  <a:cubicBezTo>
                    <a:pt x="118" y="206"/>
                    <a:pt x="118" y="206"/>
                    <a:pt x="118" y="206"/>
                  </a:cubicBezTo>
                  <a:cubicBezTo>
                    <a:pt x="119" y="206"/>
                    <a:pt x="119" y="206"/>
                    <a:pt x="119" y="206"/>
                  </a:cubicBezTo>
                  <a:cubicBezTo>
                    <a:pt x="119" y="206"/>
                    <a:pt x="119" y="206"/>
                    <a:pt x="119" y="206"/>
                  </a:cubicBezTo>
                  <a:cubicBezTo>
                    <a:pt x="119" y="206"/>
                    <a:pt x="119" y="206"/>
                    <a:pt x="119" y="206"/>
                  </a:cubicBezTo>
                  <a:cubicBezTo>
                    <a:pt x="119" y="206"/>
                    <a:pt x="119" y="206"/>
                    <a:pt x="119" y="206"/>
                  </a:cubicBezTo>
                  <a:cubicBezTo>
                    <a:pt x="119" y="206"/>
                    <a:pt x="119" y="206"/>
                    <a:pt x="119" y="206"/>
                  </a:cubicBezTo>
                  <a:cubicBezTo>
                    <a:pt x="120" y="206"/>
                    <a:pt x="120" y="206"/>
                    <a:pt x="120" y="206"/>
                  </a:cubicBezTo>
                  <a:cubicBezTo>
                    <a:pt x="120" y="206"/>
                    <a:pt x="120" y="206"/>
                    <a:pt x="120" y="206"/>
                  </a:cubicBezTo>
                  <a:cubicBezTo>
                    <a:pt x="120" y="206"/>
                    <a:pt x="120" y="206"/>
                    <a:pt x="120" y="206"/>
                  </a:cubicBezTo>
                  <a:cubicBezTo>
                    <a:pt x="120" y="206"/>
                    <a:pt x="120" y="206"/>
                    <a:pt x="120" y="206"/>
                  </a:cubicBezTo>
                  <a:cubicBezTo>
                    <a:pt x="121" y="206"/>
                    <a:pt x="121" y="206"/>
                    <a:pt x="121" y="206"/>
                  </a:cubicBezTo>
                  <a:cubicBezTo>
                    <a:pt x="121" y="206"/>
                    <a:pt x="121" y="206"/>
                    <a:pt x="121" y="206"/>
                  </a:cubicBezTo>
                  <a:cubicBezTo>
                    <a:pt x="121" y="206"/>
                    <a:pt x="121" y="206"/>
                    <a:pt x="121" y="206"/>
                  </a:cubicBezTo>
                  <a:cubicBezTo>
                    <a:pt x="121" y="206"/>
                    <a:pt x="121" y="206"/>
                    <a:pt x="121" y="206"/>
                  </a:cubicBezTo>
                  <a:cubicBezTo>
                    <a:pt x="121" y="206"/>
                    <a:pt x="121" y="206"/>
                    <a:pt x="121" y="206"/>
                  </a:cubicBezTo>
                  <a:cubicBezTo>
                    <a:pt x="122" y="206"/>
                    <a:pt x="122" y="206"/>
                    <a:pt x="122" y="206"/>
                  </a:cubicBezTo>
                  <a:cubicBezTo>
                    <a:pt x="122" y="206"/>
                    <a:pt x="122" y="206"/>
                    <a:pt x="122" y="206"/>
                  </a:cubicBezTo>
                  <a:cubicBezTo>
                    <a:pt x="122" y="206"/>
                    <a:pt x="122" y="206"/>
                    <a:pt x="122" y="206"/>
                  </a:cubicBezTo>
                  <a:cubicBezTo>
                    <a:pt x="122" y="206"/>
                    <a:pt x="122" y="206"/>
                    <a:pt x="122" y="206"/>
                  </a:cubicBezTo>
                  <a:cubicBezTo>
                    <a:pt x="122" y="206"/>
                    <a:pt x="122" y="206"/>
                    <a:pt x="122" y="206"/>
                  </a:cubicBezTo>
                  <a:close/>
                  <a:moveTo>
                    <a:pt x="122" y="256"/>
                  </a:moveTo>
                  <a:cubicBezTo>
                    <a:pt x="122" y="272"/>
                    <a:pt x="122" y="272"/>
                    <a:pt x="122" y="272"/>
                  </a:cubicBezTo>
                  <a:cubicBezTo>
                    <a:pt x="107" y="272"/>
                    <a:pt x="107" y="272"/>
                    <a:pt x="107" y="272"/>
                  </a:cubicBezTo>
                  <a:cubicBezTo>
                    <a:pt x="107" y="256"/>
                    <a:pt x="107" y="256"/>
                    <a:pt x="107" y="256"/>
                  </a:cubicBezTo>
                  <a:cubicBezTo>
                    <a:pt x="115" y="256"/>
                    <a:pt x="115" y="256"/>
                    <a:pt x="115" y="256"/>
                  </a:cubicBezTo>
                  <a:cubicBezTo>
                    <a:pt x="115" y="256"/>
                    <a:pt x="115" y="256"/>
                    <a:pt x="115" y="256"/>
                  </a:cubicBezTo>
                  <a:cubicBezTo>
                    <a:pt x="116" y="256"/>
                    <a:pt x="116" y="256"/>
                    <a:pt x="116" y="256"/>
                  </a:cubicBezTo>
                  <a:cubicBezTo>
                    <a:pt x="116" y="256"/>
                    <a:pt x="116" y="256"/>
                    <a:pt x="116" y="256"/>
                  </a:cubicBezTo>
                  <a:cubicBezTo>
                    <a:pt x="116" y="256"/>
                    <a:pt x="116" y="256"/>
                    <a:pt x="116" y="256"/>
                  </a:cubicBezTo>
                  <a:cubicBezTo>
                    <a:pt x="116" y="256"/>
                    <a:pt x="116" y="256"/>
                    <a:pt x="116" y="256"/>
                  </a:cubicBezTo>
                  <a:cubicBezTo>
                    <a:pt x="116" y="256"/>
                    <a:pt x="116" y="256"/>
                    <a:pt x="116" y="256"/>
                  </a:cubicBezTo>
                  <a:cubicBezTo>
                    <a:pt x="117" y="256"/>
                    <a:pt x="117" y="256"/>
                    <a:pt x="117" y="256"/>
                  </a:cubicBezTo>
                  <a:cubicBezTo>
                    <a:pt x="117" y="256"/>
                    <a:pt x="117" y="256"/>
                    <a:pt x="117" y="256"/>
                  </a:cubicBezTo>
                  <a:cubicBezTo>
                    <a:pt x="117" y="256"/>
                    <a:pt x="117" y="256"/>
                    <a:pt x="117" y="256"/>
                  </a:cubicBezTo>
                  <a:cubicBezTo>
                    <a:pt x="117" y="256"/>
                    <a:pt x="117" y="256"/>
                    <a:pt x="117" y="256"/>
                  </a:cubicBezTo>
                  <a:cubicBezTo>
                    <a:pt x="117" y="256"/>
                    <a:pt x="117" y="256"/>
                    <a:pt x="117" y="256"/>
                  </a:cubicBezTo>
                  <a:cubicBezTo>
                    <a:pt x="118" y="256"/>
                    <a:pt x="118" y="256"/>
                    <a:pt x="118" y="256"/>
                  </a:cubicBezTo>
                  <a:cubicBezTo>
                    <a:pt x="118" y="256"/>
                    <a:pt x="118" y="256"/>
                    <a:pt x="118" y="256"/>
                  </a:cubicBezTo>
                  <a:cubicBezTo>
                    <a:pt x="118" y="256"/>
                    <a:pt x="118" y="256"/>
                    <a:pt x="118" y="256"/>
                  </a:cubicBezTo>
                  <a:cubicBezTo>
                    <a:pt x="118" y="256"/>
                    <a:pt x="118" y="256"/>
                    <a:pt x="118" y="256"/>
                  </a:cubicBezTo>
                  <a:cubicBezTo>
                    <a:pt x="118" y="256"/>
                    <a:pt x="118" y="256"/>
                    <a:pt x="118" y="256"/>
                  </a:cubicBezTo>
                  <a:cubicBezTo>
                    <a:pt x="119" y="256"/>
                    <a:pt x="119" y="256"/>
                    <a:pt x="119" y="256"/>
                  </a:cubicBezTo>
                  <a:cubicBezTo>
                    <a:pt x="119" y="256"/>
                    <a:pt x="119" y="256"/>
                    <a:pt x="119" y="256"/>
                  </a:cubicBezTo>
                  <a:cubicBezTo>
                    <a:pt x="119" y="256"/>
                    <a:pt x="119" y="256"/>
                    <a:pt x="119" y="256"/>
                  </a:cubicBezTo>
                  <a:cubicBezTo>
                    <a:pt x="119" y="256"/>
                    <a:pt x="119" y="256"/>
                    <a:pt x="119" y="256"/>
                  </a:cubicBezTo>
                  <a:cubicBezTo>
                    <a:pt x="119" y="256"/>
                    <a:pt x="119" y="256"/>
                    <a:pt x="119" y="256"/>
                  </a:cubicBezTo>
                  <a:cubicBezTo>
                    <a:pt x="119" y="256"/>
                    <a:pt x="119" y="256"/>
                    <a:pt x="119" y="256"/>
                  </a:cubicBezTo>
                  <a:cubicBezTo>
                    <a:pt x="120" y="256"/>
                    <a:pt x="120" y="256"/>
                    <a:pt x="120" y="256"/>
                  </a:cubicBezTo>
                  <a:cubicBezTo>
                    <a:pt x="120" y="256"/>
                    <a:pt x="120" y="256"/>
                    <a:pt x="120" y="256"/>
                  </a:cubicBezTo>
                  <a:cubicBezTo>
                    <a:pt x="120" y="256"/>
                    <a:pt x="120" y="256"/>
                    <a:pt x="120" y="256"/>
                  </a:cubicBezTo>
                  <a:cubicBezTo>
                    <a:pt x="120" y="256"/>
                    <a:pt x="120" y="256"/>
                    <a:pt x="120" y="256"/>
                  </a:cubicBezTo>
                  <a:cubicBezTo>
                    <a:pt x="120" y="256"/>
                    <a:pt x="120" y="256"/>
                    <a:pt x="120" y="256"/>
                  </a:cubicBezTo>
                  <a:cubicBezTo>
                    <a:pt x="121" y="256"/>
                    <a:pt x="121" y="256"/>
                    <a:pt x="121" y="256"/>
                  </a:cubicBezTo>
                  <a:cubicBezTo>
                    <a:pt x="121" y="256"/>
                    <a:pt x="121" y="256"/>
                    <a:pt x="121" y="256"/>
                  </a:cubicBezTo>
                  <a:cubicBezTo>
                    <a:pt x="121" y="256"/>
                    <a:pt x="121" y="256"/>
                    <a:pt x="121" y="256"/>
                  </a:cubicBezTo>
                  <a:cubicBezTo>
                    <a:pt x="121" y="256"/>
                    <a:pt x="121" y="256"/>
                    <a:pt x="121" y="256"/>
                  </a:cubicBezTo>
                  <a:cubicBezTo>
                    <a:pt x="121" y="256"/>
                    <a:pt x="121" y="256"/>
                    <a:pt x="121" y="256"/>
                  </a:cubicBezTo>
                  <a:cubicBezTo>
                    <a:pt x="121" y="256"/>
                    <a:pt x="121" y="256"/>
                    <a:pt x="121" y="256"/>
                  </a:cubicBezTo>
                  <a:cubicBezTo>
                    <a:pt x="122" y="256"/>
                    <a:pt x="122" y="256"/>
                    <a:pt x="122" y="256"/>
                  </a:cubicBezTo>
                  <a:cubicBezTo>
                    <a:pt x="122" y="256"/>
                    <a:pt x="122" y="256"/>
                    <a:pt x="122" y="256"/>
                  </a:cubicBezTo>
                  <a:cubicBezTo>
                    <a:pt x="122" y="256"/>
                    <a:pt x="122" y="256"/>
                    <a:pt x="122" y="256"/>
                  </a:cubicBezTo>
                  <a:cubicBezTo>
                    <a:pt x="122" y="256"/>
                    <a:pt x="122" y="256"/>
                    <a:pt x="122" y="256"/>
                  </a:cubicBezTo>
                  <a:cubicBezTo>
                    <a:pt x="122" y="256"/>
                    <a:pt x="122" y="256"/>
                    <a:pt x="122" y="256"/>
                  </a:cubicBezTo>
                  <a:close/>
                  <a:moveTo>
                    <a:pt x="122" y="307"/>
                  </a:move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2" y="322"/>
                    <a:pt x="122" y="322"/>
                    <a:pt x="122" y="322"/>
                  </a:cubicBezTo>
                  <a:cubicBezTo>
                    <a:pt x="121" y="322"/>
                    <a:pt x="121" y="322"/>
                    <a:pt x="121" y="322"/>
                  </a:cubicBezTo>
                  <a:cubicBezTo>
                    <a:pt x="121" y="322"/>
                    <a:pt x="121" y="322"/>
                    <a:pt x="121" y="322"/>
                  </a:cubicBezTo>
                  <a:cubicBezTo>
                    <a:pt x="121" y="322"/>
                    <a:pt x="121" y="322"/>
                    <a:pt x="121" y="322"/>
                  </a:cubicBezTo>
                  <a:cubicBezTo>
                    <a:pt x="121" y="322"/>
                    <a:pt x="121" y="322"/>
                    <a:pt x="121" y="322"/>
                  </a:cubicBezTo>
                  <a:cubicBezTo>
                    <a:pt x="121" y="322"/>
                    <a:pt x="121" y="322"/>
                    <a:pt x="121" y="322"/>
                  </a:cubicBezTo>
                  <a:cubicBezTo>
                    <a:pt x="121" y="322"/>
                    <a:pt x="121" y="322"/>
                    <a:pt x="121" y="322"/>
                  </a:cubicBezTo>
                  <a:cubicBezTo>
                    <a:pt x="120" y="322"/>
                    <a:pt x="120" y="322"/>
                    <a:pt x="120" y="322"/>
                  </a:cubicBezTo>
                  <a:cubicBezTo>
                    <a:pt x="120" y="322"/>
                    <a:pt x="120" y="322"/>
                    <a:pt x="120" y="322"/>
                  </a:cubicBezTo>
                  <a:cubicBezTo>
                    <a:pt x="120" y="322"/>
                    <a:pt x="120" y="322"/>
                    <a:pt x="120" y="322"/>
                  </a:cubicBezTo>
                  <a:cubicBezTo>
                    <a:pt x="120" y="322"/>
                    <a:pt x="120" y="322"/>
                    <a:pt x="120" y="322"/>
                  </a:cubicBezTo>
                  <a:cubicBezTo>
                    <a:pt x="120" y="322"/>
                    <a:pt x="120" y="322"/>
                    <a:pt x="120" y="322"/>
                  </a:cubicBezTo>
                  <a:cubicBezTo>
                    <a:pt x="120" y="322"/>
                    <a:pt x="120" y="322"/>
                    <a:pt x="120" y="322"/>
                  </a:cubicBezTo>
                  <a:cubicBezTo>
                    <a:pt x="119" y="322"/>
                    <a:pt x="119" y="322"/>
                    <a:pt x="119" y="322"/>
                  </a:cubicBezTo>
                  <a:cubicBezTo>
                    <a:pt x="119" y="322"/>
                    <a:pt x="119" y="322"/>
                    <a:pt x="119" y="322"/>
                  </a:cubicBezTo>
                  <a:cubicBezTo>
                    <a:pt x="119" y="322"/>
                    <a:pt x="119" y="322"/>
                    <a:pt x="119" y="322"/>
                  </a:cubicBezTo>
                  <a:cubicBezTo>
                    <a:pt x="119" y="322"/>
                    <a:pt x="119" y="322"/>
                    <a:pt x="119" y="322"/>
                  </a:cubicBezTo>
                  <a:cubicBezTo>
                    <a:pt x="119" y="322"/>
                    <a:pt x="119" y="322"/>
                    <a:pt x="119" y="322"/>
                  </a:cubicBezTo>
                  <a:cubicBezTo>
                    <a:pt x="119" y="322"/>
                    <a:pt x="119" y="322"/>
                    <a:pt x="119" y="322"/>
                  </a:cubicBezTo>
                  <a:cubicBezTo>
                    <a:pt x="118" y="322"/>
                    <a:pt x="118" y="322"/>
                    <a:pt x="118" y="322"/>
                  </a:cubicBezTo>
                  <a:cubicBezTo>
                    <a:pt x="118" y="322"/>
                    <a:pt x="118" y="322"/>
                    <a:pt x="118" y="322"/>
                  </a:cubicBezTo>
                  <a:cubicBezTo>
                    <a:pt x="118" y="322"/>
                    <a:pt x="118" y="322"/>
                    <a:pt x="118" y="322"/>
                  </a:cubicBezTo>
                  <a:cubicBezTo>
                    <a:pt x="118" y="322"/>
                    <a:pt x="118" y="322"/>
                    <a:pt x="118" y="322"/>
                  </a:cubicBezTo>
                  <a:cubicBezTo>
                    <a:pt x="118" y="322"/>
                    <a:pt x="118" y="322"/>
                    <a:pt x="118"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7" y="322"/>
                    <a:pt x="117" y="322"/>
                    <a:pt x="117" y="322"/>
                  </a:cubicBezTo>
                  <a:cubicBezTo>
                    <a:pt x="116" y="322"/>
                    <a:pt x="116" y="322"/>
                    <a:pt x="116" y="322"/>
                  </a:cubicBezTo>
                  <a:cubicBezTo>
                    <a:pt x="116" y="322"/>
                    <a:pt x="116" y="322"/>
                    <a:pt x="116" y="322"/>
                  </a:cubicBezTo>
                  <a:cubicBezTo>
                    <a:pt x="116" y="322"/>
                    <a:pt x="116" y="322"/>
                    <a:pt x="116" y="322"/>
                  </a:cubicBezTo>
                  <a:cubicBezTo>
                    <a:pt x="116" y="322"/>
                    <a:pt x="116" y="322"/>
                    <a:pt x="116" y="322"/>
                  </a:cubicBezTo>
                  <a:cubicBezTo>
                    <a:pt x="116" y="322"/>
                    <a:pt x="116" y="322"/>
                    <a:pt x="116" y="322"/>
                  </a:cubicBezTo>
                  <a:cubicBezTo>
                    <a:pt x="115" y="322"/>
                    <a:pt x="115" y="322"/>
                    <a:pt x="115" y="322"/>
                  </a:cubicBezTo>
                  <a:cubicBezTo>
                    <a:pt x="115" y="322"/>
                    <a:pt x="115" y="322"/>
                    <a:pt x="115" y="322"/>
                  </a:cubicBezTo>
                  <a:cubicBezTo>
                    <a:pt x="115" y="334"/>
                    <a:pt x="115" y="345"/>
                    <a:pt x="115" y="357"/>
                  </a:cubicBezTo>
                  <a:cubicBezTo>
                    <a:pt x="115" y="357"/>
                    <a:pt x="115" y="357"/>
                    <a:pt x="115" y="357"/>
                  </a:cubicBezTo>
                  <a:cubicBezTo>
                    <a:pt x="116" y="357"/>
                    <a:pt x="116" y="357"/>
                    <a:pt x="116" y="357"/>
                  </a:cubicBezTo>
                  <a:cubicBezTo>
                    <a:pt x="116" y="357"/>
                    <a:pt x="116" y="357"/>
                    <a:pt x="116" y="357"/>
                  </a:cubicBezTo>
                  <a:cubicBezTo>
                    <a:pt x="116" y="357"/>
                    <a:pt x="116" y="357"/>
                    <a:pt x="116" y="357"/>
                  </a:cubicBezTo>
                  <a:cubicBezTo>
                    <a:pt x="116" y="357"/>
                    <a:pt x="116" y="357"/>
                    <a:pt x="116" y="357"/>
                  </a:cubicBezTo>
                  <a:cubicBezTo>
                    <a:pt x="116" y="357"/>
                    <a:pt x="116" y="357"/>
                    <a:pt x="116"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7" y="357"/>
                    <a:pt x="117" y="357"/>
                    <a:pt x="117" y="357"/>
                  </a:cubicBezTo>
                  <a:cubicBezTo>
                    <a:pt x="118" y="357"/>
                    <a:pt x="118" y="357"/>
                    <a:pt x="118" y="357"/>
                  </a:cubicBezTo>
                  <a:cubicBezTo>
                    <a:pt x="118" y="357"/>
                    <a:pt x="118" y="357"/>
                    <a:pt x="118" y="357"/>
                  </a:cubicBezTo>
                  <a:cubicBezTo>
                    <a:pt x="118" y="357"/>
                    <a:pt x="118" y="357"/>
                    <a:pt x="118" y="357"/>
                  </a:cubicBezTo>
                  <a:cubicBezTo>
                    <a:pt x="118" y="357"/>
                    <a:pt x="118" y="357"/>
                    <a:pt x="118" y="357"/>
                  </a:cubicBezTo>
                  <a:cubicBezTo>
                    <a:pt x="118" y="357"/>
                    <a:pt x="118" y="357"/>
                    <a:pt x="118" y="357"/>
                  </a:cubicBezTo>
                  <a:cubicBezTo>
                    <a:pt x="119" y="357"/>
                    <a:pt x="119" y="357"/>
                    <a:pt x="119" y="357"/>
                  </a:cubicBezTo>
                  <a:cubicBezTo>
                    <a:pt x="119" y="357"/>
                    <a:pt x="119" y="357"/>
                    <a:pt x="119" y="357"/>
                  </a:cubicBezTo>
                  <a:cubicBezTo>
                    <a:pt x="119" y="357"/>
                    <a:pt x="119" y="357"/>
                    <a:pt x="119" y="357"/>
                  </a:cubicBezTo>
                  <a:cubicBezTo>
                    <a:pt x="119" y="357"/>
                    <a:pt x="119" y="357"/>
                    <a:pt x="119" y="357"/>
                  </a:cubicBezTo>
                  <a:cubicBezTo>
                    <a:pt x="119" y="357"/>
                    <a:pt x="119" y="357"/>
                    <a:pt x="119" y="357"/>
                  </a:cubicBezTo>
                  <a:cubicBezTo>
                    <a:pt x="119" y="357"/>
                    <a:pt x="119" y="357"/>
                    <a:pt x="119" y="357"/>
                  </a:cubicBezTo>
                  <a:cubicBezTo>
                    <a:pt x="120" y="357"/>
                    <a:pt x="120" y="357"/>
                    <a:pt x="120" y="357"/>
                  </a:cubicBezTo>
                  <a:cubicBezTo>
                    <a:pt x="120" y="357"/>
                    <a:pt x="120" y="357"/>
                    <a:pt x="120" y="357"/>
                  </a:cubicBezTo>
                  <a:cubicBezTo>
                    <a:pt x="120" y="357"/>
                    <a:pt x="120" y="357"/>
                    <a:pt x="120" y="357"/>
                  </a:cubicBezTo>
                  <a:cubicBezTo>
                    <a:pt x="120" y="357"/>
                    <a:pt x="120" y="357"/>
                    <a:pt x="120" y="357"/>
                  </a:cubicBezTo>
                  <a:cubicBezTo>
                    <a:pt x="120" y="357"/>
                    <a:pt x="120" y="357"/>
                    <a:pt x="120" y="357"/>
                  </a:cubicBezTo>
                  <a:cubicBezTo>
                    <a:pt x="120" y="357"/>
                    <a:pt x="120" y="357"/>
                    <a:pt x="120" y="357"/>
                  </a:cubicBezTo>
                  <a:cubicBezTo>
                    <a:pt x="121" y="357"/>
                    <a:pt x="121" y="357"/>
                    <a:pt x="121" y="357"/>
                  </a:cubicBezTo>
                  <a:cubicBezTo>
                    <a:pt x="121" y="357"/>
                    <a:pt x="121" y="357"/>
                    <a:pt x="121" y="357"/>
                  </a:cubicBezTo>
                  <a:cubicBezTo>
                    <a:pt x="121" y="357"/>
                    <a:pt x="121" y="357"/>
                    <a:pt x="121" y="357"/>
                  </a:cubicBezTo>
                  <a:cubicBezTo>
                    <a:pt x="121" y="357"/>
                    <a:pt x="121" y="357"/>
                    <a:pt x="121" y="357"/>
                  </a:cubicBezTo>
                  <a:cubicBezTo>
                    <a:pt x="121" y="357"/>
                    <a:pt x="121" y="357"/>
                    <a:pt x="121" y="357"/>
                  </a:cubicBezTo>
                  <a:cubicBezTo>
                    <a:pt x="121" y="357"/>
                    <a:pt x="121" y="357"/>
                    <a:pt x="121"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57"/>
                    <a:pt x="122" y="357"/>
                    <a:pt x="122" y="357"/>
                  </a:cubicBezTo>
                  <a:cubicBezTo>
                    <a:pt x="122" y="372"/>
                    <a:pt x="122" y="372"/>
                    <a:pt x="122" y="372"/>
                  </a:cubicBezTo>
                  <a:cubicBezTo>
                    <a:pt x="115" y="372"/>
                    <a:pt x="115" y="372"/>
                    <a:pt x="115" y="372"/>
                  </a:cubicBezTo>
                  <a:cubicBezTo>
                    <a:pt x="115" y="384"/>
                    <a:pt x="115" y="396"/>
                    <a:pt x="115" y="407"/>
                  </a:cubicBezTo>
                  <a:cubicBezTo>
                    <a:pt x="122" y="407"/>
                    <a:pt x="122" y="407"/>
                    <a:pt x="122" y="407"/>
                  </a:cubicBezTo>
                  <a:cubicBezTo>
                    <a:pt x="122" y="423"/>
                    <a:pt x="122" y="423"/>
                    <a:pt x="122" y="423"/>
                  </a:cubicBezTo>
                  <a:cubicBezTo>
                    <a:pt x="115" y="423"/>
                    <a:pt x="115" y="423"/>
                    <a:pt x="115" y="423"/>
                  </a:cubicBezTo>
                  <a:cubicBezTo>
                    <a:pt x="107" y="423"/>
                    <a:pt x="107" y="423"/>
                    <a:pt x="107" y="423"/>
                  </a:cubicBezTo>
                  <a:cubicBezTo>
                    <a:pt x="107" y="307"/>
                    <a:pt x="107" y="307"/>
                    <a:pt x="107" y="307"/>
                  </a:cubicBezTo>
                  <a:lnTo>
                    <a:pt x="122" y="307"/>
                  </a:lnTo>
                  <a:close/>
                  <a:moveTo>
                    <a:pt x="90" y="0"/>
                  </a:moveTo>
                  <a:cubicBezTo>
                    <a:pt x="107" y="0"/>
                    <a:pt x="107" y="0"/>
                    <a:pt x="107" y="0"/>
                  </a:cubicBezTo>
                  <a:cubicBezTo>
                    <a:pt x="107" y="20"/>
                    <a:pt x="107" y="20"/>
                    <a:pt x="107" y="20"/>
                  </a:cubicBezTo>
                  <a:cubicBezTo>
                    <a:pt x="98" y="20"/>
                    <a:pt x="98" y="20"/>
                    <a:pt x="98" y="20"/>
                  </a:cubicBezTo>
                  <a:cubicBezTo>
                    <a:pt x="97" y="20"/>
                    <a:pt x="97" y="20"/>
                    <a:pt x="97" y="20"/>
                  </a:cubicBezTo>
                  <a:cubicBezTo>
                    <a:pt x="97" y="20"/>
                    <a:pt x="97" y="20"/>
                    <a:pt x="97" y="20"/>
                  </a:cubicBezTo>
                  <a:cubicBezTo>
                    <a:pt x="97" y="20"/>
                    <a:pt x="97" y="20"/>
                    <a:pt x="97" y="20"/>
                  </a:cubicBezTo>
                  <a:cubicBezTo>
                    <a:pt x="97" y="20"/>
                    <a:pt x="97" y="20"/>
                    <a:pt x="97" y="20"/>
                  </a:cubicBezTo>
                  <a:cubicBezTo>
                    <a:pt x="97" y="20"/>
                    <a:pt x="97" y="20"/>
                    <a:pt x="97" y="20"/>
                  </a:cubicBezTo>
                  <a:cubicBezTo>
                    <a:pt x="97" y="20"/>
                    <a:pt x="97" y="20"/>
                    <a:pt x="97" y="20"/>
                  </a:cubicBezTo>
                  <a:cubicBezTo>
                    <a:pt x="96" y="20"/>
                    <a:pt x="96" y="20"/>
                    <a:pt x="96" y="20"/>
                  </a:cubicBezTo>
                  <a:cubicBezTo>
                    <a:pt x="96" y="20"/>
                    <a:pt x="96" y="20"/>
                    <a:pt x="96" y="20"/>
                  </a:cubicBezTo>
                  <a:cubicBezTo>
                    <a:pt x="96" y="20"/>
                    <a:pt x="96" y="20"/>
                    <a:pt x="96" y="20"/>
                  </a:cubicBezTo>
                  <a:cubicBezTo>
                    <a:pt x="96" y="20"/>
                    <a:pt x="96" y="20"/>
                    <a:pt x="96" y="20"/>
                  </a:cubicBezTo>
                  <a:cubicBezTo>
                    <a:pt x="96" y="20"/>
                    <a:pt x="96" y="20"/>
                    <a:pt x="96" y="20"/>
                  </a:cubicBezTo>
                  <a:cubicBezTo>
                    <a:pt x="95" y="20"/>
                    <a:pt x="95" y="20"/>
                    <a:pt x="95" y="20"/>
                  </a:cubicBezTo>
                  <a:cubicBezTo>
                    <a:pt x="95" y="20"/>
                    <a:pt x="95" y="20"/>
                    <a:pt x="95" y="20"/>
                  </a:cubicBezTo>
                  <a:cubicBezTo>
                    <a:pt x="95" y="20"/>
                    <a:pt x="95" y="20"/>
                    <a:pt x="95" y="20"/>
                  </a:cubicBezTo>
                  <a:cubicBezTo>
                    <a:pt x="95" y="20"/>
                    <a:pt x="95" y="20"/>
                    <a:pt x="95" y="20"/>
                  </a:cubicBezTo>
                  <a:cubicBezTo>
                    <a:pt x="94" y="20"/>
                    <a:pt x="94" y="20"/>
                    <a:pt x="94" y="20"/>
                  </a:cubicBezTo>
                  <a:cubicBezTo>
                    <a:pt x="94" y="20"/>
                    <a:pt x="94" y="20"/>
                    <a:pt x="94" y="20"/>
                  </a:cubicBezTo>
                  <a:cubicBezTo>
                    <a:pt x="94" y="20"/>
                    <a:pt x="94" y="20"/>
                    <a:pt x="94" y="20"/>
                  </a:cubicBezTo>
                  <a:cubicBezTo>
                    <a:pt x="94" y="20"/>
                    <a:pt x="94" y="20"/>
                    <a:pt x="94" y="20"/>
                  </a:cubicBezTo>
                  <a:cubicBezTo>
                    <a:pt x="94" y="20"/>
                    <a:pt x="94" y="20"/>
                    <a:pt x="94" y="20"/>
                  </a:cubicBezTo>
                  <a:cubicBezTo>
                    <a:pt x="94" y="20"/>
                    <a:pt x="94" y="20"/>
                    <a:pt x="94" y="20"/>
                  </a:cubicBezTo>
                  <a:cubicBezTo>
                    <a:pt x="93" y="20"/>
                    <a:pt x="93" y="20"/>
                    <a:pt x="93" y="20"/>
                  </a:cubicBezTo>
                  <a:cubicBezTo>
                    <a:pt x="93" y="20"/>
                    <a:pt x="93" y="20"/>
                    <a:pt x="93" y="20"/>
                  </a:cubicBezTo>
                  <a:cubicBezTo>
                    <a:pt x="93" y="20"/>
                    <a:pt x="93" y="20"/>
                    <a:pt x="93" y="20"/>
                  </a:cubicBezTo>
                  <a:cubicBezTo>
                    <a:pt x="93" y="20"/>
                    <a:pt x="93" y="20"/>
                    <a:pt x="93" y="20"/>
                  </a:cubicBezTo>
                  <a:cubicBezTo>
                    <a:pt x="93" y="20"/>
                    <a:pt x="93" y="20"/>
                    <a:pt x="93"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0" y="20"/>
                    <a:pt x="90" y="20"/>
                    <a:pt x="90" y="20"/>
                  </a:cubicBezTo>
                  <a:cubicBezTo>
                    <a:pt x="90" y="0"/>
                    <a:pt x="90" y="0"/>
                    <a:pt x="90" y="0"/>
                  </a:cubicBezTo>
                  <a:close/>
                  <a:moveTo>
                    <a:pt x="107" y="480"/>
                  </a:moveTo>
                  <a:cubicBezTo>
                    <a:pt x="90" y="480"/>
                    <a:pt x="90" y="480"/>
                    <a:pt x="90" y="480"/>
                  </a:cubicBezTo>
                  <a:cubicBezTo>
                    <a:pt x="90" y="458"/>
                    <a:pt x="90" y="458"/>
                    <a:pt x="90" y="458"/>
                  </a:cubicBezTo>
                  <a:cubicBezTo>
                    <a:pt x="98" y="458"/>
                    <a:pt x="98" y="458"/>
                    <a:pt x="98" y="458"/>
                  </a:cubicBezTo>
                  <a:cubicBezTo>
                    <a:pt x="107" y="458"/>
                    <a:pt x="107" y="458"/>
                    <a:pt x="107" y="458"/>
                  </a:cubicBezTo>
                  <a:cubicBezTo>
                    <a:pt x="107" y="480"/>
                    <a:pt x="107" y="480"/>
                    <a:pt x="107" y="480"/>
                  </a:cubicBezTo>
                  <a:close/>
                  <a:moveTo>
                    <a:pt x="107" y="55"/>
                  </a:moveTo>
                  <a:cubicBezTo>
                    <a:pt x="107" y="70"/>
                    <a:pt x="107" y="70"/>
                    <a:pt x="107" y="70"/>
                  </a:cubicBezTo>
                  <a:cubicBezTo>
                    <a:pt x="98" y="70"/>
                    <a:pt x="98" y="70"/>
                    <a:pt x="98" y="70"/>
                  </a:cubicBezTo>
                  <a:cubicBezTo>
                    <a:pt x="97" y="70"/>
                    <a:pt x="97" y="70"/>
                    <a:pt x="97" y="70"/>
                  </a:cubicBezTo>
                  <a:cubicBezTo>
                    <a:pt x="97" y="70"/>
                    <a:pt x="97" y="70"/>
                    <a:pt x="97" y="70"/>
                  </a:cubicBezTo>
                  <a:cubicBezTo>
                    <a:pt x="97" y="70"/>
                    <a:pt x="97" y="70"/>
                    <a:pt x="97" y="70"/>
                  </a:cubicBezTo>
                  <a:cubicBezTo>
                    <a:pt x="97" y="70"/>
                    <a:pt x="97" y="70"/>
                    <a:pt x="97" y="70"/>
                  </a:cubicBezTo>
                  <a:cubicBezTo>
                    <a:pt x="97" y="70"/>
                    <a:pt x="97" y="70"/>
                    <a:pt x="97" y="70"/>
                  </a:cubicBezTo>
                  <a:cubicBezTo>
                    <a:pt x="97" y="70"/>
                    <a:pt x="97" y="70"/>
                    <a:pt x="97" y="70"/>
                  </a:cubicBezTo>
                  <a:cubicBezTo>
                    <a:pt x="96" y="70"/>
                    <a:pt x="96" y="70"/>
                    <a:pt x="96" y="70"/>
                  </a:cubicBezTo>
                  <a:cubicBezTo>
                    <a:pt x="96" y="70"/>
                    <a:pt x="96" y="70"/>
                    <a:pt x="96" y="70"/>
                  </a:cubicBezTo>
                  <a:cubicBezTo>
                    <a:pt x="96" y="70"/>
                    <a:pt x="96" y="70"/>
                    <a:pt x="96" y="70"/>
                  </a:cubicBezTo>
                  <a:cubicBezTo>
                    <a:pt x="96" y="70"/>
                    <a:pt x="96" y="70"/>
                    <a:pt x="96" y="70"/>
                  </a:cubicBezTo>
                  <a:cubicBezTo>
                    <a:pt x="95" y="70"/>
                    <a:pt x="95" y="70"/>
                    <a:pt x="95" y="70"/>
                  </a:cubicBezTo>
                  <a:cubicBezTo>
                    <a:pt x="95" y="70"/>
                    <a:pt x="95" y="70"/>
                    <a:pt x="95" y="70"/>
                  </a:cubicBezTo>
                  <a:cubicBezTo>
                    <a:pt x="95" y="70"/>
                    <a:pt x="95" y="70"/>
                    <a:pt x="95" y="70"/>
                  </a:cubicBezTo>
                  <a:cubicBezTo>
                    <a:pt x="95" y="70"/>
                    <a:pt x="95" y="70"/>
                    <a:pt x="95" y="70"/>
                  </a:cubicBezTo>
                  <a:cubicBezTo>
                    <a:pt x="95" y="70"/>
                    <a:pt x="95" y="70"/>
                    <a:pt x="95" y="70"/>
                  </a:cubicBezTo>
                  <a:cubicBezTo>
                    <a:pt x="94" y="70"/>
                    <a:pt x="94" y="70"/>
                    <a:pt x="94" y="70"/>
                  </a:cubicBezTo>
                  <a:cubicBezTo>
                    <a:pt x="94" y="70"/>
                    <a:pt x="94" y="70"/>
                    <a:pt x="94" y="70"/>
                  </a:cubicBezTo>
                  <a:cubicBezTo>
                    <a:pt x="94" y="70"/>
                    <a:pt x="94" y="70"/>
                    <a:pt x="94" y="70"/>
                  </a:cubicBezTo>
                  <a:cubicBezTo>
                    <a:pt x="94" y="70"/>
                    <a:pt x="94" y="70"/>
                    <a:pt x="94" y="70"/>
                  </a:cubicBezTo>
                  <a:cubicBezTo>
                    <a:pt x="94" y="70"/>
                    <a:pt x="94" y="70"/>
                    <a:pt x="94" y="70"/>
                  </a:cubicBezTo>
                  <a:cubicBezTo>
                    <a:pt x="94" y="70"/>
                    <a:pt x="94" y="70"/>
                    <a:pt x="94" y="70"/>
                  </a:cubicBezTo>
                  <a:cubicBezTo>
                    <a:pt x="93" y="70"/>
                    <a:pt x="93" y="70"/>
                    <a:pt x="93" y="70"/>
                  </a:cubicBezTo>
                  <a:cubicBezTo>
                    <a:pt x="93" y="70"/>
                    <a:pt x="93" y="70"/>
                    <a:pt x="93" y="70"/>
                  </a:cubicBezTo>
                  <a:cubicBezTo>
                    <a:pt x="93" y="70"/>
                    <a:pt x="93" y="70"/>
                    <a:pt x="93" y="70"/>
                  </a:cubicBezTo>
                  <a:cubicBezTo>
                    <a:pt x="93" y="70"/>
                    <a:pt x="93" y="70"/>
                    <a:pt x="93" y="70"/>
                  </a:cubicBezTo>
                  <a:cubicBezTo>
                    <a:pt x="93" y="70"/>
                    <a:pt x="93" y="70"/>
                    <a:pt x="93" y="70"/>
                  </a:cubicBezTo>
                  <a:cubicBezTo>
                    <a:pt x="92" y="70"/>
                    <a:pt x="92" y="70"/>
                    <a:pt x="92" y="70"/>
                  </a:cubicBezTo>
                  <a:cubicBezTo>
                    <a:pt x="92" y="70"/>
                    <a:pt x="92" y="70"/>
                    <a:pt x="92" y="70"/>
                  </a:cubicBezTo>
                  <a:cubicBezTo>
                    <a:pt x="92" y="70"/>
                    <a:pt x="92" y="70"/>
                    <a:pt x="92" y="70"/>
                  </a:cubicBezTo>
                  <a:cubicBezTo>
                    <a:pt x="92" y="70"/>
                    <a:pt x="92" y="70"/>
                    <a:pt x="92" y="70"/>
                  </a:cubicBezTo>
                  <a:cubicBezTo>
                    <a:pt x="92" y="70"/>
                    <a:pt x="92" y="70"/>
                    <a:pt x="92" y="70"/>
                  </a:cubicBezTo>
                  <a:cubicBezTo>
                    <a:pt x="92" y="70"/>
                    <a:pt x="92" y="70"/>
                    <a:pt x="92" y="70"/>
                  </a:cubicBezTo>
                  <a:cubicBezTo>
                    <a:pt x="91" y="70"/>
                    <a:pt x="91" y="70"/>
                    <a:pt x="91" y="70"/>
                  </a:cubicBezTo>
                  <a:cubicBezTo>
                    <a:pt x="91" y="70"/>
                    <a:pt x="91" y="70"/>
                    <a:pt x="91" y="70"/>
                  </a:cubicBezTo>
                  <a:cubicBezTo>
                    <a:pt x="91" y="70"/>
                    <a:pt x="91" y="70"/>
                    <a:pt x="91" y="70"/>
                  </a:cubicBezTo>
                  <a:cubicBezTo>
                    <a:pt x="91" y="70"/>
                    <a:pt x="91" y="70"/>
                    <a:pt x="91" y="70"/>
                  </a:cubicBezTo>
                  <a:cubicBezTo>
                    <a:pt x="91" y="70"/>
                    <a:pt x="91" y="70"/>
                    <a:pt x="91" y="70"/>
                  </a:cubicBezTo>
                  <a:cubicBezTo>
                    <a:pt x="90" y="70"/>
                    <a:pt x="90" y="70"/>
                    <a:pt x="90" y="70"/>
                  </a:cubicBezTo>
                  <a:cubicBezTo>
                    <a:pt x="90" y="55"/>
                    <a:pt x="90" y="55"/>
                    <a:pt x="90" y="55"/>
                  </a:cubicBezTo>
                  <a:cubicBezTo>
                    <a:pt x="91" y="55"/>
                    <a:pt x="91" y="55"/>
                    <a:pt x="91" y="55"/>
                  </a:cubicBezTo>
                  <a:cubicBezTo>
                    <a:pt x="91" y="55"/>
                    <a:pt x="91" y="55"/>
                    <a:pt x="91" y="55"/>
                  </a:cubicBezTo>
                  <a:cubicBezTo>
                    <a:pt x="91" y="55"/>
                    <a:pt x="91" y="55"/>
                    <a:pt x="91" y="55"/>
                  </a:cubicBezTo>
                  <a:cubicBezTo>
                    <a:pt x="91" y="55"/>
                    <a:pt x="91" y="55"/>
                    <a:pt x="91" y="55"/>
                  </a:cubicBezTo>
                  <a:cubicBezTo>
                    <a:pt x="91" y="55"/>
                    <a:pt x="91" y="55"/>
                    <a:pt x="91" y="55"/>
                  </a:cubicBezTo>
                  <a:cubicBezTo>
                    <a:pt x="92" y="55"/>
                    <a:pt x="92" y="55"/>
                    <a:pt x="92" y="55"/>
                  </a:cubicBezTo>
                  <a:cubicBezTo>
                    <a:pt x="92" y="55"/>
                    <a:pt x="92" y="55"/>
                    <a:pt x="92" y="55"/>
                  </a:cubicBezTo>
                  <a:cubicBezTo>
                    <a:pt x="92" y="55"/>
                    <a:pt x="92" y="55"/>
                    <a:pt x="92" y="55"/>
                  </a:cubicBezTo>
                  <a:cubicBezTo>
                    <a:pt x="92" y="55"/>
                    <a:pt x="92" y="55"/>
                    <a:pt x="92" y="55"/>
                  </a:cubicBezTo>
                  <a:cubicBezTo>
                    <a:pt x="92" y="55"/>
                    <a:pt x="92" y="55"/>
                    <a:pt x="92" y="55"/>
                  </a:cubicBezTo>
                  <a:cubicBezTo>
                    <a:pt x="92" y="55"/>
                    <a:pt x="92" y="55"/>
                    <a:pt x="92" y="55"/>
                  </a:cubicBezTo>
                  <a:cubicBezTo>
                    <a:pt x="93" y="55"/>
                    <a:pt x="93" y="55"/>
                    <a:pt x="93" y="55"/>
                  </a:cubicBezTo>
                  <a:cubicBezTo>
                    <a:pt x="93" y="55"/>
                    <a:pt x="93" y="55"/>
                    <a:pt x="93" y="55"/>
                  </a:cubicBezTo>
                  <a:cubicBezTo>
                    <a:pt x="93" y="55"/>
                    <a:pt x="93" y="55"/>
                    <a:pt x="93" y="55"/>
                  </a:cubicBezTo>
                  <a:cubicBezTo>
                    <a:pt x="93" y="55"/>
                    <a:pt x="93" y="55"/>
                    <a:pt x="93" y="55"/>
                  </a:cubicBezTo>
                  <a:cubicBezTo>
                    <a:pt x="93" y="55"/>
                    <a:pt x="93" y="55"/>
                    <a:pt x="93" y="55"/>
                  </a:cubicBezTo>
                  <a:cubicBezTo>
                    <a:pt x="94" y="55"/>
                    <a:pt x="94" y="55"/>
                    <a:pt x="94" y="55"/>
                  </a:cubicBezTo>
                  <a:cubicBezTo>
                    <a:pt x="94" y="55"/>
                    <a:pt x="94" y="55"/>
                    <a:pt x="94" y="55"/>
                  </a:cubicBezTo>
                  <a:cubicBezTo>
                    <a:pt x="94" y="55"/>
                    <a:pt x="94" y="55"/>
                    <a:pt x="94" y="55"/>
                  </a:cubicBezTo>
                  <a:cubicBezTo>
                    <a:pt x="94" y="55"/>
                    <a:pt x="94" y="55"/>
                    <a:pt x="94" y="55"/>
                  </a:cubicBezTo>
                  <a:cubicBezTo>
                    <a:pt x="94" y="55"/>
                    <a:pt x="94" y="55"/>
                    <a:pt x="94" y="55"/>
                  </a:cubicBezTo>
                  <a:cubicBezTo>
                    <a:pt x="94" y="55"/>
                    <a:pt x="94" y="55"/>
                    <a:pt x="94" y="55"/>
                  </a:cubicBezTo>
                  <a:cubicBezTo>
                    <a:pt x="95" y="55"/>
                    <a:pt x="95" y="55"/>
                    <a:pt x="95" y="55"/>
                  </a:cubicBezTo>
                  <a:cubicBezTo>
                    <a:pt x="95" y="55"/>
                    <a:pt x="95" y="55"/>
                    <a:pt x="95" y="55"/>
                  </a:cubicBezTo>
                  <a:cubicBezTo>
                    <a:pt x="95" y="55"/>
                    <a:pt x="95" y="55"/>
                    <a:pt x="95" y="55"/>
                  </a:cubicBezTo>
                  <a:cubicBezTo>
                    <a:pt x="95" y="55"/>
                    <a:pt x="95" y="55"/>
                    <a:pt x="95" y="55"/>
                  </a:cubicBezTo>
                  <a:cubicBezTo>
                    <a:pt x="96" y="55"/>
                    <a:pt x="96" y="55"/>
                    <a:pt x="96" y="55"/>
                  </a:cubicBezTo>
                  <a:cubicBezTo>
                    <a:pt x="96" y="55"/>
                    <a:pt x="96" y="55"/>
                    <a:pt x="96" y="55"/>
                  </a:cubicBezTo>
                  <a:cubicBezTo>
                    <a:pt x="96" y="55"/>
                    <a:pt x="96" y="55"/>
                    <a:pt x="96" y="55"/>
                  </a:cubicBezTo>
                  <a:cubicBezTo>
                    <a:pt x="96" y="55"/>
                    <a:pt x="96" y="55"/>
                    <a:pt x="96" y="55"/>
                  </a:cubicBezTo>
                  <a:cubicBezTo>
                    <a:pt x="96" y="55"/>
                    <a:pt x="96" y="55"/>
                    <a:pt x="96" y="55"/>
                  </a:cubicBezTo>
                  <a:cubicBezTo>
                    <a:pt x="97" y="55"/>
                    <a:pt x="97" y="55"/>
                    <a:pt x="97" y="55"/>
                  </a:cubicBezTo>
                  <a:cubicBezTo>
                    <a:pt x="97" y="55"/>
                    <a:pt x="97" y="55"/>
                    <a:pt x="97" y="55"/>
                  </a:cubicBezTo>
                  <a:cubicBezTo>
                    <a:pt x="97" y="55"/>
                    <a:pt x="97" y="55"/>
                    <a:pt x="97" y="55"/>
                  </a:cubicBezTo>
                  <a:cubicBezTo>
                    <a:pt x="97" y="55"/>
                    <a:pt x="97" y="55"/>
                    <a:pt x="97" y="55"/>
                  </a:cubicBezTo>
                  <a:cubicBezTo>
                    <a:pt x="97" y="55"/>
                    <a:pt x="97" y="55"/>
                    <a:pt x="97" y="55"/>
                  </a:cubicBezTo>
                  <a:cubicBezTo>
                    <a:pt x="97" y="55"/>
                    <a:pt x="97" y="55"/>
                    <a:pt x="97" y="55"/>
                  </a:cubicBezTo>
                  <a:cubicBezTo>
                    <a:pt x="98" y="55"/>
                    <a:pt x="98" y="55"/>
                    <a:pt x="98" y="55"/>
                  </a:cubicBezTo>
                  <a:cubicBezTo>
                    <a:pt x="107" y="55"/>
                    <a:pt x="107" y="55"/>
                    <a:pt x="107" y="55"/>
                  </a:cubicBezTo>
                  <a:close/>
                  <a:moveTo>
                    <a:pt x="107" y="105"/>
                  </a:moveTo>
                  <a:cubicBezTo>
                    <a:pt x="107" y="171"/>
                    <a:pt x="107" y="171"/>
                    <a:pt x="107" y="171"/>
                  </a:cubicBezTo>
                  <a:cubicBezTo>
                    <a:pt x="98" y="171"/>
                    <a:pt x="98" y="171"/>
                    <a:pt x="98" y="171"/>
                  </a:cubicBezTo>
                  <a:cubicBezTo>
                    <a:pt x="90" y="171"/>
                    <a:pt x="90" y="171"/>
                    <a:pt x="90" y="171"/>
                  </a:cubicBezTo>
                  <a:cubicBezTo>
                    <a:pt x="90" y="156"/>
                    <a:pt x="90" y="156"/>
                    <a:pt x="90" y="156"/>
                  </a:cubicBezTo>
                  <a:cubicBezTo>
                    <a:pt x="98" y="156"/>
                    <a:pt x="98" y="156"/>
                    <a:pt x="98" y="156"/>
                  </a:cubicBezTo>
                  <a:cubicBezTo>
                    <a:pt x="98" y="144"/>
                    <a:pt x="98" y="132"/>
                    <a:pt x="98" y="121"/>
                  </a:cubicBezTo>
                  <a:cubicBezTo>
                    <a:pt x="90" y="121"/>
                    <a:pt x="90" y="121"/>
                    <a:pt x="90" y="121"/>
                  </a:cubicBezTo>
                  <a:cubicBezTo>
                    <a:pt x="90" y="105"/>
                    <a:pt x="90" y="105"/>
                    <a:pt x="90" y="105"/>
                  </a:cubicBezTo>
                  <a:cubicBezTo>
                    <a:pt x="91" y="105"/>
                    <a:pt x="91" y="105"/>
                    <a:pt x="91" y="105"/>
                  </a:cubicBezTo>
                  <a:cubicBezTo>
                    <a:pt x="91" y="105"/>
                    <a:pt x="91" y="105"/>
                    <a:pt x="91" y="105"/>
                  </a:cubicBezTo>
                  <a:cubicBezTo>
                    <a:pt x="91" y="105"/>
                    <a:pt x="91" y="105"/>
                    <a:pt x="91" y="105"/>
                  </a:cubicBezTo>
                  <a:cubicBezTo>
                    <a:pt x="91" y="105"/>
                    <a:pt x="91" y="105"/>
                    <a:pt x="91" y="105"/>
                  </a:cubicBezTo>
                  <a:cubicBezTo>
                    <a:pt x="91" y="105"/>
                    <a:pt x="91" y="105"/>
                    <a:pt x="91" y="105"/>
                  </a:cubicBezTo>
                  <a:cubicBezTo>
                    <a:pt x="92" y="105"/>
                    <a:pt x="92" y="105"/>
                    <a:pt x="92" y="105"/>
                  </a:cubicBezTo>
                  <a:cubicBezTo>
                    <a:pt x="92" y="105"/>
                    <a:pt x="92" y="105"/>
                    <a:pt x="92" y="105"/>
                  </a:cubicBezTo>
                  <a:cubicBezTo>
                    <a:pt x="92" y="105"/>
                    <a:pt x="92" y="105"/>
                    <a:pt x="92" y="105"/>
                  </a:cubicBezTo>
                  <a:cubicBezTo>
                    <a:pt x="92" y="105"/>
                    <a:pt x="92" y="105"/>
                    <a:pt x="92" y="105"/>
                  </a:cubicBezTo>
                  <a:cubicBezTo>
                    <a:pt x="92" y="105"/>
                    <a:pt x="92" y="105"/>
                    <a:pt x="92" y="105"/>
                  </a:cubicBezTo>
                  <a:cubicBezTo>
                    <a:pt x="92" y="105"/>
                    <a:pt x="92" y="105"/>
                    <a:pt x="92" y="105"/>
                  </a:cubicBezTo>
                  <a:cubicBezTo>
                    <a:pt x="93" y="105"/>
                    <a:pt x="93" y="105"/>
                    <a:pt x="93" y="105"/>
                  </a:cubicBezTo>
                  <a:cubicBezTo>
                    <a:pt x="93" y="105"/>
                    <a:pt x="93" y="105"/>
                    <a:pt x="93" y="105"/>
                  </a:cubicBezTo>
                  <a:cubicBezTo>
                    <a:pt x="93" y="105"/>
                    <a:pt x="93" y="105"/>
                    <a:pt x="93" y="105"/>
                  </a:cubicBezTo>
                  <a:cubicBezTo>
                    <a:pt x="93" y="105"/>
                    <a:pt x="93" y="105"/>
                    <a:pt x="93" y="105"/>
                  </a:cubicBezTo>
                  <a:cubicBezTo>
                    <a:pt x="93" y="105"/>
                    <a:pt x="93" y="105"/>
                    <a:pt x="93" y="105"/>
                  </a:cubicBezTo>
                  <a:cubicBezTo>
                    <a:pt x="94" y="105"/>
                    <a:pt x="94" y="105"/>
                    <a:pt x="94" y="105"/>
                  </a:cubicBezTo>
                  <a:cubicBezTo>
                    <a:pt x="94" y="105"/>
                    <a:pt x="94" y="105"/>
                    <a:pt x="94" y="105"/>
                  </a:cubicBezTo>
                  <a:cubicBezTo>
                    <a:pt x="94" y="105"/>
                    <a:pt x="94" y="105"/>
                    <a:pt x="94" y="105"/>
                  </a:cubicBezTo>
                  <a:cubicBezTo>
                    <a:pt x="94" y="105"/>
                    <a:pt x="94" y="105"/>
                    <a:pt x="94" y="105"/>
                  </a:cubicBezTo>
                  <a:cubicBezTo>
                    <a:pt x="94" y="105"/>
                    <a:pt x="94" y="105"/>
                    <a:pt x="94" y="105"/>
                  </a:cubicBezTo>
                  <a:cubicBezTo>
                    <a:pt x="94" y="105"/>
                    <a:pt x="94" y="105"/>
                    <a:pt x="94" y="105"/>
                  </a:cubicBezTo>
                  <a:cubicBezTo>
                    <a:pt x="95" y="105"/>
                    <a:pt x="95" y="105"/>
                    <a:pt x="95" y="105"/>
                  </a:cubicBezTo>
                  <a:cubicBezTo>
                    <a:pt x="95" y="105"/>
                    <a:pt x="95" y="105"/>
                    <a:pt x="95" y="105"/>
                  </a:cubicBezTo>
                  <a:cubicBezTo>
                    <a:pt x="95" y="105"/>
                    <a:pt x="95" y="105"/>
                    <a:pt x="95" y="105"/>
                  </a:cubicBezTo>
                  <a:cubicBezTo>
                    <a:pt x="95" y="105"/>
                    <a:pt x="95" y="105"/>
                    <a:pt x="95" y="105"/>
                  </a:cubicBezTo>
                  <a:cubicBezTo>
                    <a:pt x="95" y="105"/>
                    <a:pt x="95" y="105"/>
                    <a:pt x="95" y="105"/>
                  </a:cubicBezTo>
                  <a:cubicBezTo>
                    <a:pt x="96" y="105"/>
                    <a:pt x="96" y="105"/>
                    <a:pt x="96" y="105"/>
                  </a:cubicBezTo>
                  <a:cubicBezTo>
                    <a:pt x="96" y="105"/>
                    <a:pt x="96" y="105"/>
                    <a:pt x="96" y="105"/>
                  </a:cubicBezTo>
                  <a:cubicBezTo>
                    <a:pt x="96" y="105"/>
                    <a:pt x="96" y="105"/>
                    <a:pt x="96" y="105"/>
                  </a:cubicBezTo>
                  <a:cubicBezTo>
                    <a:pt x="96" y="105"/>
                    <a:pt x="96" y="105"/>
                    <a:pt x="96" y="105"/>
                  </a:cubicBezTo>
                  <a:cubicBezTo>
                    <a:pt x="97" y="105"/>
                    <a:pt x="97" y="105"/>
                    <a:pt x="97" y="105"/>
                  </a:cubicBezTo>
                  <a:cubicBezTo>
                    <a:pt x="97" y="105"/>
                    <a:pt x="97" y="105"/>
                    <a:pt x="97" y="105"/>
                  </a:cubicBezTo>
                  <a:cubicBezTo>
                    <a:pt x="97" y="105"/>
                    <a:pt x="97" y="105"/>
                    <a:pt x="97" y="105"/>
                  </a:cubicBezTo>
                  <a:cubicBezTo>
                    <a:pt x="97" y="105"/>
                    <a:pt x="97" y="105"/>
                    <a:pt x="97" y="105"/>
                  </a:cubicBezTo>
                  <a:cubicBezTo>
                    <a:pt x="97" y="105"/>
                    <a:pt x="97" y="105"/>
                    <a:pt x="97" y="105"/>
                  </a:cubicBezTo>
                  <a:cubicBezTo>
                    <a:pt x="97" y="105"/>
                    <a:pt x="97" y="105"/>
                    <a:pt x="97" y="105"/>
                  </a:cubicBezTo>
                  <a:cubicBezTo>
                    <a:pt x="98" y="105"/>
                    <a:pt x="98" y="105"/>
                    <a:pt x="98" y="105"/>
                  </a:cubicBezTo>
                  <a:cubicBezTo>
                    <a:pt x="107" y="105"/>
                    <a:pt x="107" y="105"/>
                    <a:pt x="107" y="105"/>
                  </a:cubicBezTo>
                  <a:close/>
                  <a:moveTo>
                    <a:pt x="107" y="206"/>
                  </a:moveTo>
                  <a:cubicBezTo>
                    <a:pt x="107" y="221"/>
                    <a:pt x="107" y="221"/>
                    <a:pt x="107" y="221"/>
                  </a:cubicBezTo>
                  <a:cubicBezTo>
                    <a:pt x="98" y="221"/>
                    <a:pt x="98" y="221"/>
                    <a:pt x="98" y="221"/>
                  </a:cubicBezTo>
                  <a:cubicBezTo>
                    <a:pt x="97" y="221"/>
                    <a:pt x="97" y="221"/>
                    <a:pt x="97" y="221"/>
                  </a:cubicBezTo>
                  <a:cubicBezTo>
                    <a:pt x="97" y="221"/>
                    <a:pt x="97" y="221"/>
                    <a:pt x="97" y="221"/>
                  </a:cubicBezTo>
                  <a:cubicBezTo>
                    <a:pt x="97" y="221"/>
                    <a:pt x="97" y="221"/>
                    <a:pt x="97" y="221"/>
                  </a:cubicBezTo>
                  <a:cubicBezTo>
                    <a:pt x="97" y="221"/>
                    <a:pt x="97" y="221"/>
                    <a:pt x="97" y="221"/>
                  </a:cubicBezTo>
                  <a:cubicBezTo>
                    <a:pt x="97" y="221"/>
                    <a:pt x="97" y="221"/>
                    <a:pt x="97" y="221"/>
                  </a:cubicBezTo>
                  <a:cubicBezTo>
                    <a:pt x="97" y="221"/>
                    <a:pt x="97" y="221"/>
                    <a:pt x="97" y="221"/>
                  </a:cubicBezTo>
                  <a:cubicBezTo>
                    <a:pt x="96" y="221"/>
                    <a:pt x="96" y="221"/>
                    <a:pt x="96" y="221"/>
                  </a:cubicBezTo>
                  <a:cubicBezTo>
                    <a:pt x="96" y="221"/>
                    <a:pt x="96" y="221"/>
                    <a:pt x="96" y="221"/>
                  </a:cubicBezTo>
                  <a:cubicBezTo>
                    <a:pt x="96" y="221"/>
                    <a:pt x="96" y="221"/>
                    <a:pt x="96" y="221"/>
                  </a:cubicBezTo>
                  <a:cubicBezTo>
                    <a:pt x="96" y="221"/>
                    <a:pt x="96" y="221"/>
                    <a:pt x="96" y="221"/>
                  </a:cubicBezTo>
                  <a:cubicBezTo>
                    <a:pt x="96" y="221"/>
                    <a:pt x="96" y="221"/>
                    <a:pt x="96" y="221"/>
                  </a:cubicBezTo>
                  <a:cubicBezTo>
                    <a:pt x="95" y="221"/>
                    <a:pt x="95" y="221"/>
                    <a:pt x="95" y="221"/>
                  </a:cubicBezTo>
                  <a:cubicBezTo>
                    <a:pt x="95" y="221"/>
                    <a:pt x="95" y="221"/>
                    <a:pt x="95" y="221"/>
                  </a:cubicBezTo>
                  <a:cubicBezTo>
                    <a:pt x="95" y="221"/>
                    <a:pt x="95" y="221"/>
                    <a:pt x="95" y="221"/>
                  </a:cubicBezTo>
                  <a:cubicBezTo>
                    <a:pt x="95" y="221"/>
                    <a:pt x="95" y="221"/>
                    <a:pt x="95" y="221"/>
                  </a:cubicBezTo>
                  <a:cubicBezTo>
                    <a:pt x="94" y="221"/>
                    <a:pt x="94" y="221"/>
                    <a:pt x="94" y="221"/>
                  </a:cubicBezTo>
                  <a:cubicBezTo>
                    <a:pt x="94" y="221"/>
                    <a:pt x="94" y="221"/>
                    <a:pt x="94" y="221"/>
                  </a:cubicBezTo>
                  <a:cubicBezTo>
                    <a:pt x="94" y="221"/>
                    <a:pt x="94" y="221"/>
                    <a:pt x="94" y="221"/>
                  </a:cubicBezTo>
                  <a:cubicBezTo>
                    <a:pt x="94" y="221"/>
                    <a:pt x="94" y="221"/>
                    <a:pt x="94" y="221"/>
                  </a:cubicBezTo>
                  <a:cubicBezTo>
                    <a:pt x="94" y="221"/>
                    <a:pt x="94" y="221"/>
                    <a:pt x="94" y="221"/>
                  </a:cubicBezTo>
                  <a:cubicBezTo>
                    <a:pt x="94" y="221"/>
                    <a:pt x="94" y="221"/>
                    <a:pt x="94" y="221"/>
                  </a:cubicBezTo>
                  <a:cubicBezTo>
                    <a:pt x="93" y="221"/>
                    <a:pt x="93" y="221"/>
                    <a:pt x="93" y="221"/>
                  </a:cubicBezTo>
                  <a:cubicBezTo>
                    <a:pt x="93" y="221"/>
                    <a:pt x="93" y="221"/>
                    <a:pt x="93" y="221"/>
                  </a:cubicBezTo>
                  <a:cubicBezTo>
                    <a:pt x="93" y="221"/>
                    <a:pt x="93" y="221"/>
                    <a:pt x="93" y="221"/>
                  </a:cubicBezTo>
                  <a:cubicBezTo>
                    <a:pt x="93" y="221"/>
                    <a:pt x="93" y="221"/>
                    <a:pt x="93" y="221"/>
                  </a:cubicBezTo>
                  <a:cubicBezTo>
                    <a:pt x="93" y="221"/>
                    <a:pt x="93" y="221"/>
                    <a:pt x="93" y="221"/>
                  </a:cubicBezTo>
                  <a:cubicBezTo>
                    <a:pt x="92" y="221"/>
                    <a:pt x="92" y="221"/>
                    <a:pt x="92" y="221"/>
                  </a:cubicBezTo>
                  <a:cubicBezTo>
                    <a:pt x="92" y="221"/>
                    <a:pt x="92" y="221"/>
                    <a:pt x="92" y="221"/>
                  </a:cubicBezTo>
                  <a:cubicBezTo>
                    <a:pt x="92" y="221"/>
                    <a:pt x="92" y="221"/>
                    <a:pt x="92" y="221"/>
                  </a:cubicBezTo>
                  <a:cubicBezTo>
                    <a:pt x="92" y="221"/>
                    <a:pt x="92" y="221"/>
                    <a:pt x="92" y="221"/>
                  </a:cubicBezTo>
                  <a:cubicBezTo>
                    <a:pt x="92" y="221"/>
                    <a:pt x="92" y="221"/>
                    <a:pt x="92" y="221"/>
                  </a:cubicBezTo>
                  <a:cubicBezTo>
                    <a:pt x="92" y="221"/>
                    <a:pt x="92" y="221"/>
                    <a:pt x="92" y="221"/>
                  </a:cubicBezTo>
                  <a:cubicBezTo>
                    <a:pt x="91" y="221"/>
                    <a:pt x="91" y="221"/>
                    <a:pt x="91" y="221"/>
                  </a:cubicBezTo>
                  <a:cubicBezTo>
                    <a:pt x="91" y="221"/>
                    <a:pt x="91" y="221"/>
                    <a:pt x="91" y="221"/>
                  </a:cubicBezTo>
                  <a:cubicBezTo>
                    <a:pt x="91" y="221"/>
                    <a:pt x="91" y="221"/>
                    <a:pt x="91" y="221"/>
                  </a:cubicBezTo>
                  <a:cubicBezTo>
                    <a:pt x="91" y="221"/>
                    <a:pt x="91" y="221"/>
                    <a:pt x="91" y="221"/>
                  </a:cubicBezTo>
                  <a:cubicBezTo>
                    <a:pt x="91" y="221"/>
                    <a:pt x="91" y="221"/>
                    <a:pt x="91" y="221"/>
                  </a:cubicBezTo>
                  <a:cubicBezTo>
                    <a:pt x="90" y="221"/>
                    <a:pt x="90" y="221"/>
                    <a:pt x="90" y="221"/>
                  </a:cubicBezTo>
                  <a:cubicBezTo>
                    <a:pt x="90" y="206"/>
                    <a:pt x="90" y="206"/>
                    <a:pt x="90" y="206"/>
                  </a:cubicBezTo>
                  <a:cubicBezTo>
                    <a:pt x="98" y="206"/>
                    <a:pt x="98" y="206"/>
                    <a:pt x="98" y="206"/>
                  </a:cubicBezTo>
                  <a:cubicBezTo>
                    <a:pt x="107" y="206"/>
                    <a:pt x="107" y="206"/>
                    <a:pt x="107" y="206"/>
                  </a:cubicBezTo>
                  <a:close/>
                  <a:moveTo>
                    <a:pt x="107" y="256"/>
                  </a:moveTo>
                  <a:cubicBezTo>
                    <a:pt x="107" y="272"/>
                    <a:pt x="107" y="272"/>
                    <a:pt x="107" y="272"/>
                  </a:cubicBezTo>
                  <a:cubicBezTo>
                    <a:pt x="98" y="272"/>
                    <a:pt x="98" y="272"/>
                    <a:pt x="98" y="272"/>
                  </a:cubicBezTo>
                  <a:cubicBezTo>
                    <a:pt x="97" y="272"/>
                    <a:pt x="97" y="272"/>
                    <a:pt x="97" y="272"/>
                  </a:cubicBezTo>
                  <a:cubicBezTo>
                    <a:pt x="97" y="272"/>
                    <a:pt x="97" y="272"/>
                    <a:pt x="97" y="272"/>
                  </a:cubicBezTo>
                  <a:cubicBezTo>
                    <a:pt x="97" y="272"/>
                    <a:pt x="97" y="272"/>
                    <a:pt x="97" y="272"/>
                  </a:cubicBezTo>
                  <a:cubicBezTo>
                    <a:pt x="97" y="272"/>
                    <a:pt x="97" y="272"/>
                    <a:pt x="97" y="272"/>
                  </a:cubicBezTo>
                  <a:cubicBezTo>
                    <a:pt x="97" y="272"/>
                    <a:pt x="97" y="272"/>
                    <a:pt x="97" y="272"/>
                  </a:cubicBezTo>
                  <a:cubicBezTo>
                    <a:pt x="97" y="272"/>
                    <a:pt x="97" y="272"/>
                    <a:pt x="97" y="272"/>
                  </a:cubicBezTo>
                  <a:cubicBezTo>
                    <a:pt x="96" y="272"/>
                    <a:pt x="96" y="272"/>
                    <a:pt x="96" y="272"/>
                  </a:cubicBezTo>
                  <a:cubicBezTo>
                    <a:pt x="96" y="272"/>
                    <a:pt x="96" y="272"/>
                    <a:pt x="96" y="272"/>
                  </a:cubicBezTo>
                  <a:cubicBezTo>
                    <a:pt x="96" y="272"/>
                    <a:pt x="96" y="272"/>
                    <a:pt x="96" y="272"/>
                  </a:cubicBezTo>
                  <a:cubicBezTo>
                    <a:pt x="96" y="272"/>
                    <a:pt x="96" y="272"/>
                    <a:pt x="96" y="272"/>
                  </a:cubicBezTo>
                  <a:cubicBezTo>
                    <a:pt x="95" y="272"/>
                    <a:pt x="95" y="272"/>
                    <a:pt x="95" y="272"/>
                  </a:cubicBezTo>
                  <a:cubicBezTo>
                    <a:pt x="95" y="272"/>
                    <a:pt x="95" y="272"/>
                    <a:pt x="95" y="272"/>
                  </a:cubicBezTo>
                  <a:cubicBezTo>
                    <a:pt x="95" y="272"/>
                    <a:pt x="95" y="272"/>
                    <a:pt x="95" y="272"/>
                  </a:cubicBezTo>
                  <a:cubicBezTo>
                    <a:pt x="95" y="272"/>
                    <a:pt x="95" y="272"/>
                    <a:pt x="95" y="272"/>
                  </a:cubicBezTo>
                  <a:cubicBezTo>
                    <a:pt x="95" y="272"/>
                    <a:pt x="95" y="272"/>
                    <a:pt x="95" y="272"/>
                  </a:cubicBezTo>
                  <a:cubicBezTo>
                    <a:pt x="94" y="272"/>
                    <a:pt x="94" y="272"/>
                    <a:pt x="94" y="272"/>
                  </a:cubicBezTo>
                  <a:cubicBezTo>
                    <a:pt x="94" y="272"/>
                    <a:pt x="94" y="272"/>
                    <a:pt x="94" y="272"/>
                  </a:cubicBezTo>
                  <a:cubicBezTo>
                    <a:pt x="94" y="272"/>
                    <a:pt x="94" y="272"/>
                    <a:pt x="94" y="272"/>
                  </a:cubicBezTo>
                  <a:cubicBezTo>
                    <a:pt x="94" y="272"/>
                    <a:pt x="94" y="272"/>
                    <a:pt x="94" y="272"/>
                  </a:cubicBezTo>
                  <a:cubicBezTo>
                    <a:pt x="94" y="272"/>
                    <a:pt x="94" y="272"/>
                    <a:pt x="94" y="272"/>
                  </a:cubicBezTo>
                  <a:cubicBezTo>
                    <a:pt x="94" y="272"/>
                    <a:pt x="94" y="272"/>
                    <a:pt x="94" y="272"/>
                  </a:cubicBezTo>
                  <a:cubicBezTo>
                    <a:pt x="93" y="272"/>
                    <a:pt x="93" y="272"/>
                    <a:pt x="93" y="272"/>
                  </a:cubicBezTo>
                  <a:cubicBezTo>
                    <a:pt x="93" y="272"/>
                    <a:pt x="93" y="272"/>
                    <a:pt x="93" y="272"/>
                  </a:cubicBezTo>
                  <a:cubicBezTo>
                    <a:pt x="93" y="272"/>
                    <a:pt x="93" y="272"/>
                    <a:pt x="93" y="272"/>
                  </a:cubicBezTo>
                  <a:cubicBezTo>
                    <a:pt x="93" y="272"/>
                    <a:pt x="93" y="272"/>
                    <a:pt x="93" y="272"/>
                  </a:cubicBezTo>
                  <a:cubicBezTo>
                    <a:pt x="93" y="272"/>
                    <a:pt x="93" y="272"/>
                    <a:pt x="93" y="272"/>
                  </a:cubicBezTo>
                  <a:cubicBezTo>
                    <a:pt x="92" y="272"/>
                    <a:pt x="92" y="272"/>
                    <a:pt x="92" y="272"/>
                  </a:cubicBezTo>
                  <a:cubicBezTo>
                    <a:pt x="92" y="272"/>
                    <a:pt x="92" y="272"/>
                    <a:pt x="92" y="272"/>
                  </a:cubicBezTo>
                  <a:cubicBezTo>
                    <a:pt x="92" y="272"/>
                    <a:pt x="92" y="272"/>
                    <a:pt x="92" y="272"/>
                  </a:cubicBezTo>
                  <a:cubicBezTo>
                    <a:pt x="92" y="272"/>
                    <a:pt x="92" y="272"/>
                    <a:pt x="92" y="272"/>
                  </a:cubicBezTo>
                  <a:cubicBezTo>
                    <a:pt x="92" y="272"/>
                    <a:pt x="92" y="272"/>
                    <a:pt x="92" y="272"/>
                  </a:cubicBezTo>
                  <a:cubicBezTo>
                    <a:pt x="92" y="272"/>
                    <a:pt x="92" y="272"/>
                    <a:pt x="92" y="272"/>
                  </a:cubicBezTo>
                  <a:cubicBezTo>
                    <a:pt x="91" y="272"/>
                    <a:pt x="91" y="272"/>
                    <a:pt x="91" y="272"/>
                  </a:cubicBezTo>
                  <a:cubicBezTo>
                    <a:pt x="91" y="272"/>
                    <a:pt x="91" y="272"/>
                    <a:pt x="91" y="272"/>
                  </a:cubicBezTo>
                  <a:cubicBezTo>
                    <a:pt x="91" y="272"/>
                    <a:pt x="91" y="272"/>
                    <a:pt x="91" y="272"/>
                  </a:cubicBezTo>
                  <a:cubicBezTo>
                    <a:pt x="91" y="272"/>
                    <a:pt x="91" y="272"/>
                    <a:pt x="91" y="272"/>
                  </a:cubicBezTo>
                  <a:cubicBezTo>
                    <a:pt x="91" y="272"/>
                    <a:pt x="91" y="272"/>
                    <a:pt x="91" y="272"/>
                  </a:cubicBezTo>
                  <a:cubicBezTo>
                    <a:pt x="90" y="272"/>
                    <a:pt x="90" y="272"/>
                    <a:pt x="90" y="272"/>
                  </a:cubicBezTo>
                  <a:cubicBezTo>
                    <a:pt x="90" y="256"/>
                    <a:pt x="90" y="256"/>
                    <a:pt x="90" y="256"/>
                  </a:cubicBezTo>
                  <a:cubicBezTo>
                    <a:pt x="91" y="256"/>
                    <a:pt x="91" y="256"/>
                    <a:pt x="91" y="256"/>
                  </a:cubicBezTo>
                  <a:cubicBezTo>
                    <a:pt x="91" y="256"/>
                    <a:pt x="91" y="256"/>
                    <a:pt x="91" y="256"/>
                  </a:cubicBezTo>
                  <a:cubicBezTo>
                    <a:pt x="91" y="256"/>
                    <a:pt x="91" y="256"/>
                    <a:pt x="91" y="256"/>
                  </a:cubicBezTo>
                  <a:cubicBezTo>
                    <a:pt x="91" y="256"/>
                    <a:pt x="91" y="256"/>
                    <a:pt x="91" y="256"/>
                  </a:cubicBezTo>
                  <a:cubicBezTo>
                    <a:pt x="91" y="256"/>
                    <a:pt x="91" y="256"/>
                    <a:pt x="91" y="256"/>
                  </a:cubicBezTo>
                  <a:cubicBezTo>
                    <a:pt x="92" y="256"/>
                    <a:pt x="92" y="256"/>
                    <a:pt x="92" y="256"/>
                  </a:cubicBezTo>
                  <a:cubicBezTo>
                    <a:pt x="92" y="256"/>
                    <a:pt x="92" y="256"/>
                    <a:pt x="92" y="256"/>
                  </a:cubicBezTo>
                  <a:cubicBezTo>
                    <a:pt x="92" y="256"/>
                    <a:pt x="92" y="256"/>
                    <a:pt x="92" y="256"/>
                  </a:cubicBezTo>
                  <a:cubicBezTo>
                    <a:pt x="92" y="256"/>
                    <a:pt x="92" y="256"/>
                    <a:pt x="92" y="256"/>
                  </a:cubicBezTo>
                  <a:cubicBezTo>
                    <a:pt x="92" y="256"/>
                    <a:pt x="92" y="256"/>
                    <a:pt x="92" y="256"/>
                  </a:cubicBezTo>
                  <a:cubicBezTo>
                    <a:pt x="92" y="256"/>
                    <a:pt x="92" y="256"/>
                    <a:pt x="92" y="256"/>
                  </a:cubicBezTo>
                  <a:cubicBezTo>
                    <a:pt x="93" y="256"/>
                    <a:pt x="93" y="256"/>
                    <a:pt x="93" y="256"/>
                  </a:cubicBezTo>
                  <a:cubicBezTo>
                    <a:pt x="93" y="256"/>
                    <a:pt x="93" y="256"/>
                    <a:pt x="93" y="256"/>
                  </a:cubicBezTo>
                  <a:cubicBezTo>
                    <a:pt x="93" y="256"/>
                    <a:pt x="93" y="256"/>
                    <a:pt x="93" y="256"/>
                  </a:cubicBezTo>
                  <a:cubicBezTo>
                    <a:pt x="93" y="256"/>
                    <a:pt x="93" y="256"/>
                    <a:pt x="93" y="256"/>
                  </a:cubicBezTo>
                  <a:cubicBezTo>
                    <a:pt x="93" y="256"/>
                    <a:pt x="93" y="256"/>
                    <a:pt x="93" y="256"/>
                  </a:cubicBezTo>
                  <a:cubicBezTo>
                    <a:pt x="94" y="256"/>
                    <a:pt x="94" y="256"/>
                    <a:pt x="94" y="256"/>
                  </a:cubicBezTo>
                  <a:cubicBezTo>
                    <a:pt x="94" y="256"/>
                    <a:pt x="94" y="256"/>
                    <a:pt x="94" y="256"/>
                  </a:cubicBezTo>
                  <a:cubicBezTo>
                    <a:pt x="94" y="256"/>
                    <a:pt x="94" y="256"/>
                    <a:pt x="94" y="256"/>
                  </a:cubicBezTo>
                  <a:cubicBezTo>
                    <a:pt x="94" y="256"/>
                    <a:pt x="94" y="256"/>
                    <a:pt x="94" y="256"/>
                  </a:cubicBezTo>
                  <a:cubicBezTo>
                    <a:pt x="94" y="256"/>
                    <a:pt x="94" y="256"/>
                    <a:pt x="94" y="256"/>
                  </a:cubicBezTo>
                  <a:cubicBezTo>
                    <a:pt x="94" y="256"/>
                    <a:pt x="94" y="256"/>
                    <a:pt x="94" y="256"/>
                  </a:cubicBezTo>
                  <a:cubicBezTo>
                    <a:pt x="95" y="256"/>
                    <a:pt x="95" y="256"/>
                    <a:pt x="95" y="256"/>
                  </a:cubicBezTo>
                  <a:cubicBezTo>
                    <a:pt x="95" y="256"/>
                    <a:pt x="95" y="256"/>
                    <a:pt x="95" y="256"/>
                  </a:cubicBezTo>
                  <a:cubicBezTo>
                    <a:pt x="95" y="256"/>
                    <a:pt x="95" y="256"/>
                    <a:pt x="95" y="256"/>
                  </a:cubicBezTo>
                  <a:cubicBezTo>
                    <a:pt x="95" y="256"/>
                    <a:pt x="95" y="256"/>
                    <a:pt x="95" y="256"/>
                  </a:cubicBezTo>
                  <a:cubicBezTo>
                    <a:pt x="96" y="256"/>
                    <a:pt x="96" y="256"/>
                    <a:pt x="96" y="256"/>
                  </a:cubicBezTo>
                  <a:cubicBezTo>
                    <a:pt x="96" y="256"/>
                    <a:pt x="96" y="256"/>
                    <a:pt x="96" y="256"/>
                  </a:cubicBezTo>
                  <a:cubicBezTo>
                    <a:pt x="96" y="256"/>
                    <a:pt x="96" y="256"/>
                    <a:pt x="96" y="256"/>
                  </a:cubicBezTo>
                  <a:cubicBezTo>
                    <a:pt x="96" y="256"/>
                    <a:pt x="96" y="256"/>
                    <a:pt x="96" y="256"/>
                  </a:cubicBezTo>
                  <a:cubicBezTo>
                    <a:pt x="96" y="256"/>
                    <a:pt x="96" y="256"/>
                    <a:pt x="96" y="256"/>
                  </a:cubicBezTo>
                  <a:cubicBezTo>
                    <a:pt x="97" y="256"/>
                    <a:pt x="97" y="256"/>
                    <a:pt x="97" y="256"/>
                  </a:cubicBezTo>
                  <a:cubicBezTo>
                    <a:pt x="97" y="256"/>
                    <a:pt x="97" y="256"/>
                    <a:pt x="97" y="256"/>
                  </a:cubicBezTo>
                  <a:cubicBezTo>
                    <a:pt x="97" y="256"/>
                    <a:pt x="97" y="256"/>
                    <a:pt x="97" y="256"/>
                  </a:cubicBezTo>
                  <a:cubicBezTo>
                    <a:pt x="97" y="256"/>
                    <a:pt x="97" y="256"/>
                    <a:pt x="97" y="256"/>
                  </a:cubicBezTo>
                  <a:cubicBezTo>
                    <a:pt x="97" y="256"/>
                    <a:pt x="97" y="256"/>
                    <a:pt x="97" y="256"/>
                  </a:cubicBezTo>
                  <a:cubicBezTo>
                    <a:pt x="97" y="256"/>
                    <a:pt x="97" y="256"/>
                    <a:pt x="97" y="256"/>
                  </a:cubicBezTo>
                  <a:cubicBezTo>
                    <a:pt x="98" y="256"/>
                    <a:pt x="98" y="256"/>
                    <a:pt x="98" y="256"/>
                  </a:cubicBezTo>
                  <a:cubicBezTo>
                    <a:pt x="107" y="256"/>
                    <a:pt x="107" y="256"/>
                    <a:pt x="107" y="256"/>
                  </a:cubicBezTo>
                  <a:close/>
                  <a:moveTo>
                    <a:pt x="107" y="307"/>
                  </a:moveTo>
                  <a:cubicBezTo>
                    <a:pt x="107" y="423"/>
                    <a:pt x="107" y="423"/>
                    <a:pt x="107" y="423"/>
                  </a:cubicBezTo>
                  <a:cubicBezTo>
                    <a:pt x="98" y="423"/>
                    <a:pt x="98" y="423"/>
                    <a:pt x="98" y="423"/>
                  </a:cubicBezTo>
                  <a:cubicBezTo>
                    <a:pt x="90" y="423"/>
                    <a:pt x="90" y="423"/>
                    <a:pt x="90" y="423"/>
                  </a:cubicBezTo>
                  <a:cubicBezTo>
                    <a:pt x="90" y="407"/>
                    <a:pt x="90" y="407"/>
                    <a:pt x="90" y="407"/>
                  </a:cubicBezTo>
                  <a:cubicBezTo>
                    <a:pt x="91" y="407"/>
                    <a:pt x="91" y="407"/>
                    <a:pt x="91" y="407"/>
                  </a:cubicBezTo>
                  <a:cubicBezTo>
                    <a:pt x="91" y="407"/>
                    <a:pt x="91" y="407"/>
                    <a:pt x="91" y="407"/>
                  </a:cubicBezTo>
                  <a:cubicBezTo>
                    <a:pt x="91" y="407"/>
                    <a:pt x="91" y="407"/>
                    <a:pt x="91" y="407"/>
                  </a:cubicBezTo>
                  <a:cubicBezTo>
                    <a:pt x="91" y="407"/>
                    <a:pt x="91" y="407"/>
                    <a:pt x="91" y="407"/>
                  </a:cubicBezTo>
                  <a:cubicBezTo>
                    <a:pt x="92" y="407"/>
                    <a:pt x="92" y="407"/>
                    <a:pt x="92" y="407"/>
                  </a:cubicBezTo>
                  <a:cubicBezTo>
                    <a:pt x="92" y="407"/>
                    <a:pt x="92" y="407"/>
                    <a:pt x="92" y="407"/>
                  </a:cubicBezTo>
                  <a:cubicBezTo>
                    <a:pt x="92" y="407"/>
                    <a:pt x="92" y="407"/>
                    <a:pt x="92" y="407"/>
                  </a:cubicBezTo>
                  <a:cubicBezTo>
                    <a:pt x="92" y="407"/>
                    <a:pt x="92" y="407"/>
                    <a:pt x="92" y="407"/>
                  </a:cubicBezTo>
                  <a:cubicBezTo>
                    <a:pt x="92" y="407"/>
                    <a:pt x="92" y="407"/>
                    <a:pt x="92" y="407"/>
                  </a:cubicBezTo>
                  <a:cubicBezTo>
                    <a:pt x="93" y="407"/>
                    <a:pt x="93" y="407"/>
                    <a:pt x="93" y="407"/>
                  </a:cubicBezTo>
                  <a:cubicBezTo>
                    <a:pt x="93" y="407"/>
                    <a:pt x="93" y="407"/>
                    <a:pt x="93" y="407"/>
                  </a:cubicBezTo>
                  <a:cubicBezTo>
                    <a:pt x="93" y="407"/>
                    <a:pt x="93" y="407"/>
                    <a:pt x="93" y="407"/>
                  </a:cubicBezTo>
                  <a:cubicBezTo>
                    <a:pt x="93" y="407"/>
                    <a:pt x="93" y="407"/>
                    <a:pt x="93" y="407"/>
                  </a:cubicBezTo>
                  <a:cubicBezTo>
                    <a:pt x="94" y="407"/>
                    <a:pt x="94" y="407"/>
                    <a:pt x="94" y="407"/>
                  </a:cubicBezTo>
                  <a:cubicBezTo>
                    <a:pt x="94" y="407"/>
                    <a:pt x="94" y="407"/>
                    <a:pt x="94" y="407"/>
                  </a:cubicBezTo>
                  <a:cubicBezTo>
                    <a:pt x="94" y="407"/>
                    <a:pt x="94" y="407"/>
                    <a:pt x="94" y="407"/>
                  </a:cubicBezTo>
                  <a:cubicBezTo>
                    <a:pt x="94" y="407"/>
                    <a:pt x="94" y="407"/>
                    <a:pt x="94" y="407"/>
                  </a:cubicBezTo>
                  <a:cubicBezTo>
                    <a:pt x="94" y="407"/>
                    <a:pt x="94" y="407"/>
                    <a:pt x="94" y="407"/>
                  </a:cubicBezTo>
                  <a:cubicBezTo>
                    <a:pt x="95" y="407"/>
                    <a:pt x="95" y="407"/>
                    <a:pt x="95" y="407"/>
                  </a:cubicBezTo>
                  <a:cubicBezTo>
                    <a:pt x="95" y="407"/>
                    <a:pt x="95" y="407"/>
                    <a:pt x="95" y="407"/>
                  </a:cubicBezTo>
                  <a:cubicBezTo>
                    <a:pt x="95" y="407"/>
                    <a:pt x="95" y="407"/>
                    <a:pt x="95" y="407"/>
                  </a:cubicBezTo>
                  <a:cubicBezTo>
                    <a:pt x="95" y="407"/>
                    <a:pt x="95" y="407"/>
                    <a:pt x="95" y="407"/>
                  </a:cubicBezTo>
                  <a:cubicBezTo>
                    <a:pt x="96" y="407"/>
                    <a:pt x="96" y="407"/>
                    <a:pt x="96" y="407"/>
                  </a:cubicBezTo>
                  <a:cubicBezTo>
                    <a:pt x="96" y="407"/>
                    <a:pt x="96" y="407"/>
                    <a:pt x="96" y="407"/>
                  </a:cubicBezTo>
                  <a:cubicBezTo>
                    <a:pt x="96" y="407"/>
                    <a:pt x="96" y="407"/>
                    <a:pt x="96" y="407"/>
                  </a:cubicBezTo>
                  <a:cubicBezTo>
                    <a:pt x="96" y="407"/>
                    <a:pt x="96" y="407"/>
                    <a:pt x="96" y="407"/>
                  </a:cubicBezTo>
                  <a:cubicBezTo>
                    <a:pt x="97" y="407"/>
                    <a:pt x="97" y="407"/>
                    <a:pt x="97" y="407"/>
                  </a:cubicBezTo>
                  <a:cubicBezTo>
                    <a:pt x="97" y="407"/>
                    <a:pt x="97" y="407"/>
                    <a:pt x="97" y="407"/>
                  </a:cubicBezTo>
                  <a:cubicBezTo>
                    <a:pt x="97" y="407"/>
                    <a:pt x="97" y="407"/>
                    <a:pt x="97" y="407"/>
                  </a:cubicBezTo>
                  <a:cubicBezTo>
                    <a:pt x="97" y="407"/>
                    <a:pt x="97" y="407"/>
                    <a:pt x="97" y="407"/>
                  </a:cubicBezTo>
                  <a:cubicBezTo>
                    <a:pt x="97" y="407"/>
                    <a:pt x="97" y="407"/>
                    <a:pt x="97" y="407"/>
                  </a:cubicBezTo>
                  <a:cubicBezTo>
                    <a:pt x="98" y="407"/>
                    <a:pt x="98" y="407"/>
                    <a:pt x="98" y="407"/>
                  </a:cubicBezTo>
                  <a:cubicBezTo>
                    <a:pt x="98" y="396"/>
                    <a:pt x="98" y="384"/>
                    <a:pt x="98" y="372"/>
                  </a:cubicBezTo>
                  <a:cubicBezTo>
                    <a:pt x="97" y="372"/>
                    <a:pt x="97" y="372"/>
                    <a:pt x="97" y="372"/>
                  </a:cubicBezTo>
                  <a:cubicBezTo>
                    <a:pt x="97" y="372"/>
                    <a:pt x="97" y="372"/>
                    <a:pt x="97" y="372"/>
                  </a:cubicBezTo>
                  <a:cubicBezTo>
                    <a:pt x="97" y="372"/>
                    <a:pt x="97" y="372"/>
                    <a:pt x="97" y="372"/>
                  </a:cubicBezTo>
                  <a:cubicBezTo>
                    <a:pt x="97" y="372"/>
                    <a:pt x="97" y="372"/>
                    <a:pt x="97" y="372"/>
                  </a:cubicBezTo>
                  <a:cubicBezTo>
                    <a:pt x="97" y="372"/>
                    <a:pt x="97" y="372"/>
                    <a:pt x="97" y="372"/>
                  </a:cubicBezTo>
                  <a:cubicBezTo>
                    <a:pt x="96" y="372"/>
                    <a:pt x="96" y="372"/>
                    <a:pt x="96" y="372"/>
                  </a:cubicBezTo>
                  <a:cubicBezTo>
                    <a:pt x="96" y="372"/>
                    <a:pt x="96" y="372"/>
                    <a:pt x="96" y="372"/>
                  </a:cubicBezTo>
                  <a:cubicBezTo>
                    <a:pt x="96" y="372"/>
                    <a:pt x="96" y="372"/>
                    <a:pt x="96" y="372"/>
                  </a:cubicBezTo>
                  <a:cubicBezTo>
                    <a:pt x="96" y="372"/>
                    <a:pt x="96" y="372"/>
                    <a:pt x="96" y="372"/>
                  </a:cubicBezTo>
                  <a:cubicBezTo>
                    <a:pt x="95" y="372"/>
                    <a:pt x="95" y="372"/>
                    <a:pt x="95" y="372"/>
                  </a:cubicBezTo>
                  <a:cubicBezTo>
                    <a:pt x="95" y="372"/>
                    <a:pt x="95" y="372"/>
                    <a:pt x="95" y="372"/>
                  </a:cubicBezTo>
                  <a:cubicBezTo>
                    <a:pt x="95" y="372"/>
                    <a:pt x="95" y="372"/>
                    <a:pt x="95" y="372"/>
                  </a:cubicBezTo>
                  <a:cubicBezTo>
                    <a:pt x="95" y="372"/>
                    <a:pt x="95" y="372"/>
                    <a:pt x="95" y="372"/>
                  </a:cubicBezTo>
                  <a:cubicBezTo>
                    <a:pt x="94" y="372"/>
                    <a:pt x="94" y="372"/>
                    <a:pt x="94" y="372"/>
                  </a:cubicBezTo>
                  <a:cubicBezTo>
                    <a:pt x="94" y="372"/>
                    <a:pt x="94" y="372"/>
                    <a:pt x="94" y="372"/>
                  </a:cubicBezTo>
                  <a:cubicBezTo>
                    <a:pt x="94" y="372"/>
                    <a:pt x="94" y="372"/>
                    <a:pt x="94" y="372"/>
                  </a:cubicBezTo>
                  <a:cubicBezTo>
                    <a:pt x="94" y="372"/>
                    <a:pt x="94" y="372"/>
                    <a:pt x="94" y="372"/>
                  </a:cubicBezTo>
                  <a:cubicBezTo>
                    <a:pt x="94" y="372"/>
                    <a:pt x="94" y="372"/>
                    <a:pt x="94" y="372"/>
                  </a:cubicBezTo>
                  <a:cubicBezTo>
                    <a:pt x="93" y="372"/>
                    <a:pt x="93" y="372"/>
                    <a:pt x="93" y="372"/>
                  </a:cubicBezTo>
                  <a:cubicBezTo>
                    <a:pt x="93" y="372"/>
                    <a:pt x="93" y="372"/>
                    <a:pt x="93" y="372"/>
                  </a:cubicBezTo>
                  <a:cubicBezTo>
                    <a:pt x="93" y="372"/>
                    <a:pt x="93" y="372"/>
                    <a:pt x="93" y="372"/>
                  </a:cubicBezTo>
                  <a:cubicBezTo>
                    <a:pt x="93" y="372"/>
                    <a:pt x="93" y="372"/>
                    <a:pt x="93" y="372"/>
                  </a:cubicBezTo>
                  <a:cubicBezTo>
                    <a:pt x="92" y="372"/>
                    <a:pt x="92" y="372"/>
                    <a:pt x="92" y="372"/>
                  </a:cubicBezTo>
                  <a:cubicBezTo>
                    <a:pt x="92" y="372"/>
                    <a:pt x="92" y="372"/>
                    <a:pt x="92" y="372"/>
                  </a:cubicBezTo>
                  <a:cubicBezTo>
                    <a:pt x="92" y="372"/>
                    <a:pt x="92" y="372"/>
                    <a:pt x="92" y="372"/>
                  </a:cubicBezTo>
                  <a:cubicBezTo>
                    <a:pt x="92" y="372"/>
                    <a:pt x="92" y="372"/>
                    <a:pt x="92" y="372"/>
                  </a:cubicBezTo>
                  <a:cubicBezTo>
                    <a:pt x="92" y="372"/>
                    <a:pt x="92" y="372"/>
                    <a:pt x="92" y="372"/>
                  </a:cubicBezTo>
                  <a:cubicBezTo>
                    <a:pt x="91" y="372"/>
                    <a:pt x="91" y="372"/>
                    <a:pt x="91" y="372"/>
                  </a:cubicBezTo>
                  <a:cubicBezTo>
                    <a:pt x="91" y="372"/>
                    <a:pt x="91" y="372"/>
                    <a:pt x="91" y="372"/>
                  </a:cubicBezTo>
                  <a:cubicBezTo>
                    <a:pt x="91" y="372"/>
                    <a:pt x="91" y="372"/>
                    <a:pt x="91" y="372"/>
                  </a:cubicBezTo>
                  <a:cubicBezTo>
                    <a:pt x="91" y="372"/>
                    <a:pt x="91" y="372"/>
                    <a:pt x="91" y="372"/>
                  </a:cubicBezTo>
                  <a:cubicBezTo>
                    <a:pt x="90" y="372"/>
                    <a:pt x="90" y="372"/>
                    <a:pt x="90" y="372"/>
                  </a:cubicBezTo>
                  <a:cubicBezTo>
                    <a:pt x="90" y="357"/>
                    <a:pt x="90" y="357"/>
                    <a:pt x="90" y="357"/>
                  </a:cubicBezTo>
                  <a:cubicBezTo>
                    <a:pt x="98" y="357"/>
                    <a:pt x="98" y="357"/>
                    <a:pt x="98" y="357"/>
                  </a:cubicBezTo>
                  <a:cubicBezTo>
                    <a:pt x="98" y="345"/>
                    <a:pt x="98" y="334"/>
                    <a:pt x="98" y="322"/>
                  </a:cubicBezTo>
                  <a:cubicBezTo>
                    <a:pt x="90" y="322"/>
                    <a:pt x="90" y="322"/>
                    <a:pt x="90" y="322"/>
                  </a:cubicBezTo>
                  <a:cubicBezTo>
                    <a:pt x="90" y="307"/>
                    <a:pt x="90" y="307"/>
                    <a:pt x="90" y="307"/>
                  </a:cubicBezTo>
                  <a:cubicBezTo>
                    <a:pt x="91" y="307"/>
                    <a:pt x="91" y="307"/>
                    <a:pt x="91" y="307"/>
                  </a:cubicBezTo>
                  <a:cubicBezTo>
                    <a:pt x="91" y="307"/>
                    <a:pt x="91" y="307"/>
                    <a:pt x="91" y="307"/>
                  </a:cubicBezTo>
                  <a:cubicBezTo>
                    <a:pt x="91" y="307"/>
                    <a:pt x="91" y="307"/>
                    <a:pt x="91" y="307"/>
                  </a:cubicBezTo>
                  <a:cubicBezTo>
                    <a:pt x="91" y="307"/>
                    <a:pt x="91" y="307"/>
                    <a:pt x="91" y="307"/>
                  </a:cubicBezTo>
                  <a:cubicBezTo>
                    <a:pt x="91" y="307"/>
                    <a:pt x="91" y="307"/>
                    <a:pt x="91" y="307"/>
                  </a:cubicBezTo>
                  <a:cubicBezTo>
                    <a:pt x="92" y="307"/>
                    <a:pt x="92" y="307"/>
                    <a:pt x="92" y="307"/>
                  </a:cubicBezTo>
                  <a:cubicBezTo>
                    <a:pt x="92" y="307"/>
                    <a:pt x="92" y="307"/>
                    <a:pt x="92" y="307"/>
                  </a:cubicBezTo>
                  <a:cubicBezTo>
                    <a:pt x="92" y="307"/>
                    <a:pt x="92" y="307"/>
                    <a:pt x="92" y="307"/>
                  </a:cubicBezTo>
                  <a:cubicBezTo>
                    <a:pt x="92" y="307"/>
                    <a:pt x="92" y="307"/>
                    <a:pt x="92" y="307"/>
                  </a:cubicBezTo>
                  <a:cubicBezTo>
                    <a:pt x="92" y="307"/>
                    <a:pt x="92" y="307"/>
                    <a:pt x="92" y="307"/>
                  </a:cubicBezTo>
                  <a:cubicBezTo>
                    <a:pt x="92" y="307"/>
                    <a:pt x="92" y="307"/>
                    <a:pt x="92" y="307"/>
                  </a:cubicBezTo>
                  <a:cubicBezTo>
                    <a:pt x="93" y="307"/>
                    <a:pt x="93" y="307"/>
                    <a:pt x="93" y="307"/>
                  </a:cubicBezTo>
                  <a:cubicBezTo>
                    <a:pt x="93" y="307"/>
                    <a:pt x="93" y="307"/>
                    <a:pt x="93" y="307"/>
                  </a:cubicBezTo>
                  <a:cubicBezTo>
                    <a:pt x="93" y="307"/>
                    <a:pt x="93" y="307"/>
                    <a:pt x="93" y="307"/>
                  </a:cubicBezTo>
                  <a:cubicBezTo>
                    <a:pt x="93" y="307"/>
                    <a:pt x="93" y="307"/>
                    <a:pt x="93" y="307"/>
                  </a:cubicBezTo>
                  <a:cubicBezTo>
                    <a:pt x="93" y="307"/>
                    <a:pt x="93" y="307"/>
                    <a:pt x="93" y="307"/>
                  </a:cubicBezTo>
                  <a:cubicBezTo>
                    <a:pt x="94" y="307"/>
                    <a:pt x="94" y="307"/>
                    <a:pt x="94" y="307"/>
                  </a:cubicBezTo>
                  <a:cubicBezTo>
                    <a:pt x="94" y="307"/>
                    <a:pt x="94" y="307"/>
                    <a:pt x="94" y="307"/>
                  </a:cubicBezTo>
                  <a:cubicBezTo>
                    <a:pt x="94" y="307"/>
                    <a:pt x="94" y="307"/>
                    <a:pt x="94" y="307"/>
                  </a:cubicBezTo>
                  <a:cubicBezTo>
                    <a:pt x="94" y="307"/>
                    <a:pt x="94" y="307"/>
                    <a:pt x="94" y="307"/>
                  </a:cubicBezTo>
                  <a:cubicBezTo>
                    <a:pt x="94" y="307"/>
                    <a:pt x="94" y="307"/>
                    <a:pt x="94" y="307"/>
                  </a:cubicBezTo>
                  <a:cubicBezTo>
                    <a:pt x="94" y="307"/>
                    <a:pt x="94" y="307"/>
                    <a:pt x="94" y="307"/>
                  </a:cubicBezTo>
                  <a:cubicBezTo>
                    <a:pt x="95" y="307"/>
                    <a:pt x="95" y="307"/>
                    <a:pt x="95" y="307"/>
                  </a:cubicBezTo>
                  <a:cubicBezTo>
                    <a:pt x="95" y="307"/>
                    <a:pt x="95" y="307"/>
                    <a:pt x="95" y="307"/>
                  </a:cubicBezTo>
                  <a:cubicBezTo>
                    <a:pt x="95" y="307"/>
                    <a:pt x="95" y="307"/>
                    <a:pt x="95" y="307"/>
                  </a:cubicBezTo>
                  <a:cubicBezTo>
                    <a:pt x="95" y="307"/>
                    <a:pt x="95" y="307"/>
                    <a:pt x="95" y="307"/>
                  </a:cubicBezTo>
                  <a:cubicBezTo>
                    <a:pt x="95" y="307"/>
                    <a:pt x="95" y="307"/>
                    <a:pt x="95" y="307"/>
                  </a:cubicBezTo>
                  <a:cubicBezTo>
                    <a:pt x="96" y="307"/>
                    <a:pt x="96" y="307"/>
                    <a:pt x="96" y="307"/>
                  </a:cubicBezTo>
                  <a:cubicBezTo>
                    <a:pt x="96" y="307"/>
                    <a:pt x="96" y="307"/>
                    <a:pt x="96" y="307"/>
                  </a:cubicBezTo>
                  <a:cubicBezTo>
                    <a:pt x="96" y="307"/>
                    <a:pt x="96" y="307"/>
                    <a:pt x="96" y="307"/>
                  </a:cubicBezTo>
                  <a:cubicBezTo>
                    <a:pt x="96" y="307"/>
                    <a:pt x="96" y="307"/>
                    <a:pt x="96" y="307"/>
                  </a:cubicBezTo>
                  <a:cubicBezTo>
                    <a:pt x="97" y="307"/>
                    <a:pt x="97" y="307"/>
                    <a:pt x="97" y="307"/>
                  </a:cubicBezTo>
                  <a:cubicBezTo>
                    <a:pt x="97" y="307"/>
                    <a:pt x="97" y="307"/>
                    <a:pt x="97" y="307"/>
                  </a:cubicBezTo>
                  <a:cubicBezTo>
                    <a:pt x="97" y="307"/>
                    <a:pt x="97" y="307"/>
                    <a:pt x="97" y="307"/>
                  </a:cubicBezTo>
                  <a:cubicBezTo>
                    <a:pt x="97" y="307"/>
                    <a:pt x="97" y="307"/>
                    <a:pt x="97" y="307"/>
                  </a:cubicBezTo>
                  <a:cubicBezTo>
                    <a:pt x="97" y="307"/>
                    <a:pt x="97" y="307"/>
                    <a:pt x="97" y="307"/>
                  </a:cubicBezTo>
                  <a:cubicBezTo>
                    <a:pt x="97" y="307"/>
                    <a:pt x="97" y="307"/>
                    <a:pt x="97" y="307"/>
                  </a:cubicBezTo>
                  <a:cubicBezTo>
                    <a:pt x="98" y="307"/>
                    <a:pt x="98" y="307"/>
                    <a:pt x="98" y="307"/>
                  </a:cubicBezTo>
                  <a:lnTo>
                    <a:pt x="107" y="307"/>
                  </a:lnTo>
                  <a:close/>
                  <a:moveTo>
                    <a:pt x="59" y="0"/>
                  </a:moveTo>
                  <a:cubicBezTo>
                    <a:pt x="90" y="0"/>
                    <a:pt x="90" y="0"/>
                    <a:pt x="90" y="0"/>
                  </a:cubicBezTo>
                  <a:cubicBezTo>
                    <a:pt x="90" y="20"/>
                    <a:pt x="90"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89" y="20"/>
                    <a:pt x="89" y="20"/>
                    <a:pt x="89" y="20"/>
                  </a:cubicBezTo>
                  <a:cubicBezTo>
                    <a:pt x="89" y="20"/>
                    <a:pt x="89" y="20"/>
                    <a:pt x="89" y="20"/>
                  </a:cubicBezTo>
                  <a:cubicBezTo>
                    <a:pt x="89" y="20"/>
                    <a:pt x="89" y="20"/>
                    <a:pt x="89" y="20"/>
                  </a:cubicBezTo>
                  <a:cubicBezTo>
                    <a:pt x="89" y="20"/>
                    <a:pt x="89" y="20"/>
                    <a:pt x="89" y="20"/>
                  </a:cubicBezTo>
                  <a:cubicBezTo>
                    <a:pt x="89" y="20"/>
                    <a:pt x="89" y="20"/>
                    <a:pt x="89" y="20"/>
                  </a:cubicBezTo>
                  <a:cubicBezTo>
                    <a:pt x="89" y="20"/>
                    <a:pt x="89" y="20"/>
                    <a:pt x="89" y="20"/>
                  </a:cubicBezTo>
                  <a:cubicBezTo>
                    <a:pt x="88" y="20"/>
                    <a:pt x="88" y="20"/>
                    <a:pt x="88" y="20"/>
                  </a:cubicBezTo>
                  <a:cubicBezTo>
                    <a:pt x="88" y="20"/>
                    <a:pt x="88" y="20"/>
                    <a:pt x="88" y="20"/>
                  </a:cubicBezTo>
                  <a:cubicBezTo>
                    <a:pt x="88" y="20"/>
                    <a:pt x="88" y="20"/>
                    <a:pt x="88" y="20"/>
                  </a:cubicBezTo>
                  <a:cubicBezTo>
                    <a:pt x="88" y="20"/>
                    <a:pt x="88" y="20"/>
                    <a:pt x="88" y="20"/>
                  </a:cubicBezTo>
                  <a:cubicBezTo>
                    <a:pt x="88" y="20"/>
                    <a:pt x="88" y="20"/>
                    <a:pt x="88" y="20"/>
                  </a:cubicBezTo>
                  <a:cubicBezTo>
                    <a:pt x="87" y="20"/>
                    <a:pt x="87" y="20"/>
                    <a:pt x="87" y="20"/>
                  </a:cubicBezTo>
                  <a:cubicBezTo>
                    <a:pt x="87" y="20"/>
                    <a:pt x="87" y="20"/>
                    <a:pt x="87" y="20"/>
                  </a:cubicBezTo>
                  <a:cubicBezTo>
                    <a:pt x="87" y="20"/>
                    <a:pt x="87" y="20"/>
                    <a:pt x="87" y="20"/>
                  </a:cubicBezTo>
                  <a:cubicBezTo>
                    <a:pt x="87" y="20"/>
                    <a:pt x="87" y="20"/>
                    <a:pt x="87" y="20"/>
                  </a:cubicBezTo>
                  <a:cubicBezTo>
                    <a:pt x="87" y="20"/>
                    <a:pt x="87" y="20"/>
                    <a:pt x="87" y="20"/>
                  </a:cubicBezTo>
                  <a:cubicBezTo>
                    <a:pt x="87" y="20"/>
                    <a:pt x="87" y="20"/>
                    <a:pt x="87" y="20"/>
                  </a:cubicBezTo>
                  <a:cubicBezTo>
                    <a:pt x="86" y="20"/>
                    <a:pt x="86" y="20"/>
                    <a:pt x="86" y="20"/>
                  </a:cubicBezTo>
                  <a:cubicBezTo>
                    <a:pt x="86" y="20"/>
                    <a:pt x="86" y="20"/>
                    <a:pt x="86" y="20"/>
                  </a:cubicBezTo>
                  <a:cubicBezTo>
                    <a:pt x="86" y="20"/>
                    <a:pt x="86" y="20"/>
                    <a:pt x="86" y="20"/>
                  </a:cubicBezTo>
                  <a:cubicBezTo>
                    <a:pt x="86" y="20"/>
                    <a:pt x="86" y="20"/>
                    <a:pt x="86" y="20"/>
                  </a:cubicBezTo>
                  <a:cubicBezTo>
                    <a:pt x="86" y="20"/>
                    <a:pt x="86" y="20"/>
                    <a:pt x="86" y="20"/>
                  </a:cubicBezTo>
                  <a:cubicBezTo>
                    <a:pt x="85" y="20"/>
                    <a:pt x="85" y="20"/>
                    <a:pt x="85" y="20"/>
                  </a:cubicBezTo>
                  <a:cubicBezTo>
                    <a:pt x="85" y="20"/>
                    <a:pt x="85" y="20"/>
                    <a:pt x="85" y="20"/>
                  </a:cubicBezTo>
                  <a:cubicBezTo>
                    <a:pt x="85" y="20"/>
                    <a:pt x="85" y="20"/>
                    <a:pt x="85" y="20"/>
                  </a:cubicBezTo>
                  <a:cubicBezTo>
                    <a:pt x="85" y="20"/>
                    <a:pt x="85" y="20"/>
                    <a:pt x="85" y="20"/>
                  </a:cubicBezTo>
                  <a:cubicBezTo>
                    <a:pt x="85" y="20"/>
                    <a:pt x="85" y="20"/>
                    <a:pt x="85" y="20"/>
                  </a:cubicBezTo>
                  <a:cubicBezTo>
                    <a:pt x="84" y="20"/>
                    <a:pt x="84" y="20"/>
                    <a:pt x="84" y="20"/>
                  </a:cubicBezTo>
                  <a:cubicBezTo>
                    <a:pt x="84" y="20"/>
                    <a:pt x="84" y="20"/>
                    <a:pt x="84" y="20"/>
                  </a:cubicBezTo>
                  <a:cubicBezTo>
                    <a:pt x="84" y="20"/>
                    <a:pt x="84" y="20"/>
                    <a:pt x="84" y="20"/>
                  </a:cubicBezTo>
                  <a:cubicBezTo>
                    <a:pt x="84" y="20"/>
                    <a:pt x="84" y="20"/>
                    <a:pt x="84" y="20"/>
                  </a:cubicBezTo>
                  <a:cubicBezTo>
                    <a:pt x="84" y="20"/>
                    <a:pt x="84" y="20"/>
                    <a:pt x="84" y="20"/>
                  </a:cubicBezTo>
                  <a:cubicBezTo>
                    <a:pt x="83" y="20"/>
                    <a:pt x="83" y="20"/>
                    <a:pt x="83" y="20"/>
                  </a:cubicBezTo>
                  <a:cubicBezTo>
                    <a:pt x="83" y="20"/>
                    <a:pt x="83" y="20"/>
                    <a:pt x="83" y="20"/>
                  </a:cubicBezTo>
                  <a:cubicBezTo>
                    <a:pt x="83" y="32"/>
                    <a:pt x="83" y="43"/>
                    <a:pt x="83" y="55"/>
                  </a:cubicBezTo>
                  <a:cubicBezTo>
                    <a:pt x="83" y="55"/>
                    <a:pt x="83" y="55"/>
                    <a:pt x="83" y="55"/>
                  </a:cubicBezTo>
                  <a:cubicBezTo>
                    <a:pt x="84" y="55"/>
                    <a:pt x="84" y="55"/>
                    <a:pt x="84" y="55"/>
                  </a:cubicBezTo>
                  <a:cubicBezTo>
                    <a:pt x="84" y="55"/>
                    <a:pt x="84" y="55"/>
                    <a:pt x="84" y="55"/>
                  </a:cubicBezTo>
                  <a:cubicBezTo>
                    <a:pt x="84" y="55"/>
                    <a:pt x="84" y="55"/>
                    <a:pt x="84" y="55"/>
                  </a:cubicBezTo>
                  <a:cubicBezTo>
                    <a:pt x="84" y="55"/>
                    <a:pt x="84" y="55"/>
                    <a:pt x="84" y="55"/>
                  </a:cubicBezTo>
                  <a:cubicBezTo>
                    <a:pt x="84" y="55"/>
                    <a:pt x="84" y="55"/>
                    <a:pt x="84" y="55"/>
                  </a:cubicBezTo>
                  <a:cubicBezTo>
                    <a:pt x="85" y="55"/>
                    <a:pt x="85" y="55"/>
                    <a:pt x="85" y="55"/>
                  </a:cubicBezTo>
                  <a:cubicBezTo>
                    <a:pt x="85" y="55"/>
                    <a:pt x="85" y="55"/>
                    <a:pt x="85" y="55"/>
                  </a:cubicBezTo>
                  <a:cubicBezTo>
                    <a:pt x="85" y="55"/>
                    <a:pt x="85" y="55"/>
                    <a:pt x="85" y="55"/>
                  </a:cubicBezTo>
                  <a:cubicBezTo>
                    <a:pt x="85" y="55"/>
                    <a:pt x="85" y="55"/>
                    <a:pt x="85" y="55"/>
                  </a:cubicBezTo>
                  <a:cubicBezTo>
                    <a:pt x="85" y="55"/>
                    <a:pt x="85" y="55"/>
                    <a:pt x="85" y="55"/>
                  </a:cubicBezTo>
                  <a:cubicBezTo>
                    <a:pt x="86" y="55"/>
                    <a:pt x="86" y="55"/>
                    <a:pt x="86" y="55"/>
                  </a:cubicBezTo>
                  <a:cubicBezTo>
                    <a:pt x="86" y="55"/>
                    <a:pt x="86" y="55"/>
                    <a:pt x="86" y="55"/>
                  </a:cubicBezTo>
                  <a:cubicBezTo>
                    <a:pt x="86" y="55"/>
                    <a:pt x="86" y="55"/>
                    <a:pt x="86" y="55"/>
                  </a:cubicBezTo>
                  <a:cubicBezTo>
                    <a:pt x="86" y="55"/>
                    <a:pt x="86" y="55"/>
                    <a:pt x="86" y="55"/>
                  </a:cubicBezTo>
                  <a:cubicBezTo>
                    <a:pt x="86" y="55"/>
                    <a:pt x="86" y="55"/>
                    <a:pt x="86" y="55"/>
                  </a:cubicBezTo>
                  <a:cubicBezTo>
                    <a:pt x="87" y="55"/>
                    <a:pt x="87" y="55"/>
                    <a:pt x="87" y="55"/>
                  </a:cubicBezTo>
                  <a:cubicBezTo>
                    <a:pt x="87" y="55"/>
                    <a:pt x="87" y="55"/>
                    <a:pt x="87" y="55"/>
                  </a:cubicBezTo>
                  <a:cubicBezTo>
                    <a:pt x="87" y="55"/>
                    <a:pt x="87" y="55"/>
                    <a:pt x="87" y="55"/>
                  </a:cubicBezTo>
                  <a:cubicBezTo>
                    <a:pt x="87" y="55"/>
                    <a:pt x="87" y="55"/>
                    <a:pt x="87" y="55"/>
                  </a:cubicBezTo>
                  <a:cubicBezTo>
                    <a:pt x="87" y="55"/>
                    <a:pt x="87" y="55"/>
                    <a:pt x="87" y="55"/>
                  </a:cubicBezTo>
                  <a:cubicBezTo>
                    <a:pt x="87" y="55"/>
                    <a:pt x="87" y="55"/>
                    <a:pt x="87" y="55"/>
                  </a:cubicBezTo>
                  <a:cubicBezTo>
                    <a:pt x="88" y="55"/>
                    <a:pt x="88" y="55"/>
                    <a:pt x="88" y="55"/>
                  </a:cubicBezTo>
                  <a:cubicBezTo>
                    <a:pt x="88" y="55"/>
                    <a:pt x="88" y="55"/>
                    <a:pt x="88" y="55"/>
                  </a:cubicBezTo>
                  <a:cubicBezTo>
                    <a:pt x="88" y="55"/>
                    <a:pt x="88" y="55"/>
                    <a:pt x="88" y="55"/>
                  </a:cubicBezTo>
                  <a:cubicBezTo>
                    <a:pt x="88" y="55"/>
                    <a:pt x="88" y="55"/>
                    <a:pt x="88" y="55"/>
                  </a:cubicBezTo>
                  <a:cubicBezTo>
                    <a:pt x="88" y="55"/>
                    <a:pt x="88" y="55"/>
                    <a:pt x="88" y="55"/>
                  </a:cubicBezTo>
                  <a:cubicBezTo>
                    <a:pt x="89" y="55"/>
                    <a:pt x="89" y="55"/>
                    <a:pt x="89" y="55"/>
                  </a:cubicBezTo>
                  <a:cubicBezTo>
                    <a:pt x="89" y="55"/>
                    <a:pt x="89" y="55"/>
                    <a:pt x="89" y="55"/>
                  </a:cubicBezTo>
                  <a:cubicBezTo>
                    <a:pt x="89" y="55"/>
                    <a:pt x="89" y="55"/>
                    <a:pt x="89" y="55"/>
                  </a:cubicBezTo>
                  <a:cubicBezTo>
                    <a:pt x="89" y="55"/>
                    <a:pt x="89" y="55"/>
                    <a:pt x="89" y="55"/>
                  </a:cubicBezTo>
                  <a:cubicBezTo>
                    <a:pt x="89" y="55"/>
                    <a:pt x="89" y="55"/>
                    <a:pt x="89" y="55"/>
                  </a:cubicBezTo>
                  <a:cubicBezTo>
                    <a:pt x="89" y="55"/>
                    <a:pt x="89" y="55"/>
                    <a:pt x="89" y="55"/>
                  </a:cubicBezTo>
                  <a:cubicBezTo>
                    <a:pt x="90" y="55"/>
                    <a:pt x="90" y="55"/>
                    <a:pt x="90" y="55"/>
                  </a:cubicBezTo>
                  <a:cubicBezTo>
                    <a:pt x="90" y="55"/>
                    <a:pt x="90" y="55"/>
                    <a:pt x="90" y="55"/>
                  </a:cubicBezTo>
                  <a:cubicBezTo>
                    <a:pt x="90" y="55"/>
                    <a:pt x="90" y="55"/>
                    <a:pt x="90" y="55"/>
                  </a:cubicBezTo>
                  <a:cubicBezTo>
                    <a:pt x="90" y="55"/>
                    <a:pt x="90" y="55"/>
                    <a:pt x="90" y="55"/>
                  </a:cubicBezTo>
                  <a:cubicBezTo>
                    <a:pt x="90" y="55"/>
                    <a:pt x="90" y="55"/>
                    <a:pt x="90" y="55"/>
                  </a:cubicBezTo>
                  <a:cubicBezTo>
                    <a:pt x="90" y="70"/>
                    <a:pt x="90" y="70"/>
                    <a:pt x="90" y="70"/>
                  </a:cubicBezTo>
                  <a:cubicBezTo>
                    <a:pt x="90" y="70"/>
                    <a:pt x="90" y="70"/>
                    <a:pt x="90" y="70"/>
                  </a:cubicBezTo>
                  <a:cubicBezTo>
                    <a:pt x="90" y="70"/>
                    <a:pt x="90" y="70"/>
                    <a:pt x="90" y="70"/>
                  </a:cubicBezTo>
                  <a:cubicBezTo>
                    <a:pt x="90" y="70"/>
                    <a:pt x="90" y="70"/>
                    <a:pt x="90" y="70"/>
                  </a:cubicBezTo>
                  <a:cubicBezTo>
                    <a:pt x="90" y="70"/>
                    <a:pt x="90" y="70"/>
                    <a:pt x="90" y="70"/>
                  </a:cubicBezTo>
                  <a:cubicBezTo>
                    <a:pt x="89" y="70"/>
                    <a:pt x="89" y="70"/>
                    <a:pt x="89" y="70"/>
                  </a:cubicBezTo>
                  <a:cubicBezTo>
                    <a:pt x="89" y="70"/>
                    <a:pt x="89" y="70"/>
                    <a:pt x="89" y="70"/>
                  </a:cubicBezTo>
                  <a:cubicBezTo>
                    <a:pt x="89" y="70"/>
                    <a:pt x="89" y="70"/>
                    <a:pt x="89" y="70"/>
                  </a:cubicBezTo>
                  <a:cubicBezTo>
                    <a:pt x="89" y="70"/>
                    <a:pt x="89" y="70"/>
                    <a:pt x="89" y="70"/>
                  </a:cubicBezTo>
                  <a:cubicBezTo>
                    <a:pt x="89" y="70"/>
                    <a:pt x="89" y="70"/>
                    <a:pt x="89" y="70"/>
                  </a:cubicBezTo>
                  <a:cubicBezTo>
                    <a:pt x="89" y="70"/>
                    <a:pt x="89" y="70"/>
                    <a:pt x="89" y="70"/>
                  </a:cubicBezTo>
                  <a:cubicBezTo>
                    <a:pt x="88" y="70"/>
                    <a:pt x="88" y="70"/>
                    <a:pt x="88" y="70"/>
                  </a:cubicBezTo>
                  <a:cubicBezTo>
                    <a:pt x="88" y="70"/>
                    <a:pt x="88" y="70"/>
                    <a:pt x="88" y="70"/>
                  </a:cubicBezTo>
                  <a:cubicBezTo>
                    <a:pt x="88" y="70"/>
                    <a:pt x="88" y="70"/>
                    <a:pt x="88" y="70"/>
                  </a:cubicBezTo>
                  <a:cubicBezTo>
                    <a:pt x="88" y="70"/>
                    <a:pt x="88" y="70"/>
                    <a:pt x="88" y="70"/>
                  </a:cubicBezTo>
                  <a:cubicBezTo>
                    <a:pt x="88" y="70"/>
                    <a:pt x="88" y="70"/>
                    <a:pt x="88" y="70"/>
                  </a:cubicBezTo>
                  <a:cubicBezTo>
                    <a:pt x="87" y="70"/>
                    <a:pt x="87" y="70"/>
                    <a:pt x="87" y="70"/>
                  </a:cubicBezTo>
                  <a:cubicBezTo>
                    <a:pt x="87" y="70"/>
                    <a:pt x="87" y="70"/>
                    <a:pt x="87" y="70"/>
                  </a:cubicBezTo>
                  <a:cubicBezTo>
                    <a:pt x="87" y="70"/>
                    <a:pt x="87" y="70"/>
                    <a:pt x="87" y="70"/>
                  </a:cubicBezTo>
                  <a:cubicBezTo>
                    <a:pt x="87" y="70"/>
                    <a:pt x="87" y="70"/>
                    <a:pt x="87" y="70"/>
                  </a:cubicBezTo>
                  <a:cubicBezTo>
                    <a:pt x="87" y="70"/>
                    <a:pt x="87" y="70"/>
                    <a:pt x="87" y="70"/>
                  </a:cubicBezTo>
                  <a:cubicBezTo>
                    <a:pt x="87" y="70"/>
                    <a:pt x="87" y="70"/>
                    <a:pt x="87" y="70"/>
                  </a:cubicBezTo>
                  <a:cubicBezTo>
                    <a:pt x="86" y="70"/>
                    <a:pt x="86" y="70"/>
                    <a:pt x="86" y="70"/>
                  </a:cubicBezTo>
                  <a:cubicBezTo>
                    <a:pt x="86" y="70"/>
                    <a:pt x="86" y="70"/>
                    <a:pt x="86" y="70"/>
                  </a:cubicBezTo>
                  <a:cubicBezTo>
                    <a:pt x="86" y="70"/>
                    <a:pt x="86" y="70"/>
                    <a:pt x="86" y="70"/>
                  </a:cubicBezTo>
                  <a:cubicBezTo>
                    <a:pt x="86" y="70"/>
                    <a:pt x="86" y="70"/>
                    <a:pt x="86" y="70"/>
                  </a:cubicBezTo>
                  <a:cubicBezTo>
                    <a:pt x="86" y="70"/>
                    <a:pt x="86" y="70"/>
                    <a:pt x="86" y="70"/>
                  </a:cubicBezTo>
                  <a:cubicBezTo>
                    <a:pt x="85" y="70"/>
                    <a:pt x="85" y="70"/>
                    <a:pt x="85" y="70"/>
                  </a:cubicBezTo>
                  <a:cubicBezTo>
                    <a:pt x="85" y="70"/>
                    <a:pt x="85" y="70"/>
                    <a:pt x="85" y="70"/>
                  </a:cubicBezTo>
                  <a:cubicBezTo>
                    <a:pt x="85" y="70"/>
                    <a:pt x="85" y="70"/>
                    <a:pt x="85" y="70"/>
                  </a:cubicBezTo>
                  <a:cubicBezTo>
                    <a:pt x="85" y="70"/>
                    <a:pt x="85" y="70"/>
                    <a:pt x="85" y="70"/>
                  </a:cubicBezTo>
                  <a:cubicBezTo>
                    <a:pt x="85" y="70"/>
                    <a:pt x="85" y="70"/>
                    <a:pt x="85" y="70"/>
                  </a:cubicBezTo>
                  <a:cubicBezTo>
                    <a:pt x="84" y="70"/>
                    <a:pt x="84" y="70"/>
                    <a:pt x="84" y="70"/>
                  </a:cubicBezTo>
                  <a:cubicBezTo>
                    <a:pt x="84" y="70"/>
                    <a:pt x="84" y="70"/>
                    <a:pt x="84" y="70"/>
                  </a:cubicBezTo>
                  <a:cubicBezTo>
                    <a:pt x="84" y="70"/>
                    <a:pt x="84" y="70"/>
                    <a:pt x="84" y="70"/>
                  </a:cubicBezTo>
                  <a:cubicBezTo>
                    <a:pt x="84" y="70"/>
                    <a:pt x="84" y="70"/>
                    <a:pt x="84" y="70"/>
                  </a:cubicBezTo>
                  <a:cubicBezTo>
                    <a:pt x="84" y="70"/>
                    <a:pt x="84" y="70"/>
                    <a:pt x="84" y="70"/>
                  </a:cubicBezTo>
                  <a:cubicBezTo>
                    <a:pt x="83" y="70"/>
                    <a:pt x="83" y="70"/>
                    <a:pt x="83" y="70"/>
                  </a:cubicBezTo>
                  <a:cubicBezTo>
                    <a:pt x="83" y="70"/>
                    <a:pt x="83" y="70"/>
                    <a:pt x="83" y="70"/>
                  </a:cubicBezTo>
                  <a:cubicBezTo>
                    <a:pt x="66" y="70"/>
                    <a:pt x="66" y="70"/>
                    <a:pt x="66" y="70"/>
                  </a:cubicBezTo>
                  <a:cubicBezTo>
                    <a:pt x="66" y="70"/>
                    <a:pt x="66" y="70"/>
                    <a:pt x="66" y="70"/>
                  </a:cubicBezTo>
                  <a:cubicBezTo>
                    <a:pt x="65" y="70"/>
                    <a:pt x="65" y="70"/>
                    <a:pt x="65" y="70"/>
                  </a:cubicBezTo>
                  <a:cubicBezTo>
                    <a:pt x="65" y="70"/>
                    <a:pt x="65" y="70"/>
                    <a:pt x="65" y="70"/>
                  </a:cubicBezTo>
                  <a:cubicBezTo>
                    <a:pt x="65" y="70"/>
                    <a:pt x="65" y="70"/>
                    <a:pt x="65" y="70"/>
                  </a:cubicBezTo>
                  <a:cubicBezTo>
                    <a:pt x="65" y="70"/>
                    <a:pt x="65" y="70"/>
                    <a:pt x="65" y="70"/>
                  </a:cubicBezTo>
                  <a:cubicBezTo>
                    <a:pt x="65" y="70"/>
                    <a:pt x="65" y="70"/>
                    <a:pt x="65" y="70"/>
                  </a:cubicBezTo>
                  <a:cubicBezTo>
                    <a:pt x="65" y="70"/>
                    <a:pt x="65" y="70"/>
                    <a:pt x="65" y="70"/>
                  </a:cubicBezTo>
                  <a:cubicBezTo>
                    <a:pt x="64" y="70"/>
                    <a:pt x="64" y="70"/>
                    <a:pt x="64" y="70"/>
                  </a:cubicBezTo>
                  <a:cubicBezTo>
                    <a:pt x="64" y="70"/>
                    <a:pt x="64" y="70"/>
                    <a:pt x="64" y="70"/>
                  </a:cubicBezTo>
                  <a:cubicBezTo>
                    <a:pt x="64" y="70"/>
                    <a:pt x="64" y="70"/>
                    <a:pt x="64" y="70"/>
                  </a:cubicBezTo>
                  <a:cubicBezTo>
                    <a:pt x="64" y="70"/>
                    <a:pt x="64" y="70"/>
                    <a:pt x="64" y="70"/>
                  </a:cubicBezTo>
                  <a:cubicBezTo>
                    <a:pt x="64" y="70"/>
                    <a:pt x="64" y="70"/>
                    <a:pt x="64" y="70"/>
                  </a:cubicBezTo>
                  <a:cubicBezTo>
                    <a:pt x="63" y="70"/>
                    <a:pt x="63" y="70"/>
                    <a:pt x="63" y="70"/>
                  </a:cubicBezTo>
                  <a:cubicBezTo>
                    <a:pt x="63" y="70"/>
                    <a:pt x="63" y="70"/>
                    <a:pt x="63" y="70"/>
                  </a:cubicBezTo>
                  <a:cubicBezTo>
                    <a:pt x="63" y="70"/>
                    <a:pt x="63" y="70"/>
                    <a:pt x="63" y="70"/>
                  </a:cubicBezTo>
                  <a:cubicBezTo>
                    <a:pt x="63" y="70"/>
                    <a:pt x="63" y="70"/>
                    <a:pt x="63" y="70"/>
                  </a:cubicBezTo>
                  <a:cubicBezTo>
                    <a:pt x="63" y="70"/>
                    <a:pt x="63" y="70"/>
                    <a:pt x="63" y="70"/>
                  </a:cubicBezTo>
                  <a:cubicBezTo>
                    <a:pt x="62" y="70"/>
                    <a:pt x="62" y="70"/>
                    <a:pt x="62" y="70"/>
                  </a:cubicBezTo>
                  <a:cubicBezTo>
                    <a:pt x="62" y="70"/>
                    <a:pt x="62" y="70"/>
                    <a:pt x="62" y="70"/>
                  </a:cubicBezTo>
                  <a:cubicBezTo>
                    <a:pt x="62" y="70"/>
                    <a:pt x="62" y="70"/>
                    <a:pt x="62" y="70"/>
                  </a:cubicBezTo>
                  <a:cubicBezTo>
                    <a:pt x="62" y="70"/>
                    <a:pt x="62" y="70"/>
                    <a:pt x="62" y="70"/>
                  </a:cubicBezTo>
                  <a:cubicBezTo>
                    <a:pt x="62" y="70"/>
                    <a:pt x="62" y="70"/>
                    <a:pt x="62" y="70"/>
                  </a:cubicBezTo>
                  <a:cubicBezTo>
                    <a:pt x="61" y="70"/>
                    <a:pt x="61" y="70"/>
                    <a:pt x="61" y="70"/>
                  </a:cubicBezTo>
                  <a:cubicBezTo>
                    <a:pt x="61" y="70"/>
                    <a:pt x="61" y="70"/>
                    <a:pt x="61" y="70"/>
                  </a:cubicBezTo>
                  <a:cubicBezTo>
                    <a:pt x="61" y="70"/>
                    <a:pt x="61" y="70"/>
                    <a:pt x="61" y="70"/>
                  </a:cubicBezTo>
                  <a:cubicBezTo>
                    <a:pt x="61" y="70"/>
                    <a:pt x="61" y="70"/>
                    <a:pt x="61" y="70"/>
                  </a:cubicBezTo>
                  <a:cubicBezTo>
                    <a:pt x="61" y="70"/>
                    <a:pt x="61" y="70"/>
                    <a:pt x="61" y="70"/>
                  </a:cubicBezTo>
                  <a:cubicBezTo>
                    <a:pt x="60" y="70"/>
                    <a:pt x="60" y="70"/>
                    <a:pt x="60" y="70"/>
                  </a:cubicBezTo>
                  <a:cubicBezTo>
                    <a:pt x="60" y="70"/>
                    <a:pt x="60" y="70"/>
                    <a:pt x="60" y="70"/>
                  </a:cubicBezTo>
                  <a:cubicBezTo>
                    <a:pt x="60" y="70"/>
                    <a:pt x="60" y="70"/>
                    <a:pt x="60" y="70"/>
                  </a:cubicBezTo>
                  <a:cubicBezTo>
                    <a:pt x="60" y="70"/>
                    <a:pt x="60" y="70"/>
                    <a:pt x="60" y="70"/>
                  </a:cubicBezTo>
                  <a:cubicBezTo>
                    <a:pt x="60" y="70"/>
                    <a:pt x="60" y="70"/>
                    <a:pt x="60" y="70"/>
                  </a:cubicBezTo>
                  <a:cubicBezTo>
                    <a:pt x="60" y="70"/>
                    <a:pt x="60" y="70"/>
                    <a:pt x="60" y="70"/>
                  </a:cubicBezTo>
                  <a:cubicBezTo>
                    <a:pt x="59" y="70"/>
                    <a:pt x="59" y="70"/>
                    <a:pt x="59" y="70"/>
                  </a:cubicBezTo>
                  <a:cubicBezTo>
                    <a:pt x="59" y="70"/>
                    <a:pt x="59" y="70"/>
                    <a:pt x="59" y="70"/>
                  </a:cubicBezTo>
                  <a:cubicBezTo>
                    <a:pt x="59" y="70"/>
                    <a:pt x="59" y="70"/>
                    <a:pt x="59" y="70"/>
                  </a:cubicBezTo>
                  <a:cubicBezTo>
                    <a:pt x="59" y="70"/>
                    <a:pt x="59" y="70"/>
                    <a:pt x="59" y="70"/>
                  </a:cubicBezTo>
                  <a:cubicBezTo>
                    <a:pt x="59" y="70"/>
                    <a:pt x="59" y="70"/>
                    <a:pt x="59" y="70"/>
                  </a:cubicBezTo>
                  <a:cubicBezTo>
                    <a:pt x="59" y="55"/>
                    <a:pt x="59" y="55"/>
                    <a:pt x="59" y="55"/>
                  </a:cubicBezTo>
                  <a:cubicBezTo>
                    <a:pt x="66" y="55"/>
                    <a:pt x="66" y="55"/>
                    <a:pt x="66" y="55"/>
                  </a:cubicBezTo>
                  <a:cubicBezTo>
                    <a:pt x="66" y="43"/>
                    <a:pt x="66" y="32"/>
                    <a:pt x="66" y="20"/>
                  </a:cubicBezTo>
                  <a:cubicBezTo>
                    <a:pt x="59" y="20"/>
                    <a:pt x="59" y="20"/>
                    <a:pt x="59" y="20"/>
                  </a:cubicBezTo>
                  <a:cubicBezTo>
                    <a:pt x="59" y="0"/>
                    <a:pt x="59" y="0"/>
                    <a:pt x="59" y="0"/>
                  </a:cubicBezTo>
                  <a:close/>
                  <a:moveTo>
                    <a:pt x="90" y="480"/>
                  </a:moveTo>
                  <a:cubicBezTo>
                    <a:pt x="59" y="480"/>
                    <a:pt x="59" y="480"/>
                    <a:pt x="59" y="480"/>
                  </a:cubicBezTo>
                  <a:cubicBezTo>
                    <a:pt x="59" y="458"/>
                    <a:pt x="59" y="458"/>
                    <a:pt x="59" y="458"/>
                  </a:cubicBezTo>
                  <a:cubicBezTo>
                    <a:pt x="59" y="458"/>
                    <a:pt x="59" y="458"/>
                    <a:pt x="59" y="458"/>
                  </a:cubicBezTo>
                  <a:cubicBezTo>
                    <a:pt x="59" y="458"/>
                    <a:pt x="59" y="458"/>
                    <a:pt x="59" y="458"/>
                  </a:cubicBezTo>
                  <a:cubicBezTo>
                    <a:pt x="59" y="458"/>
                    <a:pt x="59" y="458"/>
                    <a:pt x="59" y="458"/>
                  </a:cubicBezTo>
                  <a:cubicBezTo>
                    <a:pt x="60" y="458"/>
                    <a:pt x="60" y="458"/>
                    <a:pt x="60" y="458"/>
                  </a:cubicBezTo>
                  <a:cubicBezTo>
                    <a:pt x="60" y="458"/>
                    <a:pt x="60" y="458"/>
                    <a:pt x="60" y="458"/>
                  </a:cubicBezTo>
                  <a:cubicBezTo>
                    <a:pt x="60" y="458"/>
                    <a:pt x="60" y="458"/>
                    <a:pt x="60" y="458"/>
                  </a:cubicBezTo>
                  <a:cubicBezTo>
                    <a:pt x="60" y="458"/>
                    <a:pt x="60" y="458"/>
                    <a:pt x="60" y="458"/>
                  </a:cubicBezTo>
                  <a:cubicBezTo>
                    <a:pt x="60" y="458"/>
                    <a:pt x="60" y="458"/>
                    <a:pt x="60" y="458"/>
                  </a:cubicBezTo>
                  <a:cubicBezTo>
                    <a:pt x="60" y="458"/>
                    <a:pt x="60" y="458"/>
                    <a:pt x="60" y="458"/>
                  </a:cubicBezTo>
                  <a:cubicBezTo>
                    <a:pt x="61" y="458"/>
                    <a:pt x="61" y="458"/>
                    <a:pt x="61" y="458"/>
                  </a:cubicBezTo>
                  <a:cubicBezTo>
                    <a:pt x="61" y="458"/>
                    <a:pt x="61" y="458"/>
                    <a:pt x="61" y="458"/>
                  </a:cubicBezTo>
                  <a:cubicBezTo>
                    <a:pt x="61" y="458"/>
                    <a:pt x="61" y="458"/>
                    <a:pt x="61" y="458"/>
                  </a:cubicBezTo>
                  <a:cubicBezTo>
                    <a:pt x="61" y="458"/>
                    <a:pt x="61" y="458"/>
                    <a:pt x="61" y="458"/>
                  </a:cubicBezTo>
                  <a:cubicBezTo>
                    <a:pt x="62" y="458"/>
                    <a:pt x="62" y="458"/>
                    <a:pt x="62" y="458"/>
                  </a:cubicBezTo>
                  <a:cubicBezTo>
                    <a:pt x="62" y="458"/>
                    <a:pt x="62" y="458"/>
                    <a:pt x="62" y="458"/>
                  </a:cubicBezTo>
                  <a:cubicBezTo>
                    <a:pt x="62" y="458"/>
                    <a:pt x="62" y="458"/>
                    <a:pt x="62" y="458"/>
                  </a:cubicBezTo>
                  <a:cubicBezTo>
                    <a:pt x="62" y="458"/>
                    <a:pt x="62" y="458"/>
                    <a:pt x="62" y="458"/>
                  </a:cubicBezTo>
                  <a:cubicBezTo>
                    <a:pt x="62" y="458"/>
                    <a:pt x="62" y="458"/>
                    <a:pt x="62" y="458"/>
                  </a:cubicBezTo>
                  <a:cubicBezTo>
                    <a:pt x="63" y="458"/>
                    <a:pt x="63" y="458"/>
                    <a:pt x="63" y="458"/>
                  </a:cubicBezTo>
                  <a:cubicBezTo>
                    <a:pt x="63" y="458"/>
                    <a:pt x="63" y="458"/>
                    <a:pt x="63" y="458"/>
                  </a:cubicBezTo>
                  <a:cubicBezTo>
                    <a:pt x="63" y="458"/>
                    <a:pt x="63" y="458"/>
                    <a:pt x="63" y="458"/>
                  </a:cubicBezTo>
                  <a:cubicBezTo>
                    <a:pt x="63" y="458"/>
                    <a:pt x="63" y="458"/>
                    <a:pt x="63" y="458"/>
                  </a:cubicBezTo>
                  <a:cubicBezTo>
                    <a:pt x="63" y="458"/>
                    <a:pt x="63" y="458"/>
                    <a:pt x="63" y="458"/>
                  </a:cubicBezTo>
                  <a:cubicBezTo>
                    <a:pt x="64" y="458"/>
                    <a:pt x="64" y="458"/>
                    <a:pt x="64" y="458"/>
                  </a:cubicBezTo>
                  <a:cubicBezTo>
                    <a:pt x="64" y="458"/>
                    <a:pt x="64" y="458"/>
                    <a:pt x="64" y="458"/>
                  </a:cubicBezTo>
                  <a:cubicBezTo>
                    <a:pt x="64" y="458"/>
                    <a:pt x="64" y="458"/>
                    <a:pt x="64" y="458"/>
                  </a:cubicBezTo>
                  <a:cubicBezTo>
                    <a:pt x="64" y="458"/>
                    <a:pt x="64" y="458"/>
                    <a:pt x="64" y="458"/>
                  </a:cubicBezTo>
                  <a:cubicBezTo>
                    <a:pt x="64" y="458"/>
                    <a:pt x="64" y="458"/>
                    <a:pt x="64" y="458"/>
                  </a:cubicBezTo>
                  <a:cubicBezTo>
                    <a:pt x="65" y="458"/>
                    <a:pt x="65" y="458"/>
                    <a:pt x="65" y="458"/>
                  </a:cubicBezTo>
                  <a:cubicBezTo>
                    <a:pt x="65" y="458"/>
                    <a:pt x="65" y="458"/>
                    <a:pt x="65" y="458"/>
                  </a:cubicBezTo>
                  <a:cubicBezTo>
                    <a:pt x="65" y="458"/>
                    <a:pt x="65" y="458"/>
                    <a:pt x="65" y="458"/>
                  </a:cubicBezTo>
                  <a:cubicBezTo>
                    <a:pt x="65" y="458"/>
                    <a:pt x="65" y="458"/>
                    <a:pt x="65" y="458"/>
                  </a:cubicBezTo>
                  <a:cubicBezTo>
                    <a:pt x="65" y="458"/>
                    <a:pt x="65" y="458"/>
                    <a:pt x="65" y="458"/>
                  </a:cubicBezTo>
                  <a:cubicBezTo>
                    <a:pt x="65" y="458"/>
                    <a:pt x="65" y="458"/>
                    <a:pt x="65" y="458"/>
                  </a:cubicBezTo>
                  <a:cubicBezTo>
                    <a:pt x="66" y="458"/>
                    <a:pt x="66" y="458"/>
                    <a:pt x="66" y="458"/>
                  </a:cubicBezTo>
                  <a:cubicBezTo>
                    <a:pt x="66" y="458"/>
                    <a:pt x="66" y="458"/>
                    <a:pt x="66" y="458"/>
                  </a:cubicBezTo>
                  <a:cubicBezTo>
                    <a:pt x="83" y="458"/>
                    <a:pt x="83" y="458"/>
                    <a:pt x="83" y="458"/>
                  </a:cubicBezTo>
                  <a:cubicBezTo>
                    <a:pt x="90" y="458"/>
                    <a:pt x="90" y="458"/>
                    <a:pt x="90" y="458"/>
                  </a:cubicBezTo>
                  <a:cubicBezTo>
                    <a:pt x="90" y="480"/>
                    <a:pt x="90" y="480"/>
                    <a:pt x="90" y="480"/>
                  </a:cubicBezTo>
                  <a:close/>
                  <a:moveTo>
                    <a:pt x="90" y="105"/>
                  </a:moveTo>
                  <a:cubicBezTo>
                    <a:pt x="90" y="121"/>
                    <a:pt x="90" y="121"/>
                    <a:pt x="90" y="121"/>
                  </a:cubicBezTo>
                  <a:cubicBezTo>
                    <a:pt x="83" y="121"/>
                    <a:pt x="83" y="121"/>
                    <a:pt x="83" y="121"/>
                  </a:cubicBezTo>
                  <a:cubicBezTo>
                    <a:pt x="83" y="132"/>
                    <a:pt x="83" y="144"/>
                    <a:pt x="83" y="156"/>
                  </a:cubicBezTo>
                  <a:cubicBezTo>
                    <a:pt x="90" y="156"/>
                    <a:pt x="90" y="156"/>
                    <a:pt x="90" y="156"/>
                  </a:cubicBezTo>
                  <a:cubicBezTo>
                    <a:pt x="90" y="171"/>
                    <a:pt x="90" y="171"/>
                    <a:pt x="90" y="171"/>
                  </a:cubicBezTo>
                  <a:cubicBezTo>
                    <a:pt x="83" y="171"/>
                    <a:pt x="83" y="171"/>
                    <a:pt x="83" y="171"/>
                  </a:cubicBezTo>
                  <a:cubicBezTo>
                    <a:pt x="66" y="171"/>
                    <a:pt x="66" y="171"/>
                    <a:pt x="66" y="171"/>
                  </a:cubicBezTo>
                  <a:cubicBezTo>
                    <a:pt x="66" y="171"/>
                    <a:pt x="66" y="171"/>
                    <a:pt x="66" y="171"/>
                  </a:cubicBezTo>
                  <a:cubicBezTo>
                    <a:pt x="65" y="171"/>
                    <a:pt x="65" y="171"/>
                    <a:pt x="65" y="171"/>
                  </a:cubicBezTo>
                  <a:cubicBezTo>
                    <a:pt x="65" y="171"/>
                    <a:pt x="65" y="171"/>
                    <a:pt x="65" y="171"/>
                  </a:cubicBezTo>
                  <a:cubicBezTo>
                    <a:pt x="65" y="171"/>
                    <a:pt x="65" y="171"/>
                    <a:pt x="65" y="171"/>
                  </a:cubicBezTo>
                  <a:cubicBezTo>
                    <a:pt x="65" y="171"/>
                    <a:pt x="65" y="171"/>
                    <a:pt x="65" y="171"/>
                  </a:cubicBezTo>
                  <a:cubicBezTo>
                    <a:pt x="65" y="171"/>
                    <a:pt x="65" y="171"/>
                    <a:pt x="65" y="171"/>
                  </a:cubicBezTo>
                  <a:cubicBezTo>
                    <a:pt x="64" y="171"/>
                    <a:pt x="64" y="171"/>
                    <a:pt x="64" y="171"/>
                  </a:cubicBezTo>
                  <a:cubicBezTo>
                    <a:pt x="64" y="171"/>
                    <a:pt x="64" y="171"/>
                    <a:pt x="64" y="171"/>
                  </a:cubicBezTo>
                  <a:cubicBezTo>
                    <a:pt x="64" y="171"/>
                    <a:pt x="64" y="171"/>
                    <a:pt x="64" y="171"/>
                  </a:cubicBezTo>
                  <a:cubicBezTo>
                    <a:pt x="64" y="171"/>
                    <a:pt x="64" y="171"/>
                    <a:pt x="64" y="171"/>
                  </a:cubicBezTo>
                  <a:cubicBezTo>
                    <a:pt x="64" y="171"/>
                    <a:pt x="64" y="171"/>
                    <a:pt x="64" y="171"/>
                  </a:cubicBezTo>
                  <a:cubicBezTo>
                    <a:pt x="63" y="171"/>
                    <a:pt x="63" y="171"/>
                    <a:pt x="63" y="171"/>
                  </a:cubicBezTo>
                  <a:cubicBezTo>
                    <a:pt x="63" y="171"/>
                    <a:pt x="63" y="171"/>
                    <a:pt x="63" y="171"/>
                  </a:cubicBezTo>
                  <a:cubicBezTo>
                    <a:pt x="63" y="171"/>
                    <a:pt x="63" y="171"/>
                    <a:pt x="63" y="171"/>
                  </a:cubicBezTo>
                  <a:cubicBezTo>
                    <a:pt x="63" y="171"/>
                    <a:pt x="63" y="171"/>
                    <a:pt x="63" y="171"/>
                  </a:cubicBezTo>
                  <a:cubicBezTo>
                    <a:pt x="63" y="171"/>
                    <a:pt x="63" y="171"/>
                    <a:pt x="63" y="171"/>
                  </a:cubicBezTo>
                  <a:cubicBezTo>
                    <a:pt x="63" y="171"/>
                    <a:pt x="63" y="171"/>
                    <a:pt x="63" y="171"/>
                  </a:cubicBezTo>
                  <a:cubicBezTo>
                    <a:pt x="62" y="171"/>
                    <a:pt x="62" y="171"/>
                    <a:pt x="62" y="171"/>
                  </a:cubicBezTo>
                  <a:cubicBezTo>
                    <a:pt x="62" y="171"/>
                    <a:pt x="62" y="171"/>
                    <a:pt x="62" y="171"/>
                  </a:cubicBezTo>
                  <a:cubicBezTo>
                    <a:pt x="62" y="171"/>
                    <a:pt x="62" y="171"/>
                    <a:pt x="62" y="171"/>
                  </a:cubicBezTo>
                  <a:cubicBezTo>
                    <a:pt x="62" y="171"/>
                    <a:pt x="62" y="171"/>
                    <a:pt x="62" y="171"/>
                  </a:cubicBezTo>
                  <a:cubicBezTo>
                    <a:pt x="61" y="171"/>
                    <a:pt x="61" y="171"/>
                    <a:pt x="61" y="171"/>
                  </a:cubicBezTo>
                  <a:cubicBezTo>
                    <a:pt x="61" y="171"/>
                    <a:pt x="61" y="171"/>
                    <a:pt x="61" y="171"/>
                  </a:cubicBezTo>
                  <a:cubicBezTo>
                    <a:pt x="61" y="171"/>
                    <a:pt x="61" y="171"/>
                    <a:pt x="61" y="171"/>
                  </a:cubicBezTo>
                  <a:cubicBezTo>
                    <a:pt x="61" y="171"/>
                    <a:pt x="61" y="171"/>
                    <a:pt x="61" y="171"/>
                  </a:cubicBezTo>
                  <a:cubicBezTo>
                    <a:pt x="61" y="171"/>
                    <a:pt x="61" y="171"/>
                    <a:pt x="61" y="171"/>
                  </a:cubicBezTo>
                  <a:cubicBezTo>
                    <a:pt x="60" y="171"/>
                    <a:pt x="60" y="171"/>
                    <a:pt x="60" y="171"/>
                  </a:cubicBezTo>
                  <a:cubicBezTo>
                    <a:pt x="60" y="171"/>
                    <a:pt x="60" y="171"/>
                    <a:pt x="60" y="171"/>
                  </a:cubicBezTo>
                  <a:cubicBezTo>
                    <a:pt x="60" y="171"/>
                    <a:pt x="60" y="171"/>
                    <a:pt x="60" y="171"/>
                  </a:cubicBezTo>
                  <a:cubicBezTo>
                    <a:pt x="60" y="171"/>
                    <a:pt x="60" y="171"/>
                    <a:pt x="60" y="171"/>
                  </a:cubicBezTo>
                  <a:cubicBezTo>
                    <a:pt x="60" y="171"/>
                    <a:pt x="60" y="171"/>
                    <a:pt x="60" y="171"/>
                  </a:cubicBezTo>
                  <a:cubicBezTo>
                    <a:pt x="59" y="171"/>
                    <a:pt x="59" y="171"/>
                    <a:pt x="59" y="171"/>
                  </a:cubicBezTo>
                  <a:cubicBezTo>
                    <a:pt x="59" y="171"/>
                    <a:pt x="59" y="171"/>
                    <a:pt x="59" y="171"/>
                  </a:cubicBezTo>
                  <a:cubicBezTo>
                    <a:pt x="59" y="171"/>
                    <a:pt x="59" y="171"/>
                    <a:pt x="59" y="171"/>
                  </a:cubicBezTo>
                  <a:cubicBezTo>
                    <a:pt x="59" y="171"/>
                    <a:pt x="59" y="171"/>
                    <a:pt x="59" y="171"/>
                  </a:cubicBezTo>
                  <a:cubicBezTo>
                    <a:pt x="59" y="171"/>
                    <a:pt x="59" y="171"/>
                    <a:pt x="59" y="171"/>
                  </a:cubicBezTo>
                  <a:cubicBezTo>
                    <a:pt x="59" y="156"/>
                    <a:pt x="59" y="156"/>
                    <a:pt x="59" y="156"/>
                  </a:cubicBezTo>
                  <a:cubicBezTo>
                    <a:pt x="66" y="156"/>
                    <a:pt x="66" y="156"/>
                    <a:pt x="66" y="156"/>
                  </a:cubicBezTo>
                  <a:cubicBezTo>
                    <a:pt x="66" y="144"/>
                    <a:pt x="66" y="132"/>
                    <a:pt x="66" y="121"/>
                  </a:cubicBezTo>
                  <a:cubicBezTo>
                    <a:pt x="59" y="121"/>
                    <a:pt x="59" y="121"/>
                    <a:pt x="59" y="121"/>
                  </a:cubicBezTo>
                  <a:cubicBezTo>
                    <a:pt x="59" y="105"/>
                    <a:pt x="59" y="105"/>
                    <a:pt x="59" y="105"/>
                  </a:cubicBezTo>
                  <a:cubicBezTo>
                    <a:pt x="59" y="105"/>
                    <a:pt x="59" y="105"/>
                    <a:pt x="59" y="105"/>
                  </a:cubicBezTo>
                  <a:cubicBezTo>
                    <a:pt x="59" y="105"/>
                    <a:pt x="59" y="105"/>
                    <a:pt x="59" y="105"/>
                  </a:cubicBezTo>
                  <a:cubicBezTo>
                    <a:pt x="59" y="105"/>
                    <a:pt x="59" y="105"/>
                    <a:pt x="59" y="105"/>
                  </a:cubicBezTo>
                  <a:cubicBezTo>
                    <a:pt x="59" y="105"/>
                    <a:pt x="59" y="105"/>
                    <a:pt x="59" y="105"/>
                  </a:cubicBezTo>
                  <a:cubicBezTo>
                    <a:pt x="60" y="105"/>
                    <a:pt x="60" y="105"/>
                    <a:pt x="60" y="105"/>
                  </a:cubicBezTo>
                  <a:cubicBezTo>
                    <a:pt x="60" y="105"/>
                    <a:pt x="60" y="105"/>
                    <a:pt x="60" y="105"/>
                  </a:cubicBezTo>
                  <a:cubicBezTo>
                    <a:pt x="60" y="105"/>
                    <a:pt x="60" y="105"/>
                    <a:pt x="60" y="105"/>
                  </a:cubicBezTo>
                  <a:cubicBezTo>
                    <a:pt x="60" y="105"/>
                    <a:pt x="60" y="105"/>
                    <a:pt x="60" y="105"/>
                  </a:cubicBezTo>
                  <a:cubicBezTo>
                    <a:pt x="60" y="105"/>
                    <a:pt x="60" y="105"/>
                    <a:pt x="60" y="105"/>
                  </a:cubicBezTo>
                  <a:cubicBezTo>
                    <a:pt x="60" y="105"/>
                    <a:pt x="60" y="105"/>
                    <a:pt x="60" y="105"/>
                  </a:cubicBezTo>
                  <a:cubicBezTo>
                    <a:pt x="61" y="105"/>
                    <a:pt x="61" y="105"/>
                    <a:pt x="61" y="105"/>
                  </a:cubicBezTo>
                  <a:cubicBezTo>
                    <a:pt x="61" y="105"/>
                    <a:pt x="61" y="105"/>
                    <a:pt x="61" y="105"/>
                  </a:cubicBezTo>
                  <a:cubicBezTo>
                    <a:pt x="61" y="105"/>
                    <a:pt x="61" y="105"/>
                    <a:pt x="61" y="105"/>
                  </a:cubicBezTo>
                  <a:cubicBezTo>
                    <a:pt x="61" y="105"/>
                    <a:pt x="61" y="105"/>
                    <a:pt x="61" y="105"/>
                  </a:cubicBezTo>
                  <a:cubicBezTo>
                    <a:pt x="61" y="105"/>
                    <a:pt x="61" y="105"/>
                    <a:pt x="61" y="105"/>
                  </a:cubicBezTo>
                  <a:cubicBezTo>
                    <a:pt x="62" y="105"/>
                    <a:pt x="62" y="105"/>
                    <a:pt x="62" y="105"/>
                  </a:cubicBezTo>
                  <a:cubicBezTo>
                    <a:pt x="62" y="105"/>
                    <a:pt x="62" y="105"/>
                    <a:pt x="62" y="105"/>
                  </a:cubicBezTo>
                  <a:cubicBezTo>
                    <a:pt x="62" y="105"/>
                    <a:pt x="62" y="105"/>
                    <a:pt x="62" y="105"/>
                  </a:cubicBezTo>
                  <a:cubicBezTo>
                    <a:pt x="62" y="105"/>
                    <a:pt x="62" y="105"/>
                    <a:pt x="62" y="105"/>
                  </a:cubicBezTo>
                  <a:cubicBezTo>
                    <a:pt x="62" y="105"/>
                    <a:pt x="62" y="105"/>
                    <a:pt x="62" y="105"/>
                  </a:cubicBezTo>
                  <a:cubicBezTo>
                    <a:pt x="63" y="105"/>
                    <a:pt x="63" y="105"/>
                    <a:pt x="63" y="105"/>
                  </a:cubicBezTo>
                  <a:cubicBezTo>
                    <a:pt x="63" y="105"/>
                    <a:pt x="63" y="105"/>
                    <a:pt x="63" y="105"/>
                  </a:cubicBezTo>
                  <a:cubicBezTo>
                    <a:pt x="63" y="105"/>
                    <a:pt x="63" y="105"/>
                    <a:pt x="63" y="105"/>
                  </a:cubicBezTo>
                  <a:cubicBezTo>
                    <a:pt x="63" y="105"/>
                    <a:pt x="63" y="105"/>
                    <a:pt x="63" y="105"/>
                  </a:cubicBezTo>
                  <a:cubicBezTo>
                    <a:pt x="63" y="105"/>
                    <a:pt x="63" y="105"/>
                    <a:pt x="63" y="105"/>
                  </a:cubicBezTo>
                  <a:cubicBezTo>
                    <a:pt x="64" y="105"/>
                    <a:pt x="64" y="105"/>
                    <a:pt x="64" y="105"/>
                  </a:cubicBezTo>
                  <a:cubicBezTo>
                    <a:pt x="64" y="105"/>
                    <a:pt x="64" y="105"/>
                    <a:pt x="64" y="105"/>
                  </a:cubicBezTo>
                  <a:cubicBezTo>
                    <a:pt x="64" y="105"/>
                    <a:pt x="64" y="105"/>
                    <a:pt x="64" y="105"/>
                  </a:cubicBezTo>
                  <a:cubicBezTo>
                    <a:pt x="64" y="105"/>
                    <a:pt x="64" y="105"/>
                    <a:pt x="64" y="105"/>
                  </a:cubicBezTo>
                  <a:cubicBezTo>
                    <a:pt x="64" y="105"/>
                    <a:pt x="64" y="105"/>
                    <a:pt x="64" y="105"/>
                  </a:cubicBezTo>
                  <a:cubicBezTo>
                    <a:pt x="65" y="105"/>
                    <a:pt x="65" y="105"/>
                    <a:pt x="65" y="105"/>
                  </a:cubicBezTo>
                  <a:cubicBezTo>
                    <a:pt x="65" y="105"/>
                    <a:pt x="65" y="105"/>
                    <a:pt x="65" y="105"/>
                  </a:cubicBezTo>
                  <a:cubicBezTo>
                    <a:pt x="65" y="105"/>
                    <a:pt x="65" y="105"/>
                    <a:pt x="65" y="105"/>
                  </a:cubicBezTo>
                  <a:cubicBezTo>
                    <a:pt x="65" y="105"/>
                    <a:pt x="65" y="105"/>
                    <a:pt x="65" y="105"/>
                  </a:cubicBezTo>
                  <a:cubicBezTo>
                    <a:pt x="65" y="105"/>
                    <a:pt x="65" y="105"/>
                    <a:pt x="65" y="105"/>
                  </a:cubicBezTo>
                  <a:cubicBezTo>
                    <a:pt x="65" y="105"/>
                    <a:pt x="65" y="105"/>
                    <a:pt x="65" y="105"/>
                  </a:cubicBezTo>
                  <a:cubicBezTo>
                    <a:pt x="66" y="105"/>
                    <a:pt x="66" y="105"/>
                    <a:pt x="66" y="105"/>
                  </a:cubicBezTo>
                  <a:cubicBezTo>
                    <a:pt x="66" y="105"/>
                    <a:pt x="66" y="105"/>
                    <a:pt x="66" y="105"/>
                  </a:cubicBezTo>
                  <a:cubicBezTo>
                    <a:pt x="83" y="105"/>
                    <a:pt x="83" y="105"/>
                    <a:pt x="83" y="105"/>
                  </a:cubicBezTo>
                  <a:cubicBezTo>
                    <a:pt x="83" y="105"/>
                    <a:pt x="83" y="105"/>
                    <a:pt x="83" y="105"/>
                  </a:cubicBezTo>
                  <a:cubicBezTo>
                    <a:pt x="84" y="105"/>
                    <a:pt x="84" y="105"/>
                    <a:pt x="84" y="105"/>
                  </a:cubicBezTo>
                  <a:cubicBezTo>
                    <a:pt x="84" y="105"/>
                    <a:pt x="84" y="105"/>
                    <a:pt x="84" y="105"/>
                  </a:cubicBezTo>
                  <a:cubicBezTo>
                    <a:pt x="84" y="105"/>
                    <a:pt x="84" y="105"/>
                    <a:pt x="84" y="105"/>
                  </a:cubicBezTo>
                  <a:cubicBezTo>
                    <a:pt x="84" y="105"/>
                    <a:pt x="84" y="105"/>
                    <a:pt x="84" y="105"/>
                  </a:cubicBezTo>
                  <a:cubicBezTo>
                    <a:pt x="84" y="105"/>
                    <a:pt x="84" y="105"/>
                    <a:pt x="84" y="105"/>
                  </a:cubicBezTo>
                  <a:cubicBezTo>
                    <a:pt x="85" y="105"/>
                    <a:pt x="85" y="105"/>
                    <a:pt x="85" y="105"/>
                  </a:cubicBezTo>
                  <a:cubicBezTo>
                    <a:pt x="85" y="105"/>
                    <a:pt x="85" y="105"/>
                    <a:pt x="85" y="105"/>
                  </a:cubicBezTo>
                  <a:cubicBezTo>
                    <a:pt x="85" y="105"/>
                    <a:pt x="85" y="105"/>
                    <a:pt x="85" y="105"/>
                  </a:cubicBezTo>
                  <a:cubicBezTo>
                    <a:pt x="85" y="105"/>
                    <a:pt x="85" y="105"/>
                    <a:pt x="85" y="105"/>
                  </a:cubicBezTo>
                  <a:cubicBezTo>
                    <a:pt x="85" y="105"/>
                    <a:pt x="85" y="105"/>
                    <a:pt x="85" y="105"/>
                  </a:cubicBezTo>
                  <a:cubicBezTo>
                    <a:pt x="86" y="105"/>
                    <a:pt x="86" y="105"/>
                    <a:pt x="86" y="105"/>
                  </a:cubicBezTo>
                  <a:cubicBezTo>
                    <a:pt x="86" y="105"/>
                    <a:pt x="86" y="105"/>
                    <a:pt x="86" y="105"/>
                  </a:cubicBezTo>
                  <a:cubicBezTo>
                    <a:pt x="86" y="105"/>
                    <a:pt x="86" y="105"/>
                    <a:pt x="86" y="105"/>
                  </a:cubicBezTo>
                  <a:cubicBezTo>
                    <a:pt x="86" y="105"/>
                    <a:pt x="86" y="105"/>
                    <a:pt x="86" y="105"/>
                  </a:cubicBezTo>
                  <a:cubicBezTo>
                    <a:pt x="86" y="105"/>
                    <a:pt x="86" y="105"/>
                    <a:pt x="86" y="105"/>
                  </a:cubicBezTo>
                  <a:cubicBezTo>
                    <a:pt x="87" y="105"/>
                    <a:pt x="87" y="105"/>
                    <a:pt x="87" y="105"/>
                  </a:cubicBezTo>
                  <a:cubicBezTo>
                    <a:pt x="87" y="105"/>
                    <a:pt x="87" y="105"/>
                    <a:pt x="87" y="105"/>
                  </a:cubicBezTo>
                  <a:cubicBezTo>
                    <a:pt x="87" y="105"/>
                    <a:pt x="87" y="105"/>
                    <a:pt x="87" y="105"/>
                  </a:cubicBezTo>
                  <a:cubicBezTo>
                    <a:pt x="87" y="105"/>
                    <a:pt x="87" y="105"/>
                    <a:pt x="87" y="105"/>
                  </a:cubicBezTo>
                  <a:cubicBezTo>
                    <a:pt x="87" y="105"/>
                    <a:pt x="87" y="105"/>
                    <a:pt x="87" y="105"/>
                  </a:cubicBezTo>
                  <a:cubicBezTo>
                    <a:pt x="87" y="105"/>
                    <a:pt x="87" y="105"/>
                    <a:pt x="87" y="105"/>
                  </a:cubicBezTo>
                  <a:cubicBezTo>
                    <a:pt x="88" y="105"/>
                    <a:pt x="88" y="105"/>
                    <a:pt x="88" y="105"/>
                  </a:cubicBezTo>
                  <a:cubicBezTo>
                    <a:pt x="88" y="105"/>
                    <a:pt x="88" y="105"/>
                    <a:pt x="88" y="105"/>
                  </a:cubicBezTo>
                  <a:cubicBezTo>
                    <a:pt x="88" y="105"/>
                    <a:pt x="88" y="105"/>
                    <a:pt x="88" y="105"/>
                  </a:cubicBezTo>
                  <a:cubicBezTo>
                    <a:pt x="88" y="105"/>
                    <a:pt x="88" y="105"/>
                    <a:pt x="88" y="105"/>
                  </a:cubicBezTo>
                  <a:cubicBezTo>
                    <a:pt x="88" y="105"/>
                    <a:pt x="88" y="105"/>
                    <a:pt x="88" y="105"/>
                  </a:cubicBezTo>
                  <a:cubicBezTo>
                    <a:pt x="89" y="105"/>
                    <a:pt x="89" y="105"/>
                    <a:pt x="89" y="105"/>
                  </a:cubicBezTo>
                  <a:cubicBezTo>
                    <a:pt x="89" y="105"/>
                    <a:pt x="89" y="105"/>
                    <a:pt x="89" y="105"/>
                  </a:cubicBezTo>
                  <a:cubicBezTo>
                    <a:pt x="89" y="105"/>
                    <a:pt x="89" y="105"/>
                    <a:pt x="89" y="105"/>
                  </a:cubicBezTo>
                  <a:cubicBezTo>
                    <a:pt x="89" y="105"/>
                    <a:pt x="89" y="105"/>
                    <a:pt x="89" y="105"/>
                  </a:cubicBezTo>
                  <a:cubicBezTo>
                    <a:pt x="89" y="105"/>
                    <a:pt x="89" y="105"/>
                    <a:pt x="89" y="105"/>
                  </a:cubicBezTo>
                  <a:cubicBezTo>
                    <a:pt x="89" y="105"/>
                    <a:pt x="89" y="105"/>
                    <a:pt x="89" y="105"/>
                  </a:cubicBezTo>
                  <a:cubicBezTo>
                    <a:pt x="90" y="105"/>
                    <a:pt x="90" y="105"/>
                    <a:pt x="90" y="105"/>
                  </a:cubicBezTo>
                  <a:cubicBezTo>
                    <a:pt x="90" y="105"/>
                    <a:pt x="90" y="105"/>
                    <a:pt x="90" y="105"/>
                  </a:cubicBezTo>
                  <a:cubicBezTo>
                    <a:pt x="90" y="105"/>
                    <a:pt x="90" y="105"/>
                    <a:pt x="90" y="105"/>
                  </a:cubicBezTo>
                  <a:cubicBezTo>
                    <a:pt x="90" y="105"/>
                    <a:pt x="90" y="105"/>
                    <a:pt x="90" y="105"/>
                  </a:cubicBezTo>
                  <a:cubicBezTo>
                    <a:pt x="90" y="105"/>
                    <a:pt x="90" y="105"/>
                    <a:pt x="90" y="105"/>
                  </a:cubicBezTo>
                  <a:close/>
                  <a:moveTo>
                    <a:pt x="90" y="206"/>
                  </a:moveTo>
                  <a:cubicBezTo>
                    <a:pt x="90" y="221"/>
                    <a:pt x="90" y="221"/>
                    <a:pt x="90" y="221"/>
                  </a:cubicBezTo>
                  <a:cubicBezTo>
                    <a:pt x="90" y="221"/>
                    <a:pt x="90" y="221"/>
                    <a:pt x="90" y="221"/>
                  </a:cubicBezTo>
                  <a:cubicBezTo>
                    <a:pt x="90" y="221"/>
                    <a:pt x="90" y="221"/>
                    <a:pt x="90" y="221"/>
                  </a:cubicBezTo>
                  <a:cubicBezTo>
                    <a:pt x="90" y="221"/>
                    <a:pt x="90" y="221"/>
                    <a:pt x="90" y="221"/>
                  </a:cubicBezTo>
                  <a:cubicBezTo>
                    <a:pt x="90" y="221"/>
                    <a:pt x="90" y="221"/>
                    <a:pt x="90" y="221"/>
                  </a:cubicBezTo>
                  <a:cubicBezTo>
                    <a:pt x="89" y="221"/>
                    <a:pt x="89" y="221"/>
                    <a:pt x="89" y="221"/>
                  </a:cubicBezTo>
                  <a:cubicBezTo>
                    <a:pt x="89" y="221"/>
                    <a:pt x="89" y="221"/>
                    <a:pt x="89" y="221"/>
                  </a:cubicBezTo>
                  <a:cubicBezTo>
                    <a:pt x="89" y="221"/>
                    <a:pt x="89" y="221"/>
                    <a:pt x="89" y="221"/>
                  </a:cubicBezTo>
                  <a:cubicBezTo>
                    <a:pt x="89" y="221"/>
                    <a:pt x="89" y="221"/>
                    <a:pt x="89" y="221"/>
                  </a:cubicBezTo>
                  <a:cubicBezTo>
                    <a:pt x="89" y="221"/>
                    <a:pt x="89" y="221"/>
                    <a:pt x="89" y="221"/>
                  </a:cubicBezTo>
                  <a:cubicBezTo>
                    <a:pt x="89" y="221"/>
                    <a:pt x="89" y="221"/>
                    <a:pt x="89" y="221"/>
                  </a:cubicBezTo>
                  <a:cubicBezTo>
                    <a:pt x="88" y="221"/>
                    <a:pt x="88" y="221"/>
                    <a:pt x="88" y="221"/>
                  </a:cubicBezTo>
                  <a:cubicBezTo>
                    <a:pt x="88" y="221"/>
                    <a:pt x="88" y="221"/>
                    <a:pt x="88" y="221"/>
                  </a:cubicBezTo>
                  <a:cubicBezTo>
                    <a:pt x="88" y="221"/>
                    <a:pt x="88" y="221"/>
                    <a:pt x="88" y="221"/>
                  </a:cubicBezTo>
                  <a:cubicBezTo>
                    <a:pt x="88" y="221"/>
                    <a:pt x="88" y="221"/>
                    <a:pt x="88" y="221"/>
                  </a:cubicBezTo>
                  <a:cubicBezTo>
                    <a:pt x="88" y="221"/>
                    <a:pt x="88" y="221"/>
                    <a:pt x="88" y="221"/>
                  </a:cubicBezTo>
                  <a:cubicBezTo>
                    <a:pt x="87" y="221"/>
                    <a:pt x="87" y="221"/>
                    <a:pt x="87" y="221"/>
                  </a:cubicBezTo>
                  <a:cubicBezTo>
                    <a:pt x="87" y="221"/>
                    <a:pt x="87" y="221"/>
                    <a:pt x="87" y="221"/>
                  </a:cubicBezTo>
                  <a:cubicBezTo>
                    <a:pt x="87" y="221"/>
                    <a:pt x="87" y="221"/>
                    <a:pt x="87" y="221"/>
                  </a:cubicBezTo>
                  <a:cubicBezTo>
                    <a:pt x="87" y="221"/>
                    <a:pt x="87" y="221"/>
                    <a:pt x="87" y="221"/>
                  </a:cubicBezTo>
                  <a:cubicBezTo>
                    <a:pt x="87" y="221"/>
                    <a:pt x="87" y="221"/>
                    <a:pt x="87" y="221"/>
                  </a:cubicBezTo>
                  <a:cubicBezTo>
                    <a:pt x="87" y="221"/>
                    <a:pt x="87" y="221"/>
                    <a:pt x="87" y="221"/>
                  </a:cubicBezTo>
                  <a:cubicBezTo>
                    <a:pt x="86" y="221"/>
                    <a:pt x="86" y="221"/>
                    <a:pt x="86" y="221"/>
                  </a:cubicBezTo>
                  <a:cubicBezTo>
                    <a:pt x="86" y="221"/>
                    <a:pt x="86" y="221"/>
                    <a:pt x="86" y="221"/>
                  </a:cubicBezTo>
                  <a:cubicBezTo>
                    <a:pt x="86" y="221"/>
                    <a:pt x="86" y="221"/>
                    <a:pt x="86" y="221"/>
                  </a:cubicBezTo>
                  <a:cubicBezTo>
                    <a:pt x="86" y="221"/>
                    <a:pt x="86" y="221"/>
                    <a:pt x="86" y="221"/>
                  </a:cubicBezTo>
                  <a:cubicBezTo>
                    <a:pt x="86" y="221"/>
                    <a:pt x="86" y="221"/>
                    <a:pt x="86" y="221"/>
                  </a:cubicBezTo>
                  <a:cubicBezTo>
                    <a:pt x="85" y="221"/>
                    <a:pt x="85" y="221"/>
                    <a:pt x="85" y="221"/>
                  </a:cubicBezTo>
                  <a:cubicBezTo>
                    <a:pt x="85" y="221"/>
                    <a:pt x="85" y="221"/>
                    <a:pt x="85" y="221"/>
                  </a:cubicBezTo>
                  <a:cubicBezTo>
                    <a:pt x="85" y="221"/>
                    <a:pt x="85" y="221"/>
                    <a:pt x="85" y="221"/>
                  </a:cubicBezTo>
                  <a:cubicBezTo>
                    <a:pt x="85" y="221"/>
                    <a:pt x="85" y="221"/>
                    <a:pt x="85" y="221"/>
                  </a:cubicBezTo>
                  <a:cubicBezTo>
                    <a:pt x="85" y="221"/>
                    <a:pt x="85" y="221"/>
                    <a:pt x="85" y="221"/>
                  </a:cubicBezTo>
                  <a:cubicBezTo>
                    <a:pt x="84" y="221"/>
                    <a:pt x="84" y="221"/>
                    <a:pt x="84" y="221"/>
                  </a:cubicBezTo>
                  <a:cubicBezTo>
                    <a:pt x="84" y="221"/>
                    <a:pt x="84" y="221"/>
                    <a:pt x="84" y="221"/>
                  </a:cubicBezTo>
                  <a:cubicBezTo>
                    <a:pt x="84" y="221"/>
                    <a:pt x="84" y="221"/>
                    <a:pt x="84" y="221"/>
                  </a:cubicBezTo>
                  <a:cubicBezTo>
                    <a:pt x="84" y="221"/>
                    <a:pt x="84" y="221"/>
                    <a:pt x="84" y="221"/>
                  </a:cubicBezTo>
                  <a:cubicBezTo>
                    <a:pt x="84" y="221"/>
                    <a:pt x="84" y="221"/>
                    <a:pt x="84" y="221"/>
                  </a:cubicBezTo>
                  <a:cubicBezTo>
                    <a:pt x="83" y="221"/>
                    <a:pt x="83" y="221"/>
                    <a:pt x="83" y="221"/>
                  </a:cubicBezTo>
                  <a:cubicBezTo>
                    <a:pt x="83" y="221"/>
                    <a:pt x="83" y="221"/>
                    <a:pt x="83" y="221"/>
                  </a:cubicBezTo>
                  <a:cubicBezTo>
                    <a:pt x="83" y="233"/>
                    <a:pt x="83" y="245"/>
                    <a:pt x="83" y="256"/>
                  </a:cubicBezTo>
                  <a:cubicBezTo>
                    <a:pt x="83" y="256"/>
                    <a:pt x="83" y="256"/>
                    <a:pt x="83" y="256"/>
                  </a:cubicBezTo>
                  <a:cubicBezTo>
                    <a:pt x="84" y="256"/>
                    <a:pt x="84" y="256"/>
                    <a:pt x="84" y="256"/>
                  </a:cubicBezTo>
                  <a:cubicBezTo>
                    <a:pt x="84" y="256"/>
                    <a:pt x="84" y="256"/>
                    <a:pt x="84" y="256"/>
                  </a:cubicBezTo>
                  <a:cubicBezTo>
                    <a:pt x="84" y="256"/>
                    <a:pt x="84" y="256"/>
                    <a:pt x="84" y="256"/>
                  </a:cubicBezTo>
                  <a:cubicBezTo>
                    <a:pt x="84" y="256"/>
                    <a:pt x="84" y="256"/>
                    <a:pt x="84" y="256"/>
                  </a:cubicBezTo>
                  <a:cubicBezTo>
                    <a:pt x="84" y="256"/>
                    <a:pt x="84" y="256"/>
                    <a:pt x="84" y="256"/>
                  </a:cubicBezTo>
                  <a:cubicBezTo>
                    <a:pt x="85" y="256"/>
                    <a:pt x="85" y="256"/>
                    <a:pt x="85" y="256"/>
                  </a:cubicBezTo>
                  <a:cubicBezTo>
                    <a:pt x="85" y="256"/>
                    <a:pt x="85" y="256"/>
                    <a:pt x="85" y="256"/>
                  </a:cubicBezTo>
                  <a:cubicBezTo>
                    <a:pt x="85" y="256"/>
                    <a:pt x="85" y="256"/>
                    <a:pt x="85" y="256"/>
                  </a:cubicBezTo>
                  <a:cubicBezTo>
                    <a:pt x="85" y="256"/>
                    <a:pt x="85" y="256"/>
                    <a:pt x="85" y="256"/>
                  </a:cubicBezTo>
                  <a:cubicBezTo>
                    <a:pt x="85" y="256"/>
                    <a:pt x="85" y="256"/>
                    <a:pt x="85" y="256"/>
                  </a:cubicBezTo>
                  <a:cubicBezTo>
                    <a:pt x="86" y="256"/>
                    <a:pt x="86" y="256"/>
                    <a:pt x="86" y="256"/>
                  </a:cubicBezTo>
                  <a:cubicBezTo>
                    <a:pt x="86" y="256"/>
                    <a:pt x="86" y="256"/>
                    <a:pt x="86" y="256"/>
                  </a:cubicBezTo>
                  <a:cubicBezTo>
                    <a:pt x="86" y="256"/>
                    <a:pt x="86" y="256"/>
                    <a:pt x="86" y="256"/>
                  </a:cubicBezTo>
                  <a:cubicBezTo>
                    <a:pt x="86" y="256"/>
                    <a:pt x="86" y="256"/>
                    <a:pt x="86" y="256"/>
                  </a:cubicBezTo>
                  <a:cubicBezTo>
                    <a:pt x="86" y="256"/>
                    <a:pt x="86" y="256"/>
                    <a:pt x="86" y="256"/>
                  </a:cubicBezTo>
                  <a:cubicBezTo>
                    <a:pt x="87" y="256"/>
                    <a:pt x="87" y="256"/>
                    <a:pt x="87" y="256"/>
                  </a:cubicBezTo>
                  <a:cubicBezTo>
                    <a:pt x="87" y="256"/>
                    <a:pt x="87" y="256"/>
                    <a:pt x="87" y="256"/>
                  </a:cubicBezTo>
                  <a:cubicBezTo>
                    <a:pt x="87" y="256"/>
                    <a:pt x="87" y="256"/>
                    <a:pt x="87" y="256"/>
                  </a:cubicBezTo>
                  <a:cubicBezTo>
                    <a:pt x="87" y="256"/>
                    <a:pt x="87" y="256"/>
                    <a:pt x="87" y="256"/>
                  </a:cubicBezTo>
                  <a:cubicBezTo>
                    <a:pt x="87" y="256"/>
                    <a:pt x="87" y="256"/>
                    <a:pt x="87" y="256"/>
                  </a:cubicBezTo>
                  <a:cubicBezTo>
                    <a:pt x="87" y="256"/>
                    <a:pt x="87" y="256"/>
                    <a:pt x="87" y="256"/>
                  </a:cubicBezTo>
                  <a:cubicBezTo>
                    <a:pt x="88" y="256"/>
                    <a:pt x="88" y="256"/>
                    <a:pt x="88" y="256"/>
                  </a:cubicBezTo>
                  <a:cubicBezTo>
                    <a:pt x="88" y="256"/>
                    <a:pt x="88" y="256"/>
                    <a:pt x="88" y="256"/>
                  </a:cubicBezTo>
                  <a:cubicBezTo>
                    <a:pt x="88" y="256"/>
                    <a:pt x="88" y="256"/>
                    <a:pt x="88" y="256"/>
                  </a:cubicBezTo>
                  <a:cubicBezTo>
                    <a:pt x="88" y="256"/>
                    <a:pt x="88" y="256"/>
                    <a:pt x="88" y="256"/>
                  </a:cubicBezTo>
                  <a:cubicBezTo>
                    <a:pt x="88" y="256"/>
                    <a:pt x="88" y="256"/>
                    <a:pt x="88" y="256"/>
                  </a:cubicBezTo>
                  <a:cubicBezTo>
                    <a:pt x="89" y="256"/>
                    <a:pt x="89" y="256"/>
                    <a:pt x="89" y="256"/>
                  </a:cubicBezTo>
                  <a:cubicBezTo>
                    <a:pt x="89" y="256"/>
                    <a:pt x="89" y="256"/>
                    <a:pt x="89" y="256"/>
                  </a:cubicBezTo>
                  <a:cubicBezTo>
                    <a:pt x="89" y="256"/>
                    <a:pt x="89" y="256"/>
                    <a:pt x="89" y="256"/>
                  </a:cubicBezTo>
                  <a:cubicBezTo>
                    <a:pt x="89" y="256"/>
                    <a:pt x="89" y="256"/>
                    <a:pt x="89" y="256"/>
                  </a:cubicBezTo>
                  <a:cubicBezTo>
                    <a:pt x="89" y="256"/>
                    <a:pt x="89" y="256"/>
                    <a:pt x="89" y="256"/>
                  </a:cubicBezTo>
                  <a:cubicBezTo>
                    <a:pt x="89" y="256"/>
                    <a:pt x="89" y="256"/>
                    <a:pt x="89" y="256"/>
                  </a:cubicBezTo>
                  <a:cubicBezTo>
                    <a:pt x="90" y="256"/>
                    <a:pt x="90" y="256"/>
                    <a:pt x="90" y="256"/>
                  </a:cubicBezTo>
                  <a:cubicBezTo>
                    <a:pt x="90" y="256"/>
                    <a:pt x="90" y="256"/>
                    <a:pt x="90" y="256"/>
                  </a:cubicBezTo>
                  <a:cubicBezTo>
                    <a:pt x="90" y="256"/>
                    <a:pt x="90" y="256"/>
                    <a:pt x="90" y="256"/>
                  </a:cubicBezTo>
                  <a:cubicBezTo>
                    <a:pt x="90" y="256"/>
                    <a:pt x="90" y="256"/>
                    <a:pt x="90" y="256"/>
                  </a:cubicBezTo>
                  <a:cubicBezTo>
                    <a:pt x="90" y="256"/>
                    <a:pt x="90" y="256"/>
                    <a:pt x="90" y="256"/>
                  </a:cubicBezTo>
                  <a:cubicBezTo>
                    <a:pt x="90" y="272"/>
                    <a:pt x="90" y="272"/>
                    <a:pt x="90" y="272"/>
                  </a:cubicBezTo>
                  <a:cubicBezTo>
                    <a:pt x="90" y="272"/>
                    <a:pt x="90" y="272"/>
                    <a:pt x="90" y="272"/>
                  </a:cubicBezTo>
                  <a:cubicBezTo>
                    <a:pt x="90" y="272"/>
                    <a:pt x="90" y="272"/>
                    <a:pt x="90" y="272"/>
                  </a:cubicBezTo>
                  <a:cubicBezTo>
                    <a:pt x="90" y="272"/>
                    <a:pt x="90" y="272"/>
                    <a:pt x="90" y="272"/>
                  </a:cubicBezTo>
                  <a:cubicBezTo>
                    <a:pt x="90" y="272"/>
                    <a:pt x="90" y="272"/>
                    <a:pt x="90" y="272"/>
                  </a:cubicBezTo>
                  <a:cubicBezTo>
                    <a:pt x="89" y="272"/>
                    <a:pt x="89" y="272"/>
                    <a:pt x="89" y="272"/>
                  </a:cubicBezTo>
                  <a:cubicBezTo>
                    <a:pt x="89" y="272"/>
                    <a:pt x="89" y="272"/>
                    <a:pt x="89" y="272"/>
                  </a:cubicBezTo>
                  <a:cubicBezTo>
                    <a:pt x="89" y="272"/>
                    <a:pt x="89" y="272"/>
                    <a:pt x="89" y="272"/>
                  </a:cubicBezTo>
                  <a:cubicBezTo>
                    <a:pt x="89" y="272"/>
                    <a:pt x="89" y="272"/>
                    <a:pt x="89" y="272"/>
                  </a:cubicBezTo>
                  <a:cubicBezTo>
                    <a:pt x="89" y="272"/>
                    <a:pt x="89" y="272"/>
                    <a:pt x="89" y="272"/>
                  </a:cubicBezTo>
                  <a:cubicBezTo>
                    <a:pt x="89" y="272"/>
                    <a:pt x="89" y="272"/>
                    <a:pt x="89" y="272"/>
                  </a:cubicBezTo>
                  <a:cubicBezTo>
                    <a:pt x="88" y="272"/>
                    <a:pt x="88" y="272"/>
                    <a:pt x="88" y="272"/>
                  </a:cubicBezTo>
                  <a:cubicBezTo>
                    <a:pt x="88" y="272"/>
                    <a:pt x="88" y="272"/>
                    <a:pt x="88" y="272"/>
                  </a:cubicBezTo>
                  <a:cubicBezTo>
                    <a:pt x="88" y="272"/>
                    <a:pt x="88" y="272"/>
                    <a:pt x="88" y="272"/>
                  </a:cubicBezTo>
                  <a:cubicBezTo>
                    <a:pt x="88" y="272"/>
                    <a:pt x="88" y="272"/>
                    <a:pt x="88" y="272"/>
                  </a:cubicBezTo>
                  <a:cubicBezTo>
                    <a:pt x="88" y="272"/>
                    <a:pt x="88" y="272"/>
                    <a:pt x="88" y="272"/>
                  </a:cubicBezTo>
                  <a:cubicBezTo>
                    <a:pt x="87" y="272"/>
                    <a:pt x="87" y="272"/>
                    <a:pt x="87" y="272"/>
                  </a:cubicBezTo>
                  <a:cubicBezTo>
                    <a:pt x="87" y="272"/>
                    <a:pt x="87" y="272"/>
                    <a:pt x="87" y="272"/>
                  </a:cubicBezTo>
                  <a:cubicBezTo>
                    <a:pt x="87" y="272"/>
                    <a:pt x="87" y="272"/>
                    <a:pt x="87" y="272"/>
                  </a:cubicBezTo>
                  <a:cubicBezTo>
                    <a:pt x="87" y="272"/>
                    <a:pt x="87" y="272"/>
                    <a:pt x="87" y="272"/>
                  </a:cubicBezTo>
                  <a:cubicBezTo>
                    <a:pt x="87" y="272"/>
                    <a:pt x="87" y="272"/>
                    <a:pt x="87" y="272"/>
                  </a:cubicBezTo>
                  <a:cubicBezTo>
                    <a:pt x="87" y="272"/>
                    <a:pt x="87" y="272"/>
                    <a:pt x="87" y="272"/>
                  </a:cubicBezTo>
                  <a:cubicBezTo>
                    <a:pt x="86" y="272"/>
                    <a:pt x="86" y="272"/>
                    <a:pt x="86" y="272"/>
                  </a:cubicBezTo>
                  <a:cubicBezTo>
                    <a:pt x="86" y="272"/>
                    <a:pt x="86" y="272"/>
                    <a:pt x="86" y="272"/>
                  </a:cubicBezTo>
                  <a:cubicBezTo>
                    <a:pt x="86" y="272"/>
                    <a:pt x="86" y="272"/>
                    <a:pt x="86" y="272"/>
                  </a:cubicBezTo>
                  <a:cubicBezTo>
                    <a:pt x="86" y="272"/>
                    <a:pt x="86" y="272"/>
                    <a:pt x="86" y="272"/>
                  </a:cubicBezTo>
                  <a:cubicBezTo>
                    <a:pt x="86" y="272"/>
                    <a:pt x="86" y="272"/>
                    <a:pt x="86" y="272"/>
                  </a:cubicBezTo>
                  <a:cubicBezTo>
                    <a:pt x="85" y="272"/>
                    <a:pt x="85" y="272"/>
                    <a:pt x="85" y="272"/>
                  </a:cubicBezTo>
                  <a:cubicBezTo>
                    <a:pt x="85" y="272"/>
                    <a:pt x="85" y="272"/>
                    <a:pt x="85" y="272"/>
                  </a:cubicBezTo>
                  <a:cubicBezTo>
                    <a:pt x="85" y="272"/>
                    <a:pt x="85" y="272"/>
                    <a:pt x="85" y="272"/>
                  </a:cubicBezTo>
                  <a:cubicBezTo>
                    <a:pt x="85" y="272"/>
                    <a:pt x="85" y="272"/>
                    <a:pt x="85" y="272"/>
                  </a:cubicBezTo>
                  <a:cubicBezTo>
                    <a:pt x="85" y="272"/>
                    <a:pt x="85" y="272"/>
                    <a:pt x="85" y="272"/>
                  </a:cubicBezTo>
                  <a:cubicBezTo>
                    <a:pt x="84" y="272"/>
                    <a:pt x="84" y="272"/>
                    <a:pt x="84" y="272"/>
                  </a:cubicBezTo>
                  <a:cubicBezTo>
                    <a:pt x="84" y="272"/>
                    <a:pt x="84" y="272"/>
                    <a:pt x="84" y="272"/>
                  </a:cubicBezTo>
                  <a:cubicBezTo>
                    <a:pt x="84" y="272"/>
                    <a:pt x="84" y="272"/>
                    <a:pt x="84" y="272"/>
                  </a:cubicBezTo>
                  <a:cubicBezTo>
                    <a:pt x="84" y="272"/>
                    <a:pt x="84" y="272"/>
                    <a:pt x="84" y="272"/>
                  </a:cubicBezTo>
                  <a:cubicBezTo>
                    <a:pt x="84" y="272"/>
                    <a:pt x="84" y="272"/>
                    <a:pt x="84" y="272"/>
                  </a:cubicBezTo>
                  <a:cubicBezTo>
                    <a:pt x="83" y="272"/>
                    <a:pt x="83" y="272"/>
                    <a:pt x="83" y="272"/>
                  </a:cubicBezTo>
                  <a:cubicBezTo>
                    <a:pt x="83" y="272"/>
                    <a:pt x="83" y="272"/>
                    <a:pt x="83" y="272"/>
                  </a:cubicBezTo>
                  <a:cubicBezTo>
                    <a:pt x="66" y="272"/>
                    <a:pt x="66" y="272"/>
                    <a:pt x="66" y="272"/>
                  </a:cubicBezTo>
                  <a:cubicBezTo>
                    <a:pt x="66" y="272"/>
                    <a:pt x="66" y="272"/>
                    <a:pt x="66" y="272"/>
                  </a:cubicBezTo>
                  <a:cubicBezTo>
                    <a:pt x="65" y="272"/>
                    <a:pt x="65" y="272"/>
                    <a:pt x="65" y="272"/>
                  </a:cubicBezTo>
                  <a:cubicBezTo>
                    <a:pt x="65" y="272"/>
                    <a:pt x="65" y="272"/>
                    <a:pt x="65" y="272"/>
                  </a:cubicBezTo>
                  <a:cubicBezTo>
                    <a:pt x="65" y="272"/>
                    <a:pt x="65" y="272"/>
                    <a:pt x="65" y="272"/>
                  </a:cubicBezTo>
                  <a:cubicBezTo>
                    <a:pt x="65" y="272"/>
                    <a:pt x="65" y="272"/>
                    <a:pt x="65" y="272"/>
                  </a:cubicBezTo>
                  <a:cubicBezTo>
                    <a:pt x="65" y="272"/>
                    <a:pt x="65" y="272"/>
                    <a:pt x="65" y="272"/>
                  </a:cubicBezTo>
                  <a:cubicBezTo>
                    <a:pt x="65" y="272"/>
                    <a:pt x="65" y="272"/>
                    <a:pt x="65" y="272"/>
                  </a:cubicBezTo>
                  <a:cubicBezTo>
                    <a:pt x="64" y="272"/>
                    <a:pt x="64" y="272"/>
                    <a:pt x="64" y="272"/>
                  </a:cubicBezTo>
                  <a:cubicBezTo>
                    <a:pt x="64" y="272"/>
                    <a:pt x="64" y="272"/>
                    <a:pt x="64" y="272"/>
                  </a:cubicBezTo>
                  <a:cubicBezTo>
                    <a:pt x="64" y="272"/>
                    <a:pt x="64" y="272"/>
                    <a:pt x="64" y="272"/>
                  </a:cubicBezTo>
                  <a:cubicBezTo>
                    <a:pt x="64" y="272"/>
                    <a:pt x="64" y="272"/>
                    <a:pt x="64" y="272"/>
                  </a:cubicBezTo>
                  <a:cubicBezTo>
                    <a:pt x="64" y="272"/>
                    <a:pt x="64" y="272"/>
                    <a:pt x="64" y="272"/>
                  </a:cubicBezTo>
                  <a:cubicBezTo>
                    <a:pt x="63" y="272"/>
                    <a:pt x="63" y="272"/>
                    <a:pt x="63" y="272"/>
                  </a:cubicBezTo>
                  <a:cubicBezTo>
                    <a:pt x="63" y="272"/>
                    <a:pt x="63" y="272"/>
                    <a:pt x="63" y="272"/>
                  </a:cubicBezTo>
                  <a:cubicBezTo>
                    <a:pt x="63" y="272"/>
                    <a:pt x="63" y="272"/>
                    <a:pt x="63" y="272"/>
                  </a:cubicBezTo>
                  <a:cubicBezTo>
                    <a:pt x="63" y="272"/>
                    <a:pt x="63" y="272"/>
                    <a:pt x="63" y="272"/>
                  </a:cubicBezTo>
                  <a:cubicBezTo>
                    <a:pt x="63" y="272"/>
                    <a:pt x="63" y="272"/>
                    <a:pt x="63" y="272"/>
                  </a:cubicBezTo>
                  <a:cubicBezTo>
                    <a:pt x="62" y="272"/>
                    <a:pt x="62" y="272"/>
                    <a:pt x="62" y="272"/>
                  </a:cubicBezTo>
                  <a:cubicBezTo>
                    <a:pt x="62" y="272"/>
                    <a:pt x="62" y="272"/>
                    <a:pt x="62" y="272"/>
                  </a:cubicBezTo>
                  <a:cubicBezTo>
                    <a:pt x="62" y="272"/>
                    <a:pt x="62" y="272"/>
                    <a:pt x="62" y="272"/>
                  </a:cubicBezTo>
                  <a:cubicBezTo>
                    <a:pt x="62" y="272"/>
                    <a:pt x="62" y="272"/>
                    <a:pt x="62" y="272"/>
                  </a:cubicBezTo>
                  <a:cubicBezTo>
                    <a:pt x="62" y="272"/>
                    <a:pt x="62" y="272"/>
                    <a:pt x="62" y="272"/>
                  </a:cubicBezTo>
                  <a:cubicBezTo>
                    <a:pt x="61" y="272"/>
                    <a:pt x="61" y="272"/>
                    <a:pt x="61" y="272"/>
                  </a:cubicBezTo>
                  <a:cubicBezTo>
                    <a:pt x="61" y="272"/>
                    <a:pt x="61" y="272"/>
                    <a:pt x="61" y="272"/>
                  </a:cubicBezTo>
                  <a:cubicBezTo>
                    <a:pt x="61" y="272"/>
                    <a:pt x="61" y="272"/>
                    <a:pt x="61" y="272"/>
                  </a:cubicBezTo>
                  <a:cubicBezTo>
                    <a:pt x="61" y="272"/>
                    <a:pt x="61" y="272"/>
                    <a:pt x="61" y="272"/>
                  </a:cubicBezTo>
                  <a:cubicBezTo>
                    <a:pt x="61" y="272"/>
                    <a:pt x="61" y="272"/>
                    <a:pt x="61" y="272"/>
                  </a:cubicBezTo>
                  <a:cubicBezTo>
                    <a:pt x="60" y="272"/>
                    <a:pt x="60" y="272"/>
                    <a:pt x="60" y="272"/>
                  </a:cubicBezTo>
                  <a:cubicBezTo>
                    <a:pt x="60" y="272"/>
                    <a:pt x="60" y="272"/>
                    <a:pt x="60" y="272"/>
                  </a:cubicBezTo>
                  <a:cubicBezTo>
                    <a:pt x="60" y="272"/>
                    <a:pt x="60" y="272"/>
                    <a:pt x="60" y="272"/>
                  </a:cubicBezTo>
                  <a:cubicBezTo>
                    <a:pt x="60" y="272"/>
                    <a:pt x="60" y="272"/>
                    <a:pt x="60" y="272"/>
                  </a:cubicBezTo>
                  <a:cubicBezTo>
                    <a:pt x="60" y="272"/>
                    <a:pt x="60" y="272"/>
                    <a:pt x="60" y="272"/>
                  </a:cubicBezTo>
                  <a:cubicBezTo>
                    <a:pt x="60" y="272"/>
                    <a:pt x="60" y="272"/>
                    <a:pt x="60" y="272"/>
                  </a:cubicBezTo>
                  <a:cubicBezTo>
                    <a:pt x="59" y="272"/>
                    <a:pt x="59" y="272"/>
                    <a:pt x="59" y="272"/>
                  </a:cubicBezTo>
                  <a:cubicBezTo>
                    <a:pt x="59" y="272"/>
                    <a:pt x="59" y="272"/>
                    <a:pt x="59" y="272"/>
                  </a:cubicBezTo>
                  <a:cubicBezTo>
                    <a:pt x="59" y="272"/>
                    <a:pt x="59" y="272"/>
                    <a:pt x="59" y="272"/>
                  </a:cubicBezTo>
                  <a:cubicBezTo>
                    <a:pt x="59" y="272"/>
                    <a:pt x="59" y="272"/>
                    <a:pt x="59" y="272"/>
                  </a:cubicBezTo>
                  <a:cubicBezTo>
                    <a:pt x="59" y="272"/>
                    <a:pt x="59" y="272"/>
                    <a:pt x="59" y="272"/>
                  </a:cubicBezTo>
                  <a:cubicBezTo>
                    <a:pt x="59" y="256"/>
                    <a:pt x="59" y="256"/>
                    <a:pt x="59" y="256"/>
                  </a:cubicBezTo>
                  <a:cubicBezTo>
                    <a:pt x="66" y="256"/>
                    <a:pt x="66" y="256"/>
                    <a:pt x="66" y="256"/>
                  </a:cubicBezTo>
                  <a:cubicBezTo>
                    <a:pt x="66" y="245"/>
                    <a:pt x="66" y="233"/>
                    <a:pt x="66" y="221"/>
                  </a:cubicBezTo>
                  <a:cubicBezTo>
                    <a:pt x="59" y="221"/>
                    <a:pt x="59" y="221"/>
                    <a:pt x="59" y="221"/>
                  </a:cubicBezTo>
                  <a:cubicBezTo>
                    <a:pt x="59" y="206"/>
                    <a:pt x="59" y="206"/>
                    <a:pt x="59" y="206"/>
                  </a:cubicBezTo>
                  <a:cubicBezTo>
                    <a:pt x="59" y="206"/>
                    <a:pt x="59" y="206"/>
                    <a:pt x="59" y="206"/>
                  </a:cubicBezTo>
                  <a:cubicBezTo>
                    <a:pt x="59" y="206"/>
                    <a:pt x="59" y="206"/>
                    <a:pt x="59" y="206"/>
                  </a:cubicBezTo>
                  <a:cubicBezTo>
                    <a:pt x="59" y="206"/>
                    <a:pt x="59" y="206"/>
                    <a:pt x="59" y="206"/>
                  </a:cubicBezTo>
                  <a:cubicBezTo>
                    <a:pt x="59" y="206"/>
                    <a:pt x="59" y="206"/>
                    <a:pt x="59" y="206"/>
                  </a:cubicBezTo>
                  <a:cubicBezTo>
                    <a:pt x="60" y="206"/>
                    <a:pt x="60" y="206"/>
                    <a:pt x="60" y="206"/>
                  </a:cubicBezTo>
                  <a:cubicBezTo>
                    <a:pt x="60" y="206"/>
                    <a:pt x="60" y="206"/>
                    <a:pt x="60" y="206"/>
                  </a:cubicBezTo>
                  <a:cubicBezTo>
                    <a:pt x="60" y="206"/>
                    <a:pt x="60" y="206"/>
                    <a:pt x="60" y="206"/>
                  </a:cubicBezTo>
                  <a:cubicBezTo>
                    <a:pt x="60" y="206"/>
                    <a:pt x="60" y="206"/>
                    <a:pt x="60" y="206"/>
                  </a:cubicBezTo>
                  <a:cubicBezTo>
                    <a:pt x="60" y="206"/>
                    <a:pt x="60" y="206"/>
                    <a:pt x="60" y="206"/>
                  </a:cubicBezTo>
                  <a:cubicBezTo>
                    <a:pt x="61" y="206"/>
                    <a:pt x="61" y="206"/>
                    <a:pt x="61" y="206"/>
                  </a:cubicBezTo>
                  <a:cubicBezTo>
                    <a:pt x="61" y="206"/>
                    <a:pt x="61" y="206"/>
                    <a:pt x="61" y="206"/>
                  </a:cubicBezTo>
                  <a:cubicBezTo>
                    <a:pt x="61" y="206"/>
                    <a:pt x="61" y="206"/>
                    <a:pt x="61" y="206"/>
                  </a:cubicBezTo>
                  <a:cubicBezTo>
                    <a:pt x="61" y="206"/>
                    <a:pt x="61" y="206"/>
                    <a:pt x="61" y="206"/>
                  </a:cubicBezTo>
                  <a:cubicBezTo>
                    <a:pt x="61" y="206"/>
                    <a:pt x="61" y="206"/>
                    <a:pt x="61" y="206"/>
                  </a:cubicBezTo>
                  <a:cubicBezTo>
                    <a:pt x="62" y="206"/>
                    <a:pt x="62" y="206"/>
                    <a:pt x="62" y="206"/>
                  </a:cubicBezTo>
                  <a:cubicBezTo>
                    <a:pt x="62" y="206"/>
                    <a:pt x="62" y="206"/>
                    <a:pt x="62" y="206"/>
                  </a:cubicBezTo>
                  <a:cubicBezTo>
                    <a:pt x="62" y="206"/>
                    <a:pt x="62" y="206"/>
                    <a:pt x="62" y="206"/>
                  </a:cubicBezTo>
                  <a:cubicBezTo>
                    <a:pt x="62" y="206"/>
                    <a:pt x="62" y="206"/>
                    <a:pt x="62" y="206"/>
                  </a:cubicBezTo>
                  <a:cubicBezTo>
                    <a:pt x="63" y="206"/>
                    <a:pt x="63" y="206"/>
                    <a:pt x="63" y="206"/>
                  </a:cubicBezTo>
                  <a:cubicBezTo>
                    <a:pt x="63" y="206"/>
                    <a:pt x="63" y="206"/>
                    <a:pt x="63" y="206"/>
                  </a:cubicBezTo>
                  <a:cubicBezTo>
                    <a:pt x="63" y="206"/>
                    <a:pt x="63" y="206"/>
                    <a:pt x="63" y="206"/>
                  </a:cubicBezTo>
                  <a:cubicBezTo>
                    <a:pt x="63" y="206"/>
                    <a:pt x="63" y="206"/>
                    <a:pt x="63" y="206"/>
                  </a:cubicBezTo>
                  <a:cubicBezTo>
                    <a:pt x="63" y="206"/>
                    <a:pt x="63" y="206"/>
                    <a:pt x="63" y="206"/>
                  </a:cubicBezTo>
                  <a:cubicBezTo>
                    <a:pt x="63" y="206"/>
                    <a:pt x="63" y="206"/>
                    <a:pt x="63" y="206"/>
                  </a:cubicBezTo>
                  <a:cubicBezTo>
                    <a:pt x="64" y="206"/>
                    <a:pt x="64" y="206"/>
                    <a:pt x="64" y="206"/>
                  </a:cubicBezTo>
                  <a:cubicBezTo>
                    <a:pt x="64" y="206"/>
                    <a:pt x="64" y="206"/>
                    <a:pt x="64" y="206"/>
                  </a:cubicBezTo>
                  <a:cubicBezTo>
                    <a:pt x="64" y="206"/>
                    <a:pt x="64" y="206"/>
                    <a:pt x="64" y="206"/>
                  </a:cubicBezTo>
                  <a:cubicBezTo>
                    <a:pt x="64" y="206"/>
                    <a:pt x="64" y="206"/>
                    <a:pt x="64" y="206"/>
                  </a:cubicBezTo>
                  <a:cubicBezTo>
                    <a:pt x="64" y="206"/>
                    <a:pt x="64" y="206"/>
                    <a:pt x="64" y="206"/>
                  </a:cubicBezTo>
                  <a:cubicBezTo>
                    <a:pt x="65" y="206"/>
                    <a:pt x="65" y="206"/>
                    <a:pt x="65" y="206"/>
                  </a:cubicBezTo>
                  <a:cubicBezTo>
                    <a:pt x="65" y="206"/>
                    <a:pt x="65" y="206"/>
                    <a:pt x="65" y="206"/>
                  </a:cubicBezTo>
                  <a:cubicBezTo>
                    <a:pt x="65" y="206"/>
                    <a:pt x="65" y="206"/>
                    <a:pt x="65" y="206"/>
                  </a:cubicBezTo>
                  <a:cubicBezTo>
                    <a:pt x="65" y="206"/>
                    <a:pt x="65" y="206"/>
                    <a:pt x="65" y="206"/>
                  </a:cubicBezTo>
                  <a:cubicBezTo>
                    <a:pt x="65" y="206"/>
                    <a:pt x="65" y="206"/>
                    <a:pt x="65" y="206"/>
                  </a:cubicBezTo>
                  <a:cubicBezTo>
                    <a:pt x="66" y="206"/>
                    <a:pt x="66" y="206"/>
                    <a:pt x="66" y="206"/>
                  </a:cubicBezTo>
                  <a:cubicBezTo>
                    <a:pt x="66" y="206"/>
                    <a:pt x="66" y="206"/>
                    <a:pt x="66" y="206"/>
                  </a:cubicBezTo>
                  <a:cubicBezTo>
                    <a:pt x="83" y="206"/>
                    <a:pt x="83" y="206"/>
                    <a:pt x="83" y="206"/>
                  </a:cubicBezTo>
                  <a:cubicBezTo>
                    <a:pt x="90" y="206"/>
                    <a:pt x="90" y="206"/>
                    <a:pt x="90" y="206"/>
                  </a:cubicBezTo>
                  <a:close/>
                  <a:moveTo>
                    <a:pt x="90" y="307"/>
                  </a:moveTo>
                  <a:cubicBezTo>
                    <a:pt x="90" y="322"/>
                    <a:pt x="90" y="322"/>
                    <a:pt x="90" y="322"/>
                  </a:cubicBezTo>
                  <a:cubicBezTo>
                    <a:pt x="83" y="322"/>
                    <a:pt x="83" y="322"/>
                    <a:pt x="83" y="322"/>
                  </a:cubicBezTo>
                  <a:cubicBezTo>
                    <a:pt x="83" y="334"/>
                    <a:pt x="83" y="345"/>
                    <a:pt x="83" y="357"/>
                  </a:cubicBezTo>
                  <a:cubicBezTo>
                    <a:pt x="90" y="357"/>
                    <a:pt x="90" y="357"/>
                    <a:pt x="90" y="357"/>
                  </a:cubicBezTo>
                  <a:cubicBezTo>
                    <a:pt x="90" y="372"/>
                    <a:pt x="90" y="372"/>
                    <a:pt x="90" y="372"/>
                  </a:cubicBezTo>
                  <a:cubicBezTo>
                    <a:pt x="90" y="372"/>
                    <a:pt x="90" y="372"/>
                    <a:pt x="90" y="372"/>
                  </a:cubicBezTo>
                  <a:cubicBezTo>
                    <a:pt x="90" y="372"/>
                    <a:pt x="90" y="372"/>
                    <a:pt x="90" y="372"/>
                  </a:cubicBezTo>
                  <a:cubicBezTo>
                    <a:pt x="90" y="372"/>
                    <a:pt x="90" y="372"/>
                    <a:pt x="90" y="372"/>
                  </a:cubicBezTo>
                  <a:cubicBezTo>
                    <a:pt x="90" y="372"/>
                    <a:pt x="90" y="372"/>
                    <a:pt x="90" y="372"/>
                  </a:cubicBezTo>
                  <a:cubicBezTo>
                    <a:pt x="89" y="372"/>
                    <a:pt x="89" y="372"/>
                    <a:pt x="89" y="372"/>
                  </a:cubicBezTo>
                  <a:cubicBezTo>
                    <a:pt x="89" y="372"/>
                    <a:pt x="89" y="372"/>
                    <a:pt x="89" y="372"/>
                  </a:cubicBezTo>
                  <a:cubicBezTo>
                    <a:pt x="89" y="372"/>
                    <a:pt x="89" y="372"/>
                    <a:pt x="89" y="372"/>
                  </a:cubicBezTo>
                  <a:cubicBezTo>
                    <a:pt x="89" y="372"/>
                    <a:pt x="89" y="372"/>
                    <a:pt x="89" y="372"/>
                  </a:cubicBezTo>
                  <a:cubicBezTo>
                    <a:pt x="89" y="372"/>
                    <a:pt x="89" y="372"/>
                    <a:pt x="89" y="372"/>
                  </a:cubicBezTo>
                  <a:cubicBezTo>
                    <a:pt x="88" y="372"/>
                    <a:pt x="88" y="372"/>
                    <a:pt x="88" y="372"/>
                  </a:cubicBezTo>
                  <a:cubicBezTo>
                    <a:pt x="88" y="372"/>
                    <a:pt x="88" y="372"/>
                    <a:pt x="88" y="372"/>
                  </a:cubicBezTo>
                  <a:cubicBezTo>
                    <a:pt x="88" y="372"/>
                    <a:pt x="88" y="372"/>
                    <a:pt x="88" y="372"/>
                  </a:cubicBezTo>
                  <a:cubicBezTo>
                    <a:pt x="88" y="372"/>
                    <a:pt x="88" y="372"/>
                    <a:pt x="88" y="372"/>
                  </a:cubicBezTo>
                  <a:cubicBezTo>
                    <a:pt x="87" y="372"/>
                    <a:pt x="87" y="372"/>
                    <a:pt x="87" y="372"/>
                  </a:cubicBezTo>
                  <a:cubicBezTo>
                    <a:pt x="87" y="372"/>
                    <a:pt x="87" y="372"/>
                    <a:pt x="87" y="372"/>
                  </a:cubicBezTo>
                  <a:cubicBezTo>
                    <a:pt x="87" y="372"/>
                    <a:pt x="87" y="372"/>
                    <a:pt x="87" y="372"/>
                  </a:cubicBezTo>
                  <a:cubicBezTo>
                    <a:pt x="87" y="372"/>
                    <a:pt x="87" y="372"/>
                    <a:pt x="87" y="372"/>
                  </a:cubicBezTo>
                  <a:cubicBezTo>
                    <a:pt x="87" y="372"/>
                    <a:pt x="87" y="372"/>
                    <a:pt x="87" y="372"/>
                  </a:cubicBezTo>
                  <a:cubicBezTo>
                    <a:pt x="86" y="372"/>
                    <a:pt x="86" y="372"/>
                    <a:pt x="86" y="372"/>
                  </a:cubicBezTo>
                  <a:cubicBezTo>
                    <a:pt x="86" y="372"/>
                    <a:pt x="86" y="372"/>
                    <a:pt x="86" y="372"/>
                  </a:cubicBezTo>
                  <a:cubicBezTo>
                    <a:pt x="86" y="372"/>
                    <a:pt x="86" y="372"/>
                    <a:pt x="86" y="372"/>
                  </a:cubicBezTo>
                  <a:cubicBezTo>
                    <a:pt x="86" y="372"/>
                    <a:pt x="86" y="372"/>
                    <a:pt x="86" y="372"/>
                  </a:cubicBezTo>
                  <a:cubicBezTo>
                    <a:pt x="85" y="372"/>
                    <a:pt x="85" y="372"/>
                    <a:pt x="85" y="372"/>
                  </a:cubicBezTo>
                  <a:cubicBezTo>
                    <a:pt x="85" y="372"/>
                    <a:pt x="85" y="372"/>
                    <a:pt x="85" y="372"/>
                  </a:cubicBezTo>
                  <a:cubicBezTo>
                    <a:pt x="85" y="372"/>
                    <a:pt x="85" y="372"/>
                    <a:pt x="85" y="372"/>
                  </a:cubicBezTo>
                  <a:cubicBezTo>
                    <a:pt x="85" y="372"/>
                    <a:pt x="85" y="372"/>
                    <a:pt x="85" y="372"/>
                  </a:cubicBezTo>
                  <a:cubicBezTo>
                    <a:pt x="85" y="372"/>
                    <a:pt x="85" y="372"/>
                    <a:pt x="85" y="372"/>
                  </a:cubicBezTo>
                  <a:cubicBezTo>
                    <a:pt x="84" y="372"/>
                    <a:pt x="84" y="372"/>
                    <a:pt x="84" y="372"/>
                  </a:cubicBezTo>
                  <a:cubicBezTo>
                    <a:pt x="84" y="372"/>
                    <a:pt x="84" y="372"/>
                    <a:pt x="84" y="372"/>
                  </a:cubicBezTo>
                  <a:cubicBezTo>
                    <a:pt x="84" y="372"/>
                    <a:pt x="84" y="372"/>
                    <a:pt x="84" y="372"/>
                  </a:cubicBezTo>
                  <a:cubicBezTo>
                    <a:pt x="84" y="372"/>
                    <a:pt x="84" y="372"/>
                    <a:pt x="84" y="372"/>
                  </a:cubicBezTo>
                  <a:cubicBezTo>
                    <a:pt x="83" y="372"/>
                    <a:pt x="83" y="372"/>
                    <a:pt x="83" y="372"/>
                  </a:cubicBezTo>
                  <a:cubicBezTo>
                    <a:pt x="83" y="372"/>
                    <a:pt x="83" y="372"/>
                    <a:pt x="83" y="372"/>
                  </a:cubicBezTo>
                  <a:cubicBezTo>
                    <a:pt x="66" y="372"/>
                    <a:pt x="66" y="372"/>
                    <a:pt x="66" y="372"/>
                  </a:cubicBezTo>
                  <a:cubicBezTo>
                    <a:pt x="66" y="372"/>
                    <a:pt x="66" y="372"/>
                    <a:pt x="66" y="372"/>
                  </a:cubicBezTo>
                  <a:cubicBezTo>
                    <a:pt x="66" y="372"/>
                    <a:pt x="66" y="372"/>
                    <a:pt x="66" y="372"/>
                  </a:cubicBezTo>
                  <a:cubicBezTo>
                    <a:pt x="65" y="372"/>
                    <a:pt x="65" y="372"/>
                    <a:pt x="65" y="372"/>
                  </a:cubicBezTo>
                  <a:cubicBezTo>
                    <a:pt x="65" y="372"/>
                    <a:pt x="65" y="372"/>
                    <a:pt x="65" y="372"/>
                  </a:cubicBezTo>
                  <a:cubicBezTo>
                    <a:pt x="65" y="372"/>
                    <a:pt x="65" y="372"/>
                    <a:pt x="65" y="372"/>
                  </a:cubicBezTo>
                  <a:cubicBezTo>
                    <a:pt x="65" y="372"/>
                    <a:pt x="65" y="372"/>
                    <a:pt x="65" y="372"/>
                  </a:cubicBezTo>
                  <a:cubicBezTo>
                    <a:pt x="65" y="372"/>
                    <a:pt x="65" y="372"/>
                    <a:pt x="65" y="372"/>
                  </a:cubicBezTo>
                  <a:cubicBezTo>
                    <a:pt x="65" y="372"/>
                    <a:pt x="65" y="372"/>
                    <a:pt x="65" y="372"/>
                  </a:cubicBezTo>
                  <a:cubicBezTo>
                    <a:pt x="64" y="372"/>
                    <a:pt x="64" y="372"/>
                    <a:pt x="64" y="372"/>
                  </a:cubicBezTo>
                  <a:cubicBezTo>
                    <a:pt x="64" y="372"/>
                    <a:pt x="64" y="372"/>
                    <a:pt x="64" y="372"/>
                  </a:cubicBezTo>
                  <a:cubicBezTo>
                    <a:pt x="64" y="372"/>
                    <a:pt x="64" y="372"/>
                    <a:pt x="64" y="372"/>
                  </a:cubicBezTo>
                  <a:cubicBezTo>
                    <a:pt x="64" y="372"/>
                    <a:pt x="64" y="372"/>
                    <a:pt x="64" y="372"/>
                  </a:cubicBezTo>
                  <a:cubicBezTo>
                    <a:pt x="63" y="372"/>
                    <a:pt x="63" y="372"/>
                    <a:pt x="63" y="372"/>
                  </a:cubicBezTo>
                  <a:cubicBezTo>
                    <a:pt x="63" y="372"/>
                    <a:pt x="63" y="372"/>
                    <a:pt x="63" y="372"/>
                  </a:cubicBezTo>
                  <a:cubicBezTo>
                    <a:pt x="63" y="372"/>
                    <a:pt x="63" y="372"/>
                    <a:pt x="63" y="372"/>
                  </a:cubicBezTo>
                  <a:cubicBezTo>
                    <a:pt x="63" y="372"/>
                    <a:pt x="63" y="372"/>
                    <a:pt x="63" y="372"/>
                  </a:cubicBezTo>
                  <a:cubicBezTo>
                    <a:pt x="63" y="372"/>
                    <a:pt x="63" y="372"/>
                    <a:pt x="63" y="372"/>
                  </a:cubicBezTo>
                  <a:cubicBezTo>
                    <a:pt x="63" y="372"/>
                    <a:pt x="63" y="372"/>
                    <a:pt x="63" y="372"/>
                  </a:cubicBezTo>
                  <a:cubicBezTo>
                    <a:pt x="62" y="372"/>
                    <a:pt x="62" y="372"/>
                    <a:pt x="62" y="372"/>
                  </a:cubicBezTo>
                  <a:cubicBezTo>
                    <a:pt x="62" y="372"/>
                    <a:pt x="62" y="372"/>
                    <a:pt x="62" y="372"/>
                  </a:cubicBezTo>
                  <a:cubicBezTo>
                    <a:pt x="62" y="372"/>
                    <a:pt x="62" y="372"/>
                    <a:pt x="62" y="372"/>
                  </a:cubicBezTo>
                  <a:cubicBezTo>
                    <a:pt x="62" y="372"/>
                    <a:pt x="62" y="372"/>
                    <a:pt x="62" y="372"/>
                  </a:cubicBezTo>
                  <a:cubicBezTo>
                    <a:pt x="62" y="372"/>
                    <a:pt x="62" y="372"/>
                    <a:pt x="62" y="372"/>
                  </a:cubicBezTo>
                  <a:cubicBezTo>
                    <a:pt x="61" y="372"/>
                    <a:pt x="61" y="372"/>
                    <a:pt x="61" y="372"/>
                  </a:cubicBezTo>
                  <a:cubicBezTo>
                    <a:pt x="61" y="372"/>
                    <a:pt x="61" y="372"/>
                    <a:pt x="61" y="372"/>
                  </a:cubicBezTo>
                  <a:cubicBezTo>
                    <a:pt x="61" y="372"/>
                    <a:pt x="61" y="372"/>
                    <a:pt x="61" y="372"/>
                  </a:cubicBezTo>
                  <a:cubicBezTo>
                    <a:pt x="61" y="372"/>
                    <a:pt x="61" y="372"/>
                    <a:pt x="61" y="372"/>
                  </a:cubicBezTo>
                  <a:cubicBezTo>
                    <a:pt x="61" y="372"/>
                    <a:pt x="61" y="372"/>
                    <a:pt x="61" y="372"/>
                  </a:cubicBezTo>
                  <a:cubicBezTo>
                    <a:pt x="60" y="372"/>
                    <a:pt x="60" y="372"/>
                    <a:pt x="60" y="372"/>
                  </a:cubicBezTo>
                  <a:cubicBezTo>
                    <a:pt x="60" y="372"/>
                    <a:pt x="60" y="372"/>
                    <a:pt x="60" y="372"/>
                  </a:cubicBezTo>
                  <a:cubicBezTo>
                    <a:pt x="60" y="372"/>
                    <a:pt x="60" y="372"/>
                    <a:pt x="60" y="372"/>
                  </a:cubicBezTo>
                  <a:cubicBezTo>
                    <a:pt x="60" y="372"/>
                    <a:pt x="60" y="372"/>
                    <a:pt x="60" y="372"/>
                  </a:cubicBezTo>
                  <a:cubicBezTo>
                    <a:pt x="60" y="372"/>
                    <a:pt x="60" y="372"/>
                    <a:pt x="60" y="372"/>
                  </a:cubicBezTo>
                  <a:cubicBezTo>
                    <a:pt x="60" y="372"/>
                    <a:pt x="60" y="372"/>
                    <a:pt x="60" y="372"/>
                  </a:cubicBezTo>
                  <a:cubicBezTo>
                    <a:pt x="59" y="372"/>
                    <a:pt x="59" y="372"/>
                    <a:pt x="59" y="372"/>
                  </a:cubicBezTo>
                  <a:cubicBezTo>
                    <a:pt x="59" y="372"/>
                    <a:pt x="59" y="372"/>
                    <a:pt x="59" y="372"/>
                  </a:cubicBezTo>
                  <a:cubicBezTo>
                    <a:pt x="59" y="372"/>
                    <a:pt x="59" y="372"/>
                    <a:pt x="59" y="372"/>
                  </a:cubicBezTo>
                  <a:cubicBezTo>
                    <a:pt x="59" y="372"/>
                    <a:pt x="59" y="372"/>
                    <a:pt x="59" y="372"/>
                  </a:cubicBezTo>
                  <a:cubicBezTo>
                    <a:pt x="59" y="357"/>
                    <a:pt x="59" y="357"/>
                    <a:pt x="59" y="357"/>
                  </a:cubicBezTo>
                  <a:cubicBezTo>
                    <a:pt x="66" y="357"/>
                    <a:pt x="66" y="357"/>
                    <a:pt x="66" y="357"/>
                  </a:cubicBezTo>
                  <a:cubicBezTo>
                    <a:pt x="66" y="345"/>
                    <a:pt x="66" y="334"/>
                    <a:pt x="66" y="322"/>
                  </a:cubicBezTo>
                  <a:cubicBezTo>
                    <a:pt x="59" y="322"/>
                    <a:pt x="59" y="322"/>
                    <a:pt x="59" y="322"/>
                  </a:cubicBezTo>
                  <a:cubicBezTo>
                    <a:pt x="59" y="307"/>
                    <a:pt x="59" y="307"/>
                    <a:pt x="59" y="307"/>
                  </a:cubicBezTo>
                  <a:cubicBezTo>
                    <a:pt x="59" y="307"/>
                    <a:pt x="59" y="307"/>
                    <a:pt x="59" y="307"/>
                  </a:cubicBezTo>
                  <a:cubicBezTo>
                    <a:pt x="59" y="307"/>
                    <a:pt x="59" y="307"/>
                    <a:pt x="59" y="307"/>
                  </a:cubicBezTo>
                  <a:cubicBezTo>
                    <a:pt x="59" y="307"/>
                    <a:pt x="59" y="307"/>
                    <a:pt x="59" y="307"/>
                  </a:cubicBezTo>
                  <a:cubicBezTo>
                    <a:pt x="59" y="307"/>
                    <a:pt x="59" y="307"/>
                    <a:pt x="59" y="307"/>
                  </a:cubicBezTo>
                  <a:cubicBezTo>
                    <a:pt x="60" y="307"/>
                    <a:pt x="60" y="307"/>
                    <a:pt x="60" y="307"/>
                  </a:cubicBezTo>
                  <a:cubicBezTo>
                    <a:pt x="60" y="307"/>
                    <a:pt x="60" y="307"/>
                    <a:pt x="60" y="307"/>
                  </a:cubicBezTo>
                  <a:cubicBezTo>
                    <a:pt x="60" y="307"/>
                    <a:pt x="60" y="307"/>
                    <a:pt x="60" y="307"/>
                  </a:cubicBezTo>
                  <a:cubicBezTo>
                    <a:pt x="60" y="307"/>
                    <a:pt x="60" y="307"/>
                    <a:pt x="60" y="307"/>
                  </a:cubicBezTo>
                  <a:cubicBezTo>
                    <a:pt x="60" y="307"/>
                    <a:pt x="60" y="307"/>
                    <a:pt x="60" y="307"/>
                  </a:cubicBezTo>
                  <a:cubicBezTo>
                    <a:pt x="60" y="307"/>
                    <a:pt x="60" y="307"/>
                    <a:pt x="60" y="307"/>
                  </a:cubicBezTo>
                  <a:cubicBezTo>
                    <a:pt x="61" y="307"/>
                    <a:pt x="61" y="307"/>
                    <a:pt x="61" y="307"/>
                  </a:cubicBezTo>
                  <a:cubicBezTo>
                    <a:pt x="61" y="307"/>
                    <a:pt x="61" y="307"/>
                    <a:pt x="61" y="307"/>
                  </a:cubicBezTo>
                  <a:cubicBezTo>
                    <a:pt x="61" y="307"/>
                    <a:pt x="61" y="307"/>
                    <a:pt x="61" y="307"/>
                  </a:cubicBezTo>
                  <a:cubicBezTo>
                    <a:pt x="61" y="307"/>
                    <a:pt x="61" y="307"/>
                    <a:pt x="61" y="307"/>
                  </a:cubicBezTo>
                  <a:cubicBezTo>
                    <a:pt x="61" y="307"/>
                    <a:pt x="61" y="307"/>
                    <a:pt x="61" y="307"/>
                  </a:cubicBezTo>
                  <a:cubicBezTo>
                    <a:pt x="62" y="307"/>
                    <a:pt x="62" y="307"/>
                    <a:pt x="62" y="307"/>
                  </a:cubicBezTo>
                  <a:cubicBezTo>
                    <a:pt x="62" y="307"/>
                    <a:pt x="62" y="307"/>
                    <a:pt x="62" y="307"/>
                  </a:cubicBezTo>
                  <a:cubicBezTo>
                    <a:pt x="62" y="307"/>
                    <a:pt x="62" y="307"/>
                    <a:pt x="62" y="307"/>
                  </a:cubicBezTo>
                  <a:cubicBezTo>
                    <a:pt x="62" y="307"/>
                    <a:pt x="62" y="307"/>
                    <a:pt x="62" y="307"/>
                  </a:cubicBezTo>
                  <a:cubicBezTo>
                    <a:pt x="62" y="307"/>
                    <a:pt x="62" y="307"/>
                    <a:pt x="62" y="307"/>
                  </a:cubicBezTo>
                  <a:cubicBezTo>
                    <a:pt x="63" y="307"/>
                    <a:pt x="63" y="307"/>
                    <a:pt x="63" y="307"/>
                  </a:cubicBezTo>
                  <a:cubicBezTo>
                    <a:pt x="63" y="307"/>
                    <a:pt x="63" y="307"/>
                    <a:pt x="63" y="307"/>
                  </a:cubicBezTo>
                  <a:cubicBezTo>
                    <a:pt x="63" y="307"/>
                    <a:pt x="63" y="307"/>
                    <a:pt x="63" y="307"/>
                  </a:cubicBezTo>
                  <a:cubicBezTo>
                    <a:pt x="63" y="307"/>
                    <a:pt x="63" y="307"/>
                    <a:pt x="63" y="307"/>
                  </a:cubicBezTo>
                  <a:cubicBezTo>
                    <a:pt x="63" y="307"/>
                    <a:pt x="63" y="307"/>
                    <a:pt x="63" y="307"/>
                  </a:cubicBezTo>
                  <a:cubicBezTo>
                    <a:pt x="64" y="307"/>
                    <a:pt x="64" y="307"/>
                    <a:pt x="64" y="307"/>
                  </a:cubicBezTo>
                  <a:cubicBezTo>
                    <a:pt x="64" y="307"/>
                    <a:pt x="64" y="307"/>
                    <a:pt x="64" y="307"/>
                  </a:cubicBezTo>
                  <a:cubicBezTo>
                    <a:pt x="64" y="307"/>
                    <a:pt x="64" y="307"/>
                    <a:pt x="64" y="307"/>
                  </a:cubicBezTo>
                  <a:cubicBezTo>
                    <a:pt x="64" y="307"/>
                    <a:pt x="64" y="307"/>
                    <a:pt x="64" y="307"/>
                  </a:cubicBezTo>
                  <a:cubicBezTo>
                    <a:pt x="64" y="307"/>
                    <a:pt x="64" y="307"/>
                    <a:pt x="64"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5" y="307"/>
                    <a:pt x="65" y="307"/>
                    <a:pt x="65" y="307"/>
                  </a:cubicBezTo>
                  <a:cubicBezTo>
                    <a:pt x="66" y="307"/>
                    <a:pt x="66" y="307"/>
                    <a:pt x="66" y="307"/>
                  </a:cubicBezTo>
                  <a:cubicBezTo>
                    <a:pt x="66" y="307"/>
                    <a:pt x="66" y="307"/>
                    <a:pt x="66" y="307"/>
                  </a:cubicBezTo>
                  <a:cubicBezTo>
                    <a:pt x="83" y="307"/>
                    <a:pt x="83" y="307"/>
                    <a:pt x="83" y="307"/>
                  </a:cubicBezTo>
                  <a:cubicBezTo>
                    <a:pt x="83" y="307"/>
                    <a:pt x="83" y="307"/>
                    <a:pt x="83" y="307"/>
                  </a:cubicBezTo>
                  <a:cubicBezTo>
                    <a:pt x="84" y="307"/>
                    <a:pt x="84" y="307"/>
                    <a:pt x="84" y="307"/>
                  </a:cubicBezTo>
                  <a:cubicBezTo>
                    <a:pt x="84" y="307"/>
                    <a:pt x="84" y="307"/>
                    <a:pt x="84" y="307"/>
                  </a:cubicBezTo>
                  <a:cubicBezTo>
                    <a:pt x="84" y="307"/>
                    <a:pt x="84" y="307"/>
                    <a:pt x="84" y="307"/>
                  </a:cubicBezTo>
                  <a:cubicBezTo>
                    <a:pt x="84" y="307"/>
                    <a:pt x="84" y="307"/>
                    <a:pt x="84" y="307"/>
                  </a:cubicBezTo>
                  <a:cubicBezTo>
                    <a:pt x="84" y="307"/>
                    <a:pt x="84" y="307"/>
                    <a:pt x="84" y="307"/>
                  </a:cubicBezTo>
                  <a:cubicBezTo>
                    <a:pt x="85" y="307"/>
                    <a:pt x="85" y="307"/>
                    <a:pt x="85" y="307"/>
                  </a:cubicBezTo>
                  <a:cubicBezTo>
                    <a:pt x="85" y="307"/>
                    <a:pt x="85" y="307"/>
                    <a:pt x="85" y="307"/>
                  </a:cubicBezTo>
                  <a:cubicBezTo>
                    <a:pt x="85" y="307"/>
                    <a:pt x="85" y="307"/>
                    <a:pt x="85" y="307"/>
                  </a:cubicBezTo>
                  <a:cubicBezTo>
                    <a:pt x="85" y="307"/>
                    <a:pt x="85" y="307"/>
                    <a:pt x="85" y="307"/>
                  </a:cubicBezTo>
                  <a:cubicBezTo>
                    <a:pt x="85" y="307"/>
                    <a:pt x="85" y="307"/>
                    <a:pt x="85" y="307"/>
                  </a:cubicBezTo>
                  <a:cubicBezTo>
                    <a:pt x="86" y="307"/>
                    <a:pt x="86" y="307"/>
                    <a:pt x="86" y="307"/>
                  </a:cubicBezTo>
                  <a:cubicBezTo>
                    <a:pt x="86" y="307"/>
                    <a:pt x="86" y="307"/>
                    <a:pt x="86" y="307"/>
                  </a:cubicBezTo>
                  <a:cubicBezTo>
                    <a:pt x="86" y="307"/>
                    <a:pt x="86" y="307"/>
                    <a:pt x="86" y="307"/>
                  </a:cubicBezTo>
                  <a:cubicBezTo>
                    <a:pt x="86" y="307"/>
                    <a:pt x="86" y="307"/>
                    <a:pt x="86" y="307"/>
                  </a:cubicBezTo>
                  <a:cubicBezTo>
                    <a:pt x="86" y="307"/>
                    <a:pt x="86" y="307"/>
                    <a:pt x="86" y="307"/>
                  </a:cubicBezTo>
                  <a:cubicBezTo>
                    <a:pt x="87" y="307"/>
                    <a:pt x="87" y="307"/>
                    <a:pt x="87" y="307"/>
                  </a:cubicBezTo>
                  <a:cubicBezTo>
                    <a:pt x="87" y="307"/>
                    <a:pt x="87" y="307"/>
                    <a:pt x="87" y="307"/>
                  </a:cubicBezTo>
                  <a:cubicBezTo>
                    <a:pt x="87" y="307"/>
                    <a:pt x="87" y="307"/>
                    <a:pt x="87" y="307"/>
                  </a:cubicBezTo>
                  <a:cubicBezTo>
                    <a:pt x="87" y="307"/>
                    <a:pt x="87" y="307"/>
                    <a:pt x="87" y="307"/>
                  </a:cubicBezTo>
                  <a:cubicBezTo>
                    <a:pt x="87" y="307"/>
                    <a:pt x="87" y="307"/>
                    <a:pt x="87" y="307"/>
                  </a:cubicBezTo>
                  <a:cubicBezTo>
                    <a:pt x="87" y="307"/>
                    <a:pt x="87" y="307"/>
                    <a:pt x="87" y="307"/>
                  </a:cubicBezTo>
                  <a:cubicBezTo>
                    <a:pt x="88" y="307"/>
                    <a:pt x="88" y="307"/>
                    <a:pt x="88" y="307"/>
                  </a:cubicBezTo>
                  <a:cubicBezTo>
                    <a:pt x="88" y="307"/>
                    <a:pt x="88" y="307"/>
                    <a:pt x="88" y="307"/>
                  </a:cubicBezTo>
                  <a:cubicBezTo>
                    <a:pt x="88" y="307"/>
                    <a:pt x="88" y="307"/>
                    <a:pt x="88" y="307"/>
                  </a:cubicBezTo>
                  <a:cubicBezTo>
                    <a:pt x="88" y="307"/>
                    <a:pt x="88" y="307"/>
                    <a:pt x="88" y="307"/>
                  </a:cubicBezTo>
                  <a:cubicBezTo>
                    <a:pt x="88" y="307"/>
                    <a:pt x="88" y="307"/>
                    <a:pt x="88" y="307"/>
                  </a:cubicBezTo>
                  <a:cubicBezTo>
                    <a:pt x="89" y="307"/>
                    <a:pt x="89" y="307"/>
                    <a:pt x="89" y="307"/>
                  </a:cubicBezTo>
                  <a:cubicBezTo>
                    <a:pt x="89" y="307"/>
                    <a:pt x="89" y="307"/>
                    <a:pt x="89" y="307"/>
                  </a:cubicBezTo>
                  <a:cubicBezTo>
                    <a:pt x="89" y="307"/>
                    <a:pt x="89" y="307"/>
                    <a:pt x="89" y="307"/>
                  </a:cubicBezTo>
                  <a:cubicBezTo>
                    <a:pt x="89" y="307"/>
                    <a:pt x="89" y="307"/>
                    <a:pt x="89" y="307"/>
                  </a:cubicBezTo>
                  <a:cubicBezTo>
                    <a:pt x="89" y="307"/>
                    <a:pt x="89" y="307"/>
                    <a:pt x="89" y="307"/>
                  </a:cubicBezTo>
                  <a:cubicBezTo>
                    <a:pt x="89" y="307"/>
                    <a:pt x="89" y="307"/>
                    <a:pt x="89" y="307"/>
                  </a:cubicBezTo>
                  <a:cubicBezTo>
                    <a:pt x="90" y="307"/>
                    <a:pt x="90" y="307"/>
                    <a:pt x="90" y="307"/>
                  </a:cubicBezTo>
                  <a:cubicBezTo>
                    <a:pt x="90" y="307"/>
                    <a:pt x="90" y="307"/>
                    <a:pt x="90" y="307"/>
                  </a:cubicBezTo>
                  <a:cubicBezTo>
                    <a:pt x="90" y="307"/>
                    <a:pt x="90" y="307"/>
                    <a:pt x="90" y="307"/>
                  </a:cubicBezTo>
                  <a:cubicBezTo>
                    <a:pt x="90" y="307"/>
                    <a:pt x="90" y="307"/>
                    <a:pt x="90" y="307"/>
                  </a:cubicBezTo>
                  <a:cubicBezTo>
                    <a:pt x="90" y="307"/>
                    <a:pt x="90" y="307"/>
                    <a:pt x="90" y="307"/>
                  </a:cubicBezTo>
                  <a:close/>
                  <a:moveTo>
                    <a:pt x="90" y="407"/>
                  </a:moveTo>
                  <a:cubicBezTo>
                    <a:pt x="90" y="423"/>
                    <a:pt x="90" y="423"/>
                    <a:pt x="90" y="423"/>
                  </a:cubicBezTo>
                  <a:cubicBezTo>
                    <a:pt x="83" y="423"/>
                    <a:pt x="83" y="423"/>
                    <a:pt x="83" y="423"/>
                  </a:cubicBezTo>
                  <a:cubicBezTo>
                    <a:pt x="66" y="423"/>
                    <a:pt x="66" y="423"/>
                    <a:pt x="66" y="423"/>
                  </a:cubicBezTo>
                  <a:cubicBezTo>
                    <a:pt x="66" y="423"/>
                    <a:pt x="66" y="423"/>
                    <a:pt x="66" y="423"/>
                  </a:cubicBezTo>
                  <a:cubicBezTo>
                    <a:pt x="65" y="423"/>
                    <a:pt x="65" y="423"/>
                    <a:pt x="65" y="423"/>
                  </a:cubicBezTo>
                  <a:cubicBezTo>
                    <a:pt x="65" y="423"/>
                    <a:pt x="65" y="423"/>
                    <a:pt x="65" y="423"/>
                  </a:cubicBezTo>
                  <a:cubicBezTo>
                    <a:pt x="65" y="423"/>
                    <a:pt x="65" y="423"/>
                    <a:pt x="65" y="423"/>
                  </a:cubicBezTo>
                  <a:cubicBezTo>
                    <a:pt x="65" y="423"/>
                    <a:pt x="65" y="423"/>
                    <a:pt x="65" y="423"/>
                  </a:cubicBezTo>
                  <a:cubicBezTo>
                    <a:pt x="65" y="423"/>
                    <a:pt x="65" y="423"/>
                    <a:pt x="65" y="423"/>
                  </a:cubicBezTo>
                  <a:cubicBezTo>
                    <a:pt x="65" y="423"/>
                    <a:pt x="65" y="423"/>
                    <a:pt x="65" y="423"/>
                  </a:cubicBezTo>
                  <a:cubicBezTo>
                    <a:pt x="64" y="423"/>
                    <a:pt x="64" y="423"/>
                    <a:pt x="64" y="423"/>
                  </a:cubicBezTo>
                  <a:cubicBezTo>
                    <a:pt x="64" y="423"/>
                    <a:pt x="64" y="423"/>
                    <a:pt x="64" y="423"/>
                  </a:cubicBezTo>
                  <a:cubicBezTo>
                    <a:pt x="64" y="423"/>
                    <a:pt x="64" y="423"/>
                    <a:pt x="64" y="423"/>
                  </a:cubicBezTo>
                  <a:cubicBezTo>
                    <a:pt x="64" y="423"/>
                    <a:pt x="64" y="423"/>
                    <a:pt x="64" y="423"/>
                  </a:cubicBezTo>
                  <a:cubicBezTo>
                    <a:pt x="64" y="423"/>
                    <a:pt x="64" y="423"/>
                    <a:pt x="64" y="423"/>
                  </a:cubicBezTo>
                  <a:cubicBezTo>
                    <a:pt x="63" y="423"/>
                    <a:pt x="63" y="423"/>
                    <a:pt x="63" y="423"/>
                  </a:cubicBezTo>
                  <a:cubicBezTo>
                    <a:pt x="63" y="423"/>
                    <a:pt x="63" y="423"/>
                    <a:pt x="63" y="423"/>
                  </a:cubicBezTo>
                  <a:cubicBezTo>
                    <a:pt x="63" y="423"/>
                    <a:pt x="63" y="423"/>
                    <a:pt x="63" y="423"/>
                  </a:cubicBezTo>
                  <a:cubicBezTo>
                    <a:pt x="63" y="423"/>
                    <a:pt x="63" y="423"/>
                    <a:pt x="63" y="423"/>
                  </a:cubicBezTo>
                  <a:cubicBezTo>
                    <a:pt x="63" y="423"/>
                    <a:pt x="63" y="423"/>
                    <a:pt x="63" y="423"/>
                  </a:cubicBezTo>
                  <a:cubicBezTo>
                    <a:pt x="62" y="423"/>
                    <a:pt x="62" y="423"/>
                    <a:pt x="62" y="423"/>
                  </a:cubicBezTo>
                  <a:cubicBezTo>
                    <a:pt x="62" y="423"/>
                    <a:pt x="62" y="423"/>
                    <a:pt x="62" y="423"/>
                  </a:cubicBezTo>
                  <a:cubicBezTo>
                    <a:pt x="62" y="423"/>
                    <a:pt x="62" y="423"/>
                    <a:pt x="62" y="423"/>
                  </a:cubicBezTo>
                  <a:cubicBezTo>
                    <a:pt x="62" y="423"/>
                    <a:pt x="62" y="423"/>
                    <a:pt x="62" y="423"/>
                  </a:cubicBezTo>
                  <a:cubicBezTo>
                    <a:pt x="62" y="423"/>
                    <a:pt x="62" y="423"/>
                    <a:pt x="62" y="423"/>
                  </a:cubicBezTo>
                  <a:cubicBezTo>
                    <a:pt x="61" y="423"/>
                    <a:pt x="61" y="423"/>
                    <a:pt x="61" y="423"/>
                  </a:cubicBezTo>
                  <a:cubicBezTo>
                    <a:pt x="61" y="423"/>
                    <a:pt x="61" y="423"/>
                    <a:pt x="61" y="423"/>
                  </a:cubicBezTo>
                  <a:cubicBezTo>
                    <a:pt x="61" y="423"/>
                    <a:pt x="61" y="423"/>
                    <a:pt x="61" y="423"/>
                  </a:cubicBezTo>
                  <a:cubicBezTo>
                    <a:pt x="61" y="423"/>
                    <a:pt x="61" y="423"/>
                    <a:pt x="61" y="423"/>
                  </a:cubicBezTo>
                  <a:cubicBezTo>
                    <a:pt x="60" y="423"/>
                    <a:pt x="60" y="423"/>
                    <a:pt x="60" y="423"/>
                  </a:cubicBezTo>
                  <a:cubicBezTo>
                    <a:pt x="60" y="423"/>
                    <a:pt x="60" y="423"/>
                    <a:pt x="60" y="423"/>
                  </a:cubicBezTo>
                  <a:cubicBezTo>
                    <a:pt x="60" y="423"/>
                    <a:pt x="60" y="423"/>
                    <a:pt x="60" y="423"/>
                  </a:cubicBezTo>
                  <a:cubicBezTo>
                    <a:pt x="60" y="423"/>
                    <a:pt x="60" y="423"/>
                    <a:pt x="60" y="423"/>
                  </a:cubicBezTo>
                  <a:cubicBezTo>
                    <a:pt x="60" y="423"/>
                    <a:pt x="60" y="423"/>
                    <a:pt x="60" y="423"/>
                  </a:cubicBezTo>
                  <a:cubicBezTo>
                    <a:pt x="60" y="423"/>
                    <a:pt x="60" y="423"/>
                    <a:pt x="60" y="423"/>
                  </a:cubicBezTo>
                  <a:cubicBezTo>
                    <a:pt x="59" y="423"/>
                    <a:pt x="59" y="423"/>
                    <a:pt x="59" y="423"/>
                  </a:cubicBezTo>
                  <a:cubicBezTo>
                    <a:pt x="59" y="423"/>
                    <a:pt x="59" y="423"/>
                    <a:pt x="59" y="423"/>
                  </a:cubicBezTo>
                  <a:cubicBezTo>
                    <a:pt x="59" y="423"/>
                    <a:pt x="59" y="423"/>
                    <a:pt x="59" y="423"/>
                  </a:cubicBezTo>
                  <a:cubicBezTo>
                    <a:pt x="59" y="423"/>
                    <a:pt x="59" y="423"/>
                    <a:pt x="59" y="423"/>
                  </a:cubicBezTo>
                  <a:cubicBezTo>
                    <a:pt x="59" y="407"/>
                    <a:pt x="59" y="407"/>
                    <a:pt x="59" y="407"/>
                  </a:cubicBezTo>
                  <a:cubicBezTo>
                    <a:pt x="59" y="407"/>
                    <a:pt x="59" y="407"/>
                    <a:pt x="59" y="407"/>
                  </a:cubicBezTo>
                  <a:cubicBezTo>
                    <a:pt x="59" y="407"/>
                    <a:pt x="59" y="407"/>
                    <a:pt x="59" y="407"/>
                  </a:cubicBezTo>
                  <a:cubicBezTo>
                    <a:pt x="59" y="407"/>
                    <a:pt x="59" y="407"/>
                    <a:pt x="59" y="407"/>
                  </a:cubicBezTo>
                  <a:cubicBezTo>
                    <a:pt x="60" y="407"/>
                    <a:pt x="60" y="407"/>
                    <a:pt x="60" y="407"/>
                  </a:cubicBezTo>
                  <a:cubicBezTo>
                    <a:pt x="60" y="407"/>
                    <a:pt x="60" y="407"/>
                    <a:pt x="60" y="407"/>
                  </a:cubicBezTo>
                  <a:cubicBezTo>
                    <a:pt x="60" y="407"/>
                    <a:pt x="60" y="407"/>
                    <a:pt x="60" y="407"/>
                  </a:cubicBezTo>
                  <a:cubicBezTo>
                    <a:pt x="60" y="407"/>
                    <a:pt x="60" y="407"/>
                    <a:pt x="60" y="407"/>
                  </a:cubicBezTo>
                  <a:cubicBezTo>
                    <a:pt x="60" y="407"/>
                    <a:pt x="60" y="407"/>
                    <a:pt x="60" y="407"/>
                  </a:cubicBezTo>
                  <a:cubicBezTo>
                    <a:pt x="60" y="407"/>
                    <a:pt x="60" y="407"/>
                    <a:pt x="60" y="407"/>
                  </a:cubicBezTo>
                  <a:cubicBezTo>
                    <a:pt x="61" y="407"/>
                    <a:pt x="61" y="407"/>
                    <a:pt x="61" y="407"/>
                  </a:cubicBezTo>
                  <a:cubicBezTo>
                    <a:pt x="61" y="407"/>
                    <a:pt x="61" y="407"/>
                    <a:pt x="61" y="407"/>
                  </a:cubicBezTo>
                  <a:cubicBezTo>
                    <a:pt x="61" y="407"/>
                    <a:pt x="61" y="407"/>
                    <a:pt x="61" y="407"/>
                  </a:cubicBezTo>
                  <a:cubicBezTo>
                    <a:pt x="61" y="407"/>
                    <a:pt x="61" y="407"/>
                    <a:pt x="61" y="407"/>
                  </a:cubicBezTo>
                  <a:cubicBezTo>
                    <a:pt x="61" y="407"/>
                    <a:pt x="61" y="407"/>
                    <a:pt x="61" y="407"/>
                  </a:cubicBezTo>
                  <a:cubicBezTo>
                    <a:pt x="62" y="407"/>
                    <a:pt x="62" y="407"/>
                    <a:pt x="62" y="407"/>
                  </a:cubicBezTo>
                  <a:cubicBezTo>
                    <a:pt x="62" y="407"/>
                    <a:pt x="62" y="407"/>
                    <a:pt x="62" y="407"/>
                  </a:cubicBezTo>
                  <a:cubicBezTo>
                    <a:pt x="62" y="407"/>
                    <a:pt x="62" y="407"/>
                    <a:pt x="62" y="407"/>
                  </a:cubicBezTo>
                  <a:cubicBezTo>
                    <a:pt x="62" y="407"/>
                    <a:pt x="62" y="407"/>
                    <a:pt x="62" y="407"/>
                  </a:cubicBezTo>
                  <a:cubicBezTo>
                    <a:pt x="62" y="407"/>
                    <a:pt x="62" y="407"/>
                    <a:pt x="62" y="407"/>
                  </a:cubicBezTo>
                  <a:cubicBezTo>
                    <a:pt x="63" y="407"/>
                    <a:pt x="63" y="407"/>
                    <a:pt x="63" y="407"/>
                  </a:cubicBezTo>
                  <a:cubicBezTo>
                    <a:pt x="63" y="407"/>
                    <a:pt x="63" y="407"/>
                    <a:pt x="63" y="407"/>
                  </a:cubicBezTo>
                  <a:cubicBezTo>
                    <a:pt x="63" y="407"/>
                    <a:pt x="63" y="407"/>
                    <a:pt x="63" y="407"/>
                  </a:cubicBezTo>
                  <a:cubicBezTo>
                    <a:pt x="63" y="407"/>
                    <a:pt x="63" y="407"/>
                    <a:pt x="63" y="407"/>
                  </a:cubicBezTo>
                  <a:cubicBezTo>
                    <a:pt x="63" y="407"/>
                    <a:pt x="63" y="407"/>
                    <a:pt x="63" y="407"/>
                  </a:cubicBezTo>
                  <a:cubicBezTo>
                    <a:pt x="63" y="407"/>
                    <a:pt x="63" y="407"/>
                    <a:pt x="63" y="407"/>
                  </a:cubicBezTo>
                  <a:cubicBezTo>
                    <a:pt x="64" y="407"/>
                    <a:pt x="64" y="407"/>
                    <a:pt x="64" y="407"/>
                  </a:cubicBezTo>
                  <a:cubicBezTo>
                    <a:pt x="64" y="407"/>
                    <a:pt x="64" y="407"/>
                    <a:pt x="64" y="407"/>
                  </a:cubicBezTo>
                  <a:cubicBezTo>
                    <a:pt x="64" y="407"/>
                    <a:pt x="64" y="407"/>
                    <a:pt x="64" y="407"/>
                  </a:cubicBezTo>
                  <a:cubicBezTo>
                    <a:pt x="64" y="407"/>
                    <a:pt x="64" y="407"/>
                    <a:pt x="64" y="407"/>
                  </a:cubicBezTo>
                  <a:cubicBezTo>
                    <a:pt x="65" y="407"/>
                    <a:pt x="65" y="407"/>
                    <a:pt x="65" y="407"/>
                  </a:cubicBezTo>
                  <a:cubicBezTo>
                    <a:pt x="65" y="407"/>
                    <a:pt x="65" y="407"/>
                    <a:pt x="65" y="407"/>
                  </a:cubicBezTo>
                  <a:cubicBezTo>
                    <a:pt x="65" y="407"/>
                    <a:pt x="65" y="407"/>
                    <a:pt x="65" y="407"/>
                  </a:cubicBezTo>
                  <a:cubicBezTo>
                    <a:pt x="65" y="407"/>
                    <a:pt x="65" y="407"/>
                    <a:pt x="65" y="407"/>
                  </a:cubicBezTo>
                  <a:cubicBezTo>
                    <a:pt x="65" y="407"/>
                    <a:pt x="65" y="407"/>
                    <a:pt x="65" y="407"/>
                  </a:cubicBezTo>
                  <a:cubicBezTo>
                    <a:pt x="65" y="407"/>
                    <a:pt x="65" y="407"/>
                    <a:pt x="65" y="407"/>
                  </a:cubicBezTo>
                  <a:cubicBezTo>
                    <a:pt x="66" y="407"/>
                    <a:pt x="66" y="407"/>
                    <a:pt x="66" y="407"/>
                  </a:cubicBezTo>
                  <a:cubicBezTo>
                    <a:pt x="66" y="407"/>
                    <a:pt x="66" y="407"/>
                    <a:pt x="66" y="407"/>
                  </a:cubicBezTo>
                  <a:cubicBezTo>
                    <a:pt x="66" y="407"/>
                    <a:pt x="66" y="407"/>
                    <a:pt x="66" y="407"/>
                  </a:cubicBezTo>
                  <a:cubicBezTo>
                    <a:pt x="83" y="407"/>
                    <a:pt x="83" y="407"/>
                    <a:pt x="83" y="407"/>
                  </a:cubicBezTo>
                  <a:cubicBezTo>
                    <a:pt x="83" y="407"/>
                    <a:pt x="83" y="407"/>
                    <a:pt x="83" y="407"/>
                  </a:cubicBezTo>
                  <a:cubicBezTo>
                    <a:pt x="84" y="407"/>
                    <a:pt x="84" y="407"/>
                    <a:pt x="84" y="407"/>
                  </a:cubicBezTo>
                  <a:cubicBezTo>
                    <a:pt x="84" y="407"/>
                    <a:pt x="84" y="407"/>
                    <a:pt x="84" y="407"/>
                  </a:cubicBezTo>
                  <a:cubicBezTo>
                    <a:pt x="84" y="407"/>
                    <a:pt x="84" y="407"/>
                    <a:pt x="84" y="407"/>
                  </a:cubicBezTo>
                  <a:cubicBezTo>
                    <a:pt x="84" y="407"/>
                    <a:pt x="84" y="407"/>
                    <a:pt x="84" y="407"/>
                  </a:cubicBezTo>
                  <a:cubicBezTo>
                    <a:pt x="85" y="407"/>
                    <a:pt x="85" y="407"/>
                    <a:pt x="85" y="407"/>
                  </a:cubicBezTo>
                  <a:cubicBezTo>
                    <a:pt x="85" y="407"/>
                    <a:pt x="85" y="407"/>
                    <a:pt x="85" y="407"/>
                  </a:cubicBezTo>
                  <a:cubicBezTo>
                    <a:pt x="85" y="407"/>
                    <a:pt x="85" y="407"/>
                    <a:pt x="85" y="407"/>
                  </a:cubicBezTo>
                  <a:cubicBezTo>
                    <a:pt x="85" y="407"/>
                    <a:pt x="85" y="407"/>
                    <a:pt x="85" y="407"/>
                  </a:cubicBezTo>
                  <a:cubicBezTo>
                    <a:pt x="85" y="407"/>
                    <a:pt x="85" y="407"/>
                    <a:pt x="85" y="407"/>
                  </a:cubicBezTo>
                  <a:cubicBezTo>
                    <a:pt x="86" y="407"/>
                    <a:pt x="86" y="407"/>
                    <a:pt x="86" y="407"/>
                  </a:cubicBezTo>
                  <a:cubicBezTo>
                    <a:pt x="86" y="407"/>
                    <a:pt x="86" y="407"/>
                    <a:pt x="86" y="407"/>
                  </a:cubicBezTo>
                  <a:cubicBezTo>
                    <a:pt x="86" y="407"/>
                    <a:pt x="86" y="407"/>
                    <a:pt x="86" y="407"/>
                  </a:cubicBezTo>
                  <a:cubicBezTo>
                    <a:pt x="86" y="407"/>
                    <a:pt x="86" y="407"/>
                    <a:pt x="86" y="407"/>
                  </a:cubicBezTo>
                  <a:cubicBezTo>
                    <a:pt x="87" y="407"/>
                    <a:pt x="87" y="407"/>
                    <a:pt x="87" y="407"/>
                  </a:cubicBezTo>
                  <a:cubicBezTo>
                    <a:pt x="87" y="407"/>
                    <a:pt x="87" y="407"/>
                    <a:pt x="87" y="407"/>
                  </a:cubicBezTo>
                  <a:cubicBezTo>
                    <a:pt x="87" y="407"/>
                    <a:pt x="87" y="407"/>
                    <a:pt x="87" y="407"/>
                  </a:cubicBezTo>
                  <a:cubicBezTo>
                    <a:pt x="87" y="407"/>
                    <a:pt x="87" y="407"/>
                    <a:pt x="87" y="407"/>
                  </a:cubicBezTo>
                  <a:cubicBezTo>
                    <a:pt x="87" y="407"/>
                    <a:pt x="87" y="407"/>
                    <a:pt x="87" y="407"/>
                  </a:cubicBezTo>
                  <a:cubicBezTo>
                    <a:pt x="88" y="407"/>
                    <a:pt x="88" y="407"/>
                    <a:pt x="88" y="407"/>
                  </a:cubicBezTo>
                  <a:cubicBezTo>
                    <a:pt x="88" y="407"/>
                    <a:pt x="88" y="407"/>
                    <a:pt x="88" y="407"/>
                  </a:cubicBezTo>
                  <a:cubicBezTo>
                    <a:pt x="88" y="407"/>
                    <a:pt x="88" y="407"/>
                    <a:pt x="88" y="407"/>
                  </a:cubicBezTo>
                  <a:cubicBezTo>
                    <a:pt x="88" y="407"/>
                    <a:pt x="88" y="407"/>
                    <a:pt x="88" y="407"/>
                  </a:cubicBezTo>
                  <a:cubicBezTo>
                    <a:pt x="89" y="407"/>
                    <a:pt x="89" y="407"/>
                    <a:pt x="89" y="407"/>
                  </a:cubicBezTo>
                  <a:cubicBezTo>
                    <a:pt x="89" y="407"/>
                    <a:pt x="89" y="407"/>
                    <a:pt x="89" y="407"/>
                  </a:cubicBezTo>
                  <a:cubicBezTo>
                    <a:pt x="89" y="407"/>
                    <a:pt x="89" y="407"/>
                    <a:pt x="89" y="407"/>
                  </a:cubicBezTo>
                  <a:cubicBezTo>
                    <a:pt x="89" y="407"/>
                    <a:pt x="89" y="407"/>
                    <a:pt x="89" y="407"/>
                  </a:cubicBezTo>
                  <a:cubicBezTo>
                    <a:pt x="89" y="407"/>
                    <a:pt x="89" y="407"/>
                    <a:pt x="89" y="407"/>
                  </a:cubicBezTo>
                  <a:cubicBezTo>
                    <a:pt x="90" y="407"/>
                    <a:pt x="90" y="407"/>
                    <a:pt x="90" y="407"/>
                  </a:cubicBezTo>
                  <a:cubicBezTo>
                    <a:pt x="90" y="407"/>
                    <a:pt x="90" y="407"/>
                    <a:pt x="90" y="407"/>
                  </a:cubicBezTo>
                  <a:cubicBezTo>
                    <a:pt x="90" y="407"/>
                    <a:pt x="90" y="407"/>
                    <a:pt x="90" y="407"/>
                  </a:cubicBezTo>
                  <a:cubicBezTo>
                    <a:pt x="90" y="407"/>
                    <a:pt x="90" y="407"/>
                    <a:pt x="90" y="407"/>
                  </a:cubicBezTo>
                  <a:close/>
                  <a:moveTo>
                    <a:pt x="27" y="0"/>
                  </a:moveTo>
                  <a:cubicBezTo>
                    <a:pt x="59" y="0"/>
                    <a:pt x="59" y="0"/>
                    <a:pt x="59" y="0"/>
                  </a:cubicBezTo>
                  <a:cubicBezTo>
                    <a:pt x="59" y="20"/>
                    <a:pt x="59" y="20"/>
                    <a:pt x="59" y="20"/>
                  </a:cubicBezTo>
                  <a:cubicBezTo>
                    <a:pt x="52" y="20"/>
                    <a:pt x="52" y="20"/>
                    <a:pt x="52" y="20"/>
                  </a:cubicBezTo>
                  <a:cubicBezTo>
                    <a:pt x="52" y="32"/>
                    <a:pt x="52" y="43"/>
                    <a:pt x="52" y="55"/>
                  </a:cubicBezTo>
                  <a:cubicBezTo>
                    <a:pt x="59" y="55"/>
                    <a:pt x="59" y="55"/>
                    <a:pt x="59" y="55"/>
                  </a:cubicBezTo>
                  <a:cubicBezTo>
                    <a:pt x="59" y="70"/>
                    <a:pt x="59" y="70"/>
                    <a:pt x="59" y="70"/>
                  </a:cubicBezTo>
                  <a:cubicBezTo>
                    <a:pt x="59" y="70"/>
                    <a:pt x="59" y="70"/>
                    <a:pt x="59" y="70"/>
                  </a:cubicBezTo>
                  <a:cubicBezTo>
                    <a:pt x="58" y="70"/>
                    <a:pt x="58" y="70"/>
                    <a:pt x="58" y="70"/>
                  </a:cubicBezTo>
                  <a:cubicBezTo>
                    <a:pt x="58" y="70"/>
                    <a:pt x="58" y="70"/>
                    <a:pt x="58" y="70"/>
                  </a:cubicBezTo>
                  <a:cubicBezTo>
                    <a:pt x="58" y="70"/>
                    <a:pt x="58" y="70"/>
                    <a:pt x="58" y="70"/>
                  </a:cubicBezTo>
                  <a:cubicBezTo>
                    <a:pt x="58" y="70"/>
                    <a:pt x="58" y="70"/>
                    <a:pt x="58" y="70"/>
                  </a:cubicBezTo>
                  <a:cubicBezTo>
                    <a:pt x="58" y="70"/>
                    <a:pt x="58" y="70"/>
                    <a:pt x="58" y="70"/>
                  </a:cubicBezTo>
                  <a:cubicBezTo>
                    <a:pt x="58" y="70"/>
                    <a:pt x="58" y="70"/>
                    <a:pt x="58" y="70"/>
                  </a:cubicBezTo>
                  <a:cubicBezTo>
                    <a:pt x="57" y="70"/>
                    <a:pt x="57" y="70"/>
                    <a:pt x="57" y="70"/>
                  </a:cubicBezTo>
                  <a:cubicBezTo>
                    <a:pt x="57" y="70"/>
                    <a:pt x="57" y="70"/>
                    <a:pt x="57" y="70"/>
                  </a:cubicBezTo>
                  <a:cubicBezTo>
                    <a:pt x="57" y="70"/>
                    <a:pt x="57" y="70"/>
                    <a:pt x="57" y="70"/>
                  </a:cubicBezTo>
                  <a:cubicBezTo>
                    <a:pt x="57" y="70"/>
                    <a:pt x="57" y="70"/>
                    <a:pt x="57" y="70"/>
                  </a:cubicBezTo>
                  <a:cubicBezTo>
                    <a:pt x="56" y="70"/>
                    <a:pt x="56" y="70"/>
                    <a:pt x="56" y="70"/>
                  </a:cubicBezTo>
                  <a:cubicBezTo>
                    <a:pt x="56" y="70"/>
                    <a:pt x="56" y="70"/>
                    <a:pt x="56" y="70"/>
                  </a:cubicBezTo>
                  <a:cubicBezTo>
                    <a:pt x="56" y="70"/>
                    <a:pt x="56" y="70"/>
                    <a:pt x="56" y="70"/>
                  </a:cubicBezTo>
                  <a:cubicBezTo>
                    <a:pt x="56" y="70"/>
                    <a:pt x="56" y="70"/>
                    <a:pt x="56" y="70"/>
                  </a:cubicBezTo>
                  <a:cubicBezTo>
                    <a:pt x="56" y="70"/>
                    <a:pt x="56" y="70"/>
                    <a:pt x="56" y="70"/>
                  </a:cubicBezTo>
                  <a:cubicBezTo>
                    <a:pt x="56" y="70"/>
                    <a:pt x="56" y="70"/>
                    <a:pt x="56" y="70"/>
                  </a:cubicBezTo>
                  <a:cubicBezTo>
                    <a:pt x="55" y="70"/>
                    <a:pt x="55" y="70"/>
                    <a:pt x="55" y="70"/>
                  </a:cubicBezTo>
                  <a:cubicBezTo>
                    <a:pt x="55" y="70"/>
                    <a:pt x="55" y="70"/>
                    <a:pt x="55" y="70"/>
                  </a:cubicBezTo>
                  <a:cubicBezTo>
                    <a:pt x="55" y="70"/>
                    <a:pt x="55" y="70"/>
                    <a:pt x="55" y="70"/>
                  </a:cubicBezTo>
                  <a:cubicBezTo>
                    <a:pt x="55" y="70"/>
                    <a:pt x="55" y="70"/>
                    <a:pt x="55" y="70"/>
                  </a:cubicBezTo>
                  <a:cubicBezTo>
                    <a:pt x="55" y="70"/>
                    <a:pt x="55" y="70"/>
                    <a:pt x="55" y="70"/>
                  </a:cubicBezTo>
                  <a:cubicBezTo>
                    <a:pt x="54" y="70"/>
                    <a:pt x="54" y="70"/>
                    <a:pt x="54" y="70"/>
                  </a:cubicBezTo>
                  <a:cubicBezTo>
                    <a:pt x="54" y="70"/>
                    <a:pt x="54" y="70"/>
                    <a:pt x="54" y="70"/>
                  </a:cubicBezTo>
                  <a:cubicBezTo>
                    <a:pt x="54" y="70"/>
                    <a:pt x="54" y="70"/>
                    <a:pt x="54" y="70"/>
                  </a:cubicBezTo>
                  <a:cubicBezTo>
                    <a:pt x="54" y="70"/>
                    <a:pt x="54" y="70"/>
                    <a:pt x="54" y="70"/>
                  </a:cubicBezTo>
                  <a:cubicBezTo>
                    <a:pt x="54" y="70"/>
                    <a:pt x="54" y="70"/>
                    <a:pt x="54" y="70"/>
                  </a:cubicBezTo>
                  <a:cubicBezTo>
                    <a:pt x="54" y="70"/>
                    <a:pt x="54" y="70"/>
                    <a:pt x="54" y="70"/>
                  </a:cubicBezTo>
                  <a:cubicBezTo>
                    <a:pt x="53" y="70"/>
                    <a:pt x="53" y="70"/>
                    <a:pt x="53" y="70"/>
                  </a:cubicBezTo>
                  <a:cubicBezTo>
                    <a:pt x="53" y="70"/>
                    <a:pt x="53" y="70"/>
                    <a:pt x="53" y="70"/>
                  </a:cubicBezTo>
                  <a:cubicBezTo>
                    <a:pt x="53" y="70"/>
                    <a:pt x="53" y="70"/>
                    <a:pt x="53" y="70"/>
                  </a:cubicBezTo>
                  <a:cubicBezTo>
                    <a:pt x="53" y="70"/>
                    <a:pt x="53" y="70"/>
                    <a:pt x="53" y="70"/>
                  </a:cubicBezTo>
                  <a:cubicBezTo>
                    <a:pt x="53" y="70"/>
                    <a:pt x="53" y="70"/>
                    <a:pt x="53" y="70"/>
                  </a:cubicBezTo>
                  <a:cubicBezTo>
                    <a:pt x="52" y="70"/>
                    <a:pt x="52" y="70"/>
                    <a:pt x="52" y="70"/>
                  </a:cubicBezTo>
                  <a:cubicBezTo>
                    <a:pt x="52" y="70"/>
                    <a:pt x="52" y="70"/>
                    <a:pt x="52" y="70"/>
                  </a:cubicBezTo>
                  <a:cubicBezTo>
                    <a:pt x="52" y="70"/>
                    <a:pt x="52" y="70"/>
                    <a:pt x="52" y="70"/>
                  </a:cubicBezTo>
                  <a:cubicBezTo>
                    <a:pt x="52" y="70"/>
                    <a:pt x="52" y="70"/>
                    <a:pt x="52" y="70"/>
                  </a:cubicBezTo>
                  <a:cubicBezTo>
                    <a:pt x="52" y="70"/>
                    <a:pt x="52" y="70"/>
                    <a:pt x="52" y="70"/>
                  </a:cubicBezTo>
                  <a:cubicBezTo>
                    <a:pt x="52" y="82"/>
                    <a:pt x="52" y="94"/>
                    <a:pt x="52" y="105"/>
                  </a:cubicBezTo>
                  <a:cubicBezTo>
                    <a:pt x="52" y="105"/>
                    <a:pt x="52" y="105"/>
                    <a:pt x="52" y="105"/>
                  </a:cubicBezTo>
                  <a:cubicBezTo>
                    <a:pt x="52" y="105"/>
                    <a:pt x="52" y="105"/>
                    <a:pt x="52" y="105"/>
                  </a:cubicBezTo>
                  <a:cubicBezTo>
                    <a:pt x="52" y="105"/>
                    <a:pt x="52" y="105"/>
                    <a:pt x="52" y="105"/>
                  </a:cubicBezTo>
                  <a:cubicBezTo>
                    <a:pt x="52" y="105"/>
                    <a:pt x="52" y="105"/>
                    <a:pt x="52" y="105"/>
                  </a:cubicBezTo>
                  <a:cubicBezTo>
                    <a:pt x="53" y="105"/>
                    <a:pt x="53" y="105"/>
                    <a:pt x="53" y="105"/>
                  </a:cubicBezTo>
                  <a:cubicBezTo>
                    <a:pt x="53" y="105"/>
                    <a:pt x="53" y="105"/>
                    <a:pt x="53" y="105"/>
                  </a:cubicBezTo>
                  <a:cubicBezTo>
                    <a:pt x="53" y="105"/>
                    <a:pt x="53" y="105"/>
                    <a:pt x="53" y="105"/>
                  </a:cubicBezTo>
                  <a:cubicBezTo>
                    <a:pt x="53" y="105"/>
                    <a:pt x="53" y="105"/>
                    <a:pt x="53" y="105"/>
                  </a:cubicBezTo>
                  <a:cubicBezTo>
                    <a:pt x="53" y="105"/>
                    <a:pt x="53" y="105"/>
                    <a:pt x="53"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4" y="105"/>
                    <a:pt x="54" y="105"/>
                    <a:pt x="54" y="105"/>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6" y="105"/>
                    <a:pt x="56" y="105"/>
                    <a:pt x="56" y="105"/>
                  </a:cubicBezTo>
                  <a:cubicBezTo>
                    <a:pt x="56" y="105"/>
                    <a:pt x="56" y="105"/>
                    <a:pt x="56" y="105"/>
                  </a:cubicBezTo>
                  <a:cubicBezTo>
                    <a:pt x="56" y="105"/>
                    <a:pt x="56" y="105"/>
                    <a:pt x="56" y="105"/>
                  </a:cubicBezTo>
                  <a:cubicBezTo>
                    <a:pt x="56" y="105"/>
                    <a:pt x="56" y="105"/>
                    <a:pt x="56" y="105"/>
                  </a:cubicBezTo>
                  <a:cubicBezTo>
                    <a:pt x="56" y="105"/>
                    <a:pt x="56" y="105"/>
                    <a:pt x="56" y="105"/>
                  </a:cubicBezTo>
                  <a:cubicBezTo>
                    <a:pt x="56" y="105"/>
                    <a:pt x="56" y="105"/>
                    <a:pt x="56" y="105"/>
                  </a:cubicBezTo>
                  <a:cubicBezTo>
                    <a:pt x="57" y="105"/>
                    <a:pt x="57" y="105"/>
                    <a:pt x="57" y="105"/>
                  </a:cubicBezTo>
                  <a:cubicBezTo>
                    <a:pt x="57" y="105"/>
                    <a:pt x="57" y="105"/>
                    <a:pt x="57" y="105"/>
                  </a:cubicBezTo>
                  <a:cubicBezTo>
                    <a:pt x="57" y="105"/>
                    <a:pt x="57" y="105"/>
                    <a:pt x="57" y="105"/>
                  </a:cubicBezTo>
                  <a:cubicBezTo>
                    <a:pt x="57" y="105"/>
                    <a:pt x="57" y="105"/>
                    <a:pt x="57" y="105"/>
                  </a:cubicBezTo>
                  <a:cubicBezTo>
                    <a:pt x="58" y="105"/>
                    <a:pt x="58" y="105"/>
                    <a:pt x="58" y="105"/>
                  </a:cubicBezTo>
                  <a:cubicBezTo>
                    <a:pt x="58" y="105"/>
                    <a:pt x="58" y="105"/>
                    <a:pt x="58" y="105"/>
                  </a:cubicBezTo>
                  <a:cubicBezTo>
                    <a:pt x="58" y="105"/>
                    <a:pt x="58" y="105"/>
                    <a:pt x="58" y="105"/>
                  </a:cubicBezTo>
                  <a:cubicBezTo>
                    <a:pt x="58" y="105"/>
                    <a:pt x="58" y="105"/>
                    <a:pt x="58" y="105"/>
                  </a:cubicBezTo>
                  <a:cubicBezTo>
                    <a:pt x="58" y="105"/>
                    <a:pt x="58" y="105"/>
                    <a:pt x="58" y="105"/>
                  </a:cubicBezTo>
                  <a:cubicBezTo>
                    <a:pt x="58" y="105"/>
                    <a:pt x="58" y="105"/>
                    <a:pt x="58" y="105"/>
                  </a:cubicBezTo>
                  <a:cubicBezTo>
                    <a:pt x="59" y="105"/>
                    <a:pt x="59" y="105"/>
                    <a:pt x="59" y="105"/>
                  </a:cubicBezTo>
                  <a:cubicBezTo>
                    <a:pt x="59" y="105"/>
                    <a:pt x="59" y="105"/>
                    <a:pt x="59" y="105"/>
                  </a:cubicBezTo>
                  <a:cubicBezTo>
                    <a:pt x="59" y="121"/>
                    <a:pt x="59" y="121"/>
                    <a:pt x="59" y="121"/>
                  </a:cubicBezTo>
                  <a:cubicBezTo>
                    <a:pt x="52" y="121"/>
                    <a:pt x="52" y="121"/>
                    <a:pt x="52" y="121"/>
                  </a:cubicBezTo>
                  <a:cubicBezTo>
                    <a:pt x="52" y="132"/>
                    <a:pt x="52" y="144"/>
                    <a:pt x="52" y="156"/>
                  </a:cubicBezTo>
                  <a:cubicBezTo>
                    <a:pt x="59" y="156"/>
                    <a:pt x="59" y="156"/>
                    <a:pt x="59" y="156"/>
                  </a:cubicBezTo>
                  <a:cubicBezTo>
                    <a:pt x="59" y="171"/>
                    <a:pt x="59" y="171"/>
                    <a:pt x="59" y="171"/>
                  </a:cubicBezTo>
                  <a:cubicBezTo>
                    <a:pt x="59" y="171"/>
                    <a:pt x="59" y="171"/>
                    <a:pt x="59" y="171"/>
                  </a:cubicBezTo>
                  <a:cubicBezTo>
                    <a:pt x="58" y="171"/>
                    <a:pt x="58" y="171"/>
                    <a:pt x="58" y="171"/>
                  </a:cubicBezTo>
                  <a:cubicBezTo>
                    <a:pt x="58" y="171"/>
                    <a:pt x="58" y="171"/>
                    <a:pt x="58" y="171"/>
                  </a:cubicBezTo>
                  <a:cubicBezTo>
                    <a:pt x="58" y="171"/>
                    <a:pt x="58" y="171"/>
                    <a:pt x="58" y="171"/>
                  </a:cubicBezTo>
                  <a:cubicBezTo>
                    <a:pt x="58" y="171"/>
                    <a:pt x="58" y="171"/>
                    <a:pt x="58" y="171"/>
                  </a:cubicBezTo>
                  <a:cubicBezTo>
                    <a:pt x="58" y="171"/>
                    <a:pt x="58" y="171"/>
                    <a:pt x="58" y="171"/>
                  </a:cubicBezTo>
                  <a:cubicBezTo>
                    <a:pt x="57" y="171"/>
                    <a:pt x="57" y="171"/>
                    <a:pt x="57" y="171"/>
                  </a:cubicBezTo>
                  <a:cubicBezTo>
                    <a:pt x="57" y="171"/>
                    <a:pt x="57" y="171"/>
                    <a:pt x="57" y="171"/>
                  </a:cubicBezTo>
                  <a:cubicBezTo>
                    <a:pt x="57" y="171"/>
                    <a:pt x="57" y="171"/>
                    <a:pt x="57" y="171"/>
                  </a:cubicBezTo>
                  <a:cubicBezTo>
                    <a:pt x="57" y="171"/>
                    <a:pt x="57" y="171"/>
                    <a:pt x="57" y="171"/>
                  </a:cubicBezTo>
                  <a:cubicBezTo>
                    <a:pt x="57" y="171"/>
                    <a:pt x="57" y="171"/>
                    <a:pt x="57" y="171"/>
                  </a:cubicBezTo>
                  <a:cubicBezTo>
                    <a:pt x="56" y="171"/>
                    <a:pt x="56" y="171"/>
                    <a:pt x="56" y="171"/>
                  </a:cubicBezTo>
                  <a:cubicBezTo>
                    <a:pt x="56" y="171"/>
                    <a:pt x="56" y="171"/>
                    <a:pt x="56" y="171"/>
                  </a:cubicBezTo>
                  <a:cubicBezTo>
                    <a:pt x="56" y="171"/>
                    <a:pt x="56" y="171"/>
                    <a:pt x="56" y="171"/>
                  </a:cubicBezTo>
                  <a:cubicBezTo>
                    <a:pt x="56" y="171"/>
                    <a:pt x="56" y="171"/>
                    <a:pt x="56" y="171"/>
                  </a:cubicBezTo>
                  <a:cubicBezTo>
                    <a:pt x="56" y="171"/>
                    <a:pt x="56" y="171"/>
                    <a:pt x="56" y="171"/>
                  </a:cubicBezTo>
                  <a:cubicBezTo>
                    <a:pt x="56" y="171"/>
                    <a:pt x="56" y="171"/>
                    <a:pt x="56" y="171"/>
                  </a:cubicBezTo>
                  <a:cubicBezTo>
                    <a:pt x="55" y="171"/>
                    <a:pt x="55" y="171"/>
                    <a:pt x="55" y="171"/>
                  </a:cubicBezTo>
                  <a:cubicBezTo>
                    <a:pt x="55" y="171"/>
                    <a:pt x="55" y="171"/>
                    <a:pt x="55" y="171"/>
                  </a:cubicBezTo>
                  <a:cubicBezTo>
                    <a:pt x="55" y="171"/>
                    <a:pt x="55" y="171"/>
                    <a:pt x="55" y="171"/>
                  </a:cubicBezTo>
                  <a:cubicBezTo>
                    <a:pt x="55" y="171"/>
                    <a:pt x="55" y="171"/>
                    <a:pt x="55" y="171"/>
                  </a:cubicBezTo>
                  <a:cubicBezTo>
                    <a:pt x="54" y="171"/>
                    <a:pt x="54" y="171"/>
                    <a:pt x="54" y="171"/>
                  </a:cubicBezTo>
                  <a:cubicBezTo>
                    <a:pt x="54" y="171"/>
                    <a:pt x="54" y="171"/>
                    <a:pt x="54" y="171"/>
                  </a:cubicBezTo>
                  <a:cubicBezTo>
                    <a:pt x="54" y="171"/>
                    <a:pt x="54" y="171"/>
                    <a:pt x="54" y="171"/>
                  </a:cubicBezTo>
                  <a:cubicBezTo>
                    <a:pt x="54" y="171"/>
                    <a:pt x="54" y="171"/>
                    <a:pt x="54" y="171"/>
                  </a:cubicBezTo>
                  <a:cubicBezTo>
                    <a:pt x="54" y="171"/>
                    <a:pt x="54" y="171"/>
                    <a:pt x="54" y="171"/>
                  </a:cubicBezTo>
                  <a:cubicBezTo>
                    <a:pt x="54" y="171"/>
                    <a:pt x="54" y="171"/>
                    <a:pt x="54" y="171"/>
                  </a:cubicBezTo>
                  <a:cubicBezTo>
                    <a:pt x="53" y="171"/>
                    <a:pt x="53" y="171"/>
                    <a:pt x="53" y="171"/>
                  </a:cubicBezTo>
                  <a:cubicBezTo>
                    <a:pt x="53" y="171"/>
                    <a:pt x="53" y="171"/>
                    <a:pt x="53" y="171"/>
                  </a:cubicBezTo>
                  <a:cubicBezTo>
                    <a:pt x="53" y="171"/>
                    <a:pt x="53" y="171"/>
                    <a:pt x="53" y="171"/>
                  </a:cubicBezTo>
                  <a:cubicBezTo>
                    <a:pt x="53" y="171"/>
                    <a:pt x="53" y="171"/>
                    <a:pt x="53" y="171"/>
                  </a:cubicBezTo>
                  <a:cubicBezTo>
                    <a:pt x="52" y="171"/>
                    <a:pt x="52" y="171"/>
                    <a:pt x="52" y="171"/>
                  </a:cubicBezTo>
                  <a:cubicBezTo>
                    <a:pt x="52" y="171"/>
                    <a:pt x="52" y="171"/>
                    <a:pt x="52" y="171"/>
                  </a:cubicBezTo>
                  <a:cubicBezTo>
                    <a:pt x="52" y="171"/>
                    <a:pt x="52" y="171"/>
                    <a:pt x="52" y="171"/>
                  </a:cubicBezTo>
                  <a:cubicBezTo>
                    <a:pt x="52" y="171"/>
                    <a:pt x="52" y="171"/>
                    <a:pt x="52" y="171"/>
                  </a:cubicBezTo>
                  <a:cubicBezTo>
                    <a:pt x="52" y="171"/>
                    <a:pt x="52" y="171"/>
                    <a:pt x="52" y="171"/>
                  </a:cubicBezTo>
                  <a:cubicBezTo>
                    <a:pt x="52" y="171"/>
                    <a:pt x="52" y="171"/>
                    <a:pt x="52" y="171"/>
                  </a:cubicBezTo>
                  <a:cubicBezTo>
                    <a:pt x="27" y="171"/>
                    <a:pt x="27" y="171"/>
                    <a:pt x="27" y="171"/>
                  </a:cubicBezTo>
                  <a:cubicBezTo>
                    <a:pt x="27" y="156"/>
                    <a:pt x="27" y="156"/>
                    <a:pt x="27" y="156"/>
                  </a:cubicBezTo>
                  <a:cubicBezTo>
                    <a:pt x="34" y="156"/>
                    <a:pt x="34" y="156"/>
                    <a:pt x="34" y="156"/>
                  </a:cubicBezTo>
                  <a:cubicBezTo>
                    <a:pt x="34" y="144"/>
                    <a:pt x="34" y="132"/>
                    <a:pt x="34" y="121"/>
                  </a:cubicBezTo>
                  <a:cubicBezTo>
                    <a:pt x="27" y="121"/>
                    <a:pt x="27" y="121"/>
                    <a:pt x="27" y="121"/>
                  </a:cubicBezTo>
                  <a:cubicBezTo>
                    <a:pt x="27" y="105"/>
                    <a:pt x="27" y="105"/>
                    <a:pt x="27" y="105"/>
                  </a:cubicBezTo>
                  <a:cubicBezTo>
                    <a:pt x="34" y="105"/>
                    <a:pt x="34" y="105"/>
                    <a:pt x="34" y="105"/>
                  </a:cubicBezTo>
                  <a:cubicBezTo>
                    <a:pt x="34" y="94"/>
                    <a:pt x="34" y="82"/>
                    <a:pt x="34" y="70"/>
                  </a:cubicBezTo>
                  <a:cubicBezTo>
                    <a:pt x="27" y="70"/>
                    <a:pt x="27" y="70"/>
                    <a:pt x="27" y="70"/>
                  </a:cubicBezTo>
                  <a:cubicBezTo>
                    <a:pt x="27" y="55"/>
                    <a:pt x="27" y="55"/>
                    <a:pt x="27" y="55"/>
                  </a:cubicBezTo>
                  <a:cubicBezTo>
                    <a:pt x="34" y="55"/>
                    <a:pt x="34" y="55"/>
                    <a:pt x="34" y="55"/>
                  </a:cubicBezTo>
                  <a:cubicBezTo>
                    <a:pt x="34" y="43"/>
                    <a:pt x="34" y="32"/>
                    <a:pt x="34" y="20"/>
                  </a:cubicBezTo>
                  <a:cubicBezTo>
                    <a:pt x="27" y="20"/>
                    <a:pt x="27" y="20"/>
                    <a:pt x="27" y="20"/>
                  </a:cubicBezTo>
                  <a:cubicBezTo>
                    <a:pt x="27" y="0"/>
                    <a:pt x="27" y="0"/>
                    <a:pt x="27" y="0"/>
                  </a:cubicBezTo>
                  <a:close/>
                  <a:moveTo>
                    <a:pt x="59" y="480"/>
                  </a:moveTo>
                  <a:cubicBezTo>
                    <a:pt x="27" y="480"/>
                    <a:pt x="27" y="480"/>
                    <a:pt x="27" y="480"/>
                  </a:cubicBezTo>
                  <a:cubicBezTo>
                    <a:pt x="27" y="458"/>
                    <a:pt x="27" y="458"/>
                    <a:pt x="27" y="458"/>
                  </a:cubicBezTo>
                  <a:cubicBezTo>
                    <a:pt x="34" y="458"/>
                    <a:pt x="34" y="458"/>
                    <a:pt x="34" y="458"/>
                  </a:cubicBezTo>
                  <a:cubicBezTo>
                    <a:pt x="34" y="446"/>
                    <a:pt x="34" y="434"/>
                    <a:pt x="34" y="423"/>
                  </a:cubicBezTo>
                  <a:cubicBezTo>
                    <a:pt x="27" y="423"/>
                    <a:pt x="27" y="423"/>
                    <a:pt x="27" y="423"/>
                  </a:cubicBezTo>
                  <a:cubicBezTo>
                    <a:pt x="27" y="407"/>
                    <a:pt x="27" y="407"/>
                    <a:pt x="27" y="407"/>
                  </a:cubicBezTo>
                  <a:cubicBezTo>
                    <a:pt x="52" y="407"/>
                    <a:pt x="52" y="407"/>
                    <a:pt x="52" y="407"/>
                  </a:cubicBezTo>
                  <a:cubicBezTo>
                    <a:pt x="52" y="407"/>
                    <a:pt x="52" y="407"/>
                    <a:pt x="52" y="407"/>
                  </a:cubicBezTo>
                  <a:cubicBezTo>
                    <a:pt x="52" y="407"/>
                    <a:pt x="52" y="407"/>
                    <a:pt x="52" y="407"/>
                  </a:cubicBezTo>
                  <a:cubicBezTo>
                    <a:pt x="52" y="407"/>
                    <a:pt x="52" y="407"/>
                    <a:pt x="52" y="407"/>
                  </a:cubicBezTo>
                  <a:cubicBezTo>
                    <a:pt x="52" y="407"/>
                    <a:pt x="52" y="407"/>
                    <a:pt x="52" y="407"/>
                  </a:cubicBezTo>
                  <a:cubicBezTo>
                    <a:pt x="52" y="407"/>
                    <a:pt x="52" y="407"/>
                    <a:pt x="52" y="407"/>
                  </a:cubicBezTo>
                  <a:cubicBezTo>
                    <a:pt x="53" y="407"/>
                    <a:pt x="53" y="407"/>
                    <a:pt x="53" y="407"/>
                  </a:cubicBezTo>
                  <a:cubicBezTo>
                    <a:pt x="53" y="407"/>
                    <a:pt x="53" y="407"/>
                    <a:pt x="53" y="407"/>
                  </a:cubicBezTo>
                  <a:cubicBezTo>
                    <a:pt x="53" y="407"/>
                    <a:pt x="53" y="407"/>
                    <a:pt x="53" y="407"/>
                  </a:cubicBezTo>
                  <a:cubicBezTo>
                    <a:pt x="53" y="407"/>
                    <a:pt x="53" y="407"/>
                    <a:pt x="53" y="407"/>
                  </a:cubicBezTo>
                  <a:cubicBezTo>
                    <a:pt x="54" y="407"/>
                    <a:pt x="54" y="407"/>
                    <a:pt x="54" y="407"/>
                  </a:cubicBezTo>
                  <a:cubicBezTo>
                    <a:pt x="54" y="407"/>
                    <a:pt x="54" y="407"/>
                    <a:pt x="54" y="407"/>
                  </a:cubicBezTo>
                  <a:cubicBezTo>
                    <a:pt x="54" y="407"/>
                    <a:pt x="54" y="407"/>
                    <a:pt x="54" y="407"/>
                  </a:cubicBezTo>
                  <a:cubicBezTo>
                    <a:pt x="54" y="407"/>
                    <a:pt x="54" y="407"/>
                    <a:pt x="54" y="407"/>
                  </a:cubicBezTo>
                  <a:cubicBezTo>
                    <a:pt x="54" y="407"/>
                    <a:pt x="54" y="407"/>
                    <a:pt x="54" y="407"/>
                  </a:cubicBezTo>
                  <a:cubicBezTo>
                    <a:pt x="54" y="407"/>
                    <a:pt x="54" y="407"/>
                    <a:pt x="54" y="407"/>
                  </a:cubicBezTo>
                  <a:cubicBezTo>
                    <a:pt x="55" y="407"/>
                    <a:pt x="55" y="407"/>
                    <a:pt x="55" y="407"/>
                  </a:cubicBezTo>
                  <a:cubicBezTo>
                    <a:pt x="55" y="407"/>
                    <a:pt x="55" y="407"/>
                    <a:pt x="55" y="407"/>
                  </a:cubicBezTo>
                  <a:cubicBezTo>
                    <a:pt x="55" y="407"/>
                    <a:pt x="55" y="407"/>
                    <a:pt x="55" y="407"/>
                  </a:cubicBezTo>
                  <a:cubicBezTo>
                    <a:pt x="55" y="407"/>
                    <a:pt x="55" y="407"/>
                    <a:pt x="55" y="407"/>
                  </a:cubicBezTo>
                  <a:cubicBezTo>
                    <a:pt x="55" y="407"/>
                    <a:pt x="55" y="407"/>
                    <a:pt x="55" y="407"/>
                  </a:cubicBezTo>
                  <a:cubicBezTo>
                    <a:pt x="56" y="407"/>
                    <a:pt x="56" y="407"/>
                    <a:pt x="56" y="407"/>
                  </a:cubicBezTo>
                  <a:cubicBezTo>
                    <a:pt x="56" y="407"/>
                    <a:pt x="56" y="407"/>
                    <a:pt x="56" y="407"/>
                  </a:cubicBezTo>
                  <a:cubicBezTo>
                    <a:pt x="56" y="407"/>
                    <a:pt x="56" y="407"/>
                    <a:pt x="56" y="407"/>
                  </a:cubicBezTo>
                  <a:cubicBezTo>
                    <a:pt x="56" y="407"/>
                    <a:pt x="56" y="407"/>
                    <a:pt x="56" y="407"/>
                  </a:cubicBezTo>
                  <a:cubicBezTo>
                    <a:pt x="56" y="407"/>
                    <a:pt x="56" y="407"/>
                    <a:pt x="56" y="407"/>
                  </a:cubicBezTo>
                  <a:cubicBezTo>
                    <a:pt x="56" y="407"/>
                    <a:pt x="56" y="407"/>
                    <a:pt x="56" y="407"/>
                  </a:cubicBezTo>
                  <a:cubicBezTo>
                    <a:pt x="57" y="407"/>
                    <a:pt x="57" y="407"/>
                    <a:pt x="57" y="407"/>
                  </a:cubicBezTo>
                  <a:cubicBezTo>
                    <a:pt x="57" y="407"/>
                    <a:pt x="57" y="407"/>
                    <a:pt x="57" y="407"/>
                  </a:cubicBezTo>
                  <a:cubicBezTo>
                    <a:pt x="57" y="407"/>
                    <a:pt x="57" y="407"/>
                    <a:pt x="57" y="407"/>
                  </a:cubicBezTo>
                  <a:cubicBezTo>
                    <a:pt x="57" y="407"/>
                    <a:pt x="57" y="407"/>
                    <a:pt x="57" y="407"/>
                  </a:cubicBezTo>
                  <a:cubicBezTo>
                    <a:pt x="57" y="407"/>
                    <a:pt x="57" y="407"/>
                    <a:pt x="57" y="407"/>
                  </a:cubicBezTo>
                  <a:cubicBezTo>
                    <a:pt x="58" y="407"/>
                    <a:pt x="58" y="407"/>
                    <a:pt x="58" y="407"/>
                  </a:cubicBezTo>
                  <a:cubicBezTo>
                    <a:pt x="58" y="407"/>
                    <a:pt x="58" y="407"/>
                    <a:pt x="58" y="407"/>
                  </a:cubicBezTo>
                  <a:cubicBezTo>
                    <a:pt x="58" y="407"/>
                    <a:pt x="58" y="407"/>
                    <a:pt x="58" y="407"/>
                  </a:cubicBezTo>
                  <a:cubicBezTo>
                    <a:pt x="58" y="407"/>
                    <a:pt x="58" y="407"/>
                    <a:pt x="58" y="407"/>
                  </a:cubicBezTo>
                  <a:cubicBezTo>
                    <a:pt x="58" y="407"/>
                    <a:pt x="58" y="407"/>
                    <a:pt x="58" y="407"/>
                  </a:cubicBezTo>
                  <a:cubicBezTo>
                    <a:pt x="59" y="407"/>
                    <a:pt x="59" y="407"/>
                    <a:pt x="59" y="407"/>
                  </a:cubicBezTo>
                  <a:cubicBezTo>
                    <a:pt x="59" y="407"/>
                    <a:pt x="59" y="407"/>
                    <a:pt x="59" y="407"/>
                  </a:cubicBezTo>
                  <a:cubicBezTo>
                    <a:pt x="59" y="407"/>
                    <a:pt x="59" y="407"/>
                    <a:pt x="59" y="407"/>
                  </a:cubicBezTo>
                  <a:cubicBezTo>
                    <a:pt x="59" y="423"/>
                    <a:pt x="59" y="423"/>
                    <a:pt x="59" y="423"/>
                  </a:cubicBezTo>
                  <a:cubicBezTo>
                    <a:pt x="59" y="423"/>
                    <a:pt x="59" y="423"/>
                    <a:pt x="59" y="423"/>
                  </a:cubicBezTo>
                  <a:cubicBezTo>
                    <a:pt x="58" y="423"/>
                    <a:pt x="58" y="423"/>
                    <a:pt x="58" y="423"/>
                  </a:cubicBezTo>
                  <a:cubicBezTo>
                    <a:pt x="58" y="423"/>
                    <a:pt x="58" y="423"/>
                    <a:pt x="58" y="423"/>
                  </a:cubicBezTo>
                  <a:cubicBezTo>
                    <a:pt x="58" y="423"/>
                    <a:pt x="58" y="423"/>
                    <a:pt x="58" y="423"/>
                  </a:cubicBezTo>
                  <a:cubicBezTo>
                    <a:pt x="58" y="423"/>
                    <a:pt x="58" y="423"/>
                    <a:pt x="58" y="423"/>
                  </a:cubicBezTo>
                  <a:cubicBezTo>
                    <a:pt x="58" y="423"/>
                    <a:pt x="58" y="423"/>
                    <a:pt x="58" y="423"/>
                  </a:cubicBezTo>
                  <a:cubicBezTo>
                    <a:pt x="58" y="423"/>
                    <a:pt x="58" y="423"/>
                    <a:pt x="58" y="423"/>
                  </a:cubicBezTo>
                  <a:cubicBezTo>
                    <a:pt x="57" y="423"/>
                    <a:pt x="57" y="423"/>
                    <a:pt x="57" y="423"/>
                  </a:cubicBezTo>
                  <a:cubicBezTo>
                    <a:pt x="57" y="423"/>
                    <a:pt x="57" y="423"/>
                    <a:pt x="57" y="423"/>
                  </a:cubicBezTo>
                  <a:cubicBezTo>
                    <a:pt x="57" y="423"/>
                    <a:pt x="57" y="423"/>
                    <a:pt x="57" y="423"/>
                  </a:cubicBezTo>
                  <a:cubicBezTo>
                    <a:pt x="57" y="423"/>
                    <a:pt x="57" y="423"/>
                    <a:pt x="57" y="423"/>
                  </a:cubicBezTo>
                  <a:cubicBezTo>
                    <a:pt x="57" y="423"/>
                    <a:pt x="57" y="423"/>
                    <a:pt x="57" y="423"/>
                  </a:cubicBezTo>
                  <a:cubicBezTo>
                    <a:pt x="56" y="423"/>
                    <a:pt x="56" y="423"/>
                    <a:pt x="56" y="423"/>
                  </a:cubicBezTo>
                  <a:cubicBezTo>
                    <a:pt x="56" y="423"/>
                    <a:pt x="56" y="423"/>
                    <a:pt x="56" y="423"/>
                  </a:cubicBezTo>
                  <a:cubicBezTo>
                    <a:pt x="56" y="423"/>
                    <a:pt x="56" y="423"/>
                    <a:pt x="56" y="423"/>
                  </a:cubicBezTo>
                  <a:cubicBezTo>
                    <a:pt x="56" y="423"/>
                    <a:pt x="56" y="423"/>
                    <a:pt x="56" y="423"/>
                  </a:cubicBezTo>
                  <a:cubicBezTo>
                    <a:pt x="56" y="423"/>
                    <a:pt x="56" y="423"/>
                    <a:pt x="56" y="423"/>
                  </a:cubicBezTo>
                  <a:cubicBezTo>
                    <a:pt x="55" y="423"/>
                    <a:pt x="55" y="423"/>
                    <a:pt x="55" y="423"/>
                  </a:cubicBezTo>
                  <a:cubicBezTo>
                    <a:pt x="55" y="423"/>
                    <a:pt x="55" y="423"/>
                    <a:pt x="55" y="423"/>
                  </a:cubicBezTo>
                  <a:cubicBezTo>
                    <a:pt x="55" y="423"/>
                    <a:pt x="55" y="423"/>
                    <a:pt x="55" y="423"/>
                  </a:cubicBezTo>
                  <a:cubicBezTo>
                    <a:pt x="55" y="423"/>
                    <a:pt x="55" y="423"/>
                    <a:pt x="55" y="423"/>
                  </a:cubicBezTo>
                  <a:cubicBezTo>
                    <a:pt x="55" y="423"/>
                    <a:pt x="55" y="423"/>
                    <a:pt x="55" y="423"/>
                  </a:cubicBezTo>
                  <a:cubicBezTo>
                    <a:pt x="54" y="423"/>
                    <a:pt x="54" y="423"/>
                    <a:pt x="54" y="423"/>
                  </a:cubicBezTo>
                  <a:cubicBezTo>
                    <a:pt x="54" y="423"/>
                    <a:pt x="54" y="423"/>
                    <a:pt x="54" y="423"/>
                  </a:cubicBezTo>
                  <a:cubicBezTo>
                    <a:pt x="54" y="423"/>
                    <a:pt x="54" y="423"/>
                    <a:pt x="54" y="423"/>
                  </a:cubicBezTo>
                  <a:cubicBezTo>
                    <a:pt x="54" y="423"/>
                    <a:pt x="54" y="423"/>
                    <a:pt x="54" y="423"/>
                  </a:cubicBezTo>
                  <a:cubicBezTo>
                    <a:pt x="54" y="423"/>
                    <a:pt x="54" y="423"/>
                    <a:pt x="54" y="423"/>
                  </a:cubicBezTo>
                  <a:cubicBezTo>
                    <a:pt x="53" y="423"/>
                    <a:pt x="53" y="423"/>
                    <a:pt x="53" y="423"/>
                  </a:cubicBezTo>
                  <a:cubicBezTo>
                    <a:pt x="53" y="423"/>
                    <a:pt x="53" y="423"/>
                    <a:pt x="53" y="423"/>
                  </a:cubicBezTo>
                  <a:cubicBezTo>
                    <a:pt x="53" y="423"/>
                    <a:pt x="53" y="423"/>
                    <a:pt x="53" y="423"/>
                  </a:cubicBezTo>
                  <a:cubicBezTo>
                    <a:pt x="53" y="423"/>
                    <a:pt x="53" y="423"/>
                    <a:pt x="53" y="423"/>
                  </a:cubicBezTo>
                  <a:cubicBezTo>
                    <a:pt x="53" y="423"/>
                    <a:pt x="53" y="423"/>
                    <a:pt x="53" y="423"/>
                  </a:cubicBezTo>
                  <a:cubicBezTo>
                    <a:pt x="52" y="423"/>
                    <a:pt x="52" y="423"/>
                    <a:pt x="52" y="423"/>
                  </a:cubicBezTo>
                  <a:cubicBezTo>
                    <a:pt x="52" y="423"/>
                    <a:pt x="52" y="423"/>
                    <a:pt x="52" y="423"/>
                  </a:cubicBezTo>
                  <a:cubicBezTo>
                    <a:pt x="52" y="423"/>
                    <a:pt x="52" y="423"/>
                    <a:pt x="52" y="423"/>
                  </a:cubicBezTo>
                  <a:cubicBezTo>
                    <a:pt x="52" y="423"/>
                    <a:pt x="52" y="423"/>
                    <a:pt x="52" y="423"/>
                  </a:cubicBezTo>
                  <a:cubicBezTo>
                    <a:pt x="52" y="423"/>
                    <a:pt x="52" y="423"/>
                    <a:pt x="52" y="423"/>
                  </a:cubicBezTo>
                  <a:cubicBezTo>
                    <a:pt x="52" y="434"/>
                    <a:pt x="52" y="446"/>
                    <a:pt x="52" y="458"/>
                  </a:cubicBezTo>
                  <a:cubicBezTo>
                    <a:pt x="52" y="458"/>
                    <a:pt x="52" y="458"/>
                    <a:pt x="52" y="458"/>
                  </a:cubicBezTo>
                  <a:cubicBezTo>
                    <a:pt x="52" y="458"/>
                    <a:pt x="52" y="458"/>
                    <a:pt x="52" y="458"/>
                  </a:cubicBezTo>
                  <a:cubicBezTo>
                    <a:pt x="52" y="458"/>
                    <a:pt x="52" y="458"/>
                    <a:pt x="52" y="458"/>
                  </a:cubicBezTo>
                  <a:cubicBezTo>
                    <a:pt x="52" y="458"/>
                    <a:pt x="52" y="458"/>
                    <a:pt x="52" y="458"/>
                  </a:cubicBezTo>
                  <a:cubicBezTo>
                    <a:pt x="53" y="458"/>
                    <a:pt x="53" y="458"/>
                    <a:pt x="53" y="458"/>
                  </a:cubicBezTo>
                  <a:cubicBezTo>
                    <a:pt x="53" y="458"/>
                    <a:pt x="53" y="458"/>
                    <a:pt x="53" y="458"/>
                  </a:cubicBezTo>
                  <a:cubicBezTo>
                    <a:pt x="53" y="458"/>
                    <a:pt x="53" y="458"/>
                    <a:pt x="53" y="458"/>
                  </a:cubicBezTo>
                  <a:cubicBezTo>
                    <a:pt x="53" y="458"/>
                    <a:pt x="53" y="458"/>
                    <a:pt x="53" y="458"/>
                  </a:cubicBezTo>
                  <a:cubicBezTo>
                    <a:pt x="53" y="458"/>
                    <a:pt x="53" y="458"/>
                    <a:pt x="53" y="458"/>
                  </a:cubicBezTo>
                  <a:cubicBezTo>
                    <a:pt x="54" y="458"/>
                    <a:pt x="54" y="458"/>
                    <a:pt x="54" y="458"/>
                  </a:cubicBezTo>
                  <a:cubicBezTo>
                    <a:pt x="54" y="458"/>
                    <a:pt x="54" y="458"/>
                    <a:pt x="54" y="458"/>
                  </a:cubicBezTo>
                  <a:cubicBezTo>
                    <a:pt x="54" y="458"/>
                    <a:pt x="54" y="458"/>
                    <a:pt x="54" y="458"/>
                  </a:cubicBezTo>
                  <a:cubicBezTo>
                    <a:pt x="54" y="458"/>
                    <a:pt x="54" y="458"/>
                    <a:pt x="54" y="458"/>
                  </a:cubicBezTo>
                  <a:cubicBezTo>
                    <a:pt x="54" y="458"/>
                    <a:pt x="54" y="458"/>
                    <a:pt x="54" y="458"/>
                  </a:cubicBezTo>
                  <a:cubicBezTo>
                    <a:pt x="55" y="458"/>
                    <a:pt x="55" y="458"/>
                    <a:pt x="55" y="458"/>
                  </a:cubicBezTo>
                  <a:cubicBezTo>
                    <a:pt x="55" y="458"/>
                    <a:pt x="55" y="458"/>
                    <a:pt x="55" y="458"/>
                  </a:cubicBezTo>
                  <a:cubicBezTo>
                    <a:pt x="55" y="458"/>
                    <a:pt x="55" y="458"/>
                    <a:pt x="55" y="458"/>
                  </a:cubicBezTo>
                  <a:cubicBezTo>
                    <a:pt x="55" y="458"/>
                    <a:pt x="55" y="458"/>
                    <a:pt x="55" y="458"/>
                  </a:cubicBezTo>
                  <a:cubicBezTo>
                    <a:pt x="55" y="458"/>
                    <a:pt x="55" y="458"/>
                    <a:pt x="55" y="458"/>
                  </a:cubicBezTo>
                  <a:cubicBezTo>
                    <a:pt x="56" y="458"/>
                    <a:pt x="56" y="458"/>
                    <a:pt x="56" y="458"/>
                  </a:cubicBezTo>
                  <a:cubicBezTo>
                    <a:pt x="56" y="458"/>
                    <a:pt x="56" y="458"/>
                    <a:pt x="56" y="458"/>
                  </a:cubicBezTo>
                  <a:cubicBezTo>
                    <a:pt x="56" y="458"/>
                    <a:pt x="56" y="458"/>
                    <a:pt x="56" y="458"/>
                  </a:cubicBezTo>
                  <a:cubicBezTo>
                    <a:pt x="56" y="458"/>
                    <a:pt x="56" y="458"/>
                    <a:pt x="56" y="458"/>
                  </a:cubicBezTo>
                  <a:cubicBezTo>
                    <a:pt x="56" y="458"/>
                    <a:pt x="56" y="458"/>
                    <a:pt x="56" y="458"/>
                  </a:cubicBezTo>
                  <a:cubicBezTo>
                    <a:pt x="57" y="458"/>
                    <a:pt x="57" y="458"/>
                    <a:pt x="57" y="458"/>
                  </a:cubicBezTo>
                  <a:cubicBezTo>
                    <a:pt x="57" y="458"/>
                    <a:pt x="57" y="458"/>
                    <a:pt x="57" y="458"/>
                  </a:cubicBezTo>
                  <a:cubicBezTo>
                    <a:pt x="57" y="458"/>
                    <a:pt x="57" y="458"/>
                    <a:pt x="57" y="458"/>
                  </a:cubicBezTo>
                  <a:cubicBezTo>
                    <a:pt x="57" y="458"/>
                    <a:pt x="57" y="458"/>
                    <a:pt x="57" y="458"/>
                  </a:cubicBezTo>
                  <a:cubicBezTo>
                    <a:pt x="57" y="458"/>
                    <a:pt x="57" y="458"/>
                    <a:pt x="57" y="458"/>
                  </a:cubicBezTo>
                  <a:cubicBezTo>
                    <a:pt x="58" y="458"/>
                    <a:pt x="58" y="458"/>
                    <a:pt x="58" y="458"/>
                  </a:cubicBezTo>
                  <a:cubicBezTo>
                    <a:pt x="58" y="458"/>
                    <a:pt x="58" y="458"/>
                    <a:pt x="58" y="458"/>
                  </a:cubicBezTo>
                  <a:cubicBezTo>
                    <a:pt x="58" y="458"/>
                    <a:pt x="58" y="458"/>
                    <a:pt x="58" y="458"/>
                  </a:cubicBezTo>
                  <a:cubicBezTo>
                    <a:pt x="58" y="458"/>
                    <a:pt x="58" y="458"/>
                    <a:pt x="58" y="458"/>
                  </a:cubicBezTo>
                  <a:cubicBezTo>
                    <a:pt x="58" y="458"/>
                    <a:pt x="58" y="458"/>
                    <a:pt x="58" y="458"/>
                  </a:cubicBezTo>
                  <a:cubicBezTo>
                    <a:pt x="58" y="458"/>
                    <a:pt x="58" y="458"/>
                    <a:pt x="58" y="458"/>
                  </a:cubicBezTo>
                  <a:cubicBezTo>
                    <a:pt x="59" y="458"/>
                    <a:pt x="59" y="458"/>
                    <a:pt x="59" y="458"/>
                  </a:cubicBezTo>
                  <a:cubicBezTo>
                    <a:pt x="59" y="458"/>
                    <a:pt x="59" y="458"/>
                    <a:pt x="59" y="458"/>
                  </a:cubicBezTo>
                  <a:cubicBezTo>
                    <a:pt x="59" y="480"/>
                    <a:pt x="59" y="480"/>
                    <a:pt x="59" y="480"/>
                  </a:cubicBezTo>
                  <a:close/>
                  <a:moveTo>
                    <a:pt x="59" y="206"/>
                  </a:moveTo>
                  <a:cubicBezTo>
                    <a:pt x="59" y="221"/>
                    <a:pt x="59" y="221"/>
                    <a:pt x="59" y="221"/>
                  </a:cubicBezTo>
                  <a:cubicBezTo>
                    <a:pt x="52" y="221"/>
                    <a:pt x="52" y="221"/>
                    <a:pt x="52" y="221"/>
                  </a:cubicBezTo>
                  <a:cubicBezTo>
                    <a:pt x="52" y="233"/>
                    <a:pt x="52" y="245"/>
                    <a:pt x="52" y="256"/>
                  </a:cubicBezTo>
                  <a:cubicBezTo>
                    <a:pt x="59" y="256"/>
                    <a:pt x="59" y="256"/>
                    <a:pt x="59" y="256"/>
                  </a:cubicBezTo>
                  <a:cubicBezTo>
                    <a:pt x="59" y="272"/>
                    <a:pt x="59" y="272"/>
                    <a:pt x="59" y="272"/>
                  </a:cubicBezTo>
                  <a:cubicBezTo>
                    <a:pt x="59" y="272"/>
                    <a:pt x="59" y="272"/>
                    <a:pt x="59" y="272"/>
                  </a:cubicBezTo>
                  <a:cubicBezTo>
                    <a:pt x="58" y="272"/>
                    <a:pt x="58" y="272"/>
                    <a:pt x="58" y="272"/>
                  </a:cubicBezTo>
                  <a:cubicBezTo>
                    <a:pt x="58" y="272"/>
                    <a:pt x="58" y="272"/>
                    <a:pt x="58" y="272"/>
                  </a:cubicBezTo>
                  <a:cubicBezTo>
                    <a:pt x="58" y="272"/>
                    <a:pt x="58" y="272"/>
                    <a:pt x="58" y="272"/>
                  </a:cubicBezTo>
                  <a:cubicBezTo>
                    <a:pt x="58" y="272"/>
                    <a:pt x="58" y="272"/>
                    <a:pt x="58" y="272"/>
                  </a:cubicBezTo>
                  <a:cubicBezTo>
                    <a:pt x="58" y="272"/>
                    <a:pt x="58" y="272"/>
                    <a:pt x="58" y="272"/>
                  </a:cubicBezTo>
                  <a:cubicBezTo>
                    <a:pt x="58" y="272"/>
                    <a:pt x="58" y="272"/>
                    <a:pt x="58" y="272"/>
                  </a:cubicBezTo>
                  <a:cubicBezTo>
                    <a:pt x="57" y="272"/>
                    <a:pt x="57" y="272"/>
                    <a:pt x="57" y="272"/>
                  </a:cubicBezTo>
                  <a:cubicBezTo>
                    <a:pt x="57" y="272"/>
                    <a:pt x="57" y="272"/>
                    <a:pt x="57" y="272"/>
                  </a:cubicBezTo>
                  <a:cubicBezTo>
                    <a:pt x="57" y="272"/>
                    <a:pt x="57" y="272"/>
                    <a:pt x="57" y="272"/>
                  </a:cubicBezTo>
                  <a:cubicBezTo>
                    <a:pt x="57" y="272"/>
                    <a:pt x="57" y="272"/>
                    <a:pt x="57" y="272"/>
                  </a:cubicBezTo>
                  <a:cubicBezTo>
                    <a:pt x="56" y="272"/>
                    <a:pt x="56" y="272"/>
                    <a:pt x="56" y="272"/>
                  </a:cubicBezTo>
                  <a:cubicBezTo>
                    <a:pt x="56" y="272"/>
                    <a:pt x="56" y="272"/>
                    <a:pt x="56" y="272"/>
                  </a:cubicBezTo>
                  <a:cubicBezTo>
                    <a:pt x="56" y="272"/>
                    <a:pt x="56" y="272"/>
                    <a:pt x="56" y="272"/>
                  </a:cubicBezTo>
                  <a:cubicBezTo>
                    <a:pt x="56" y="272"/>
                    <a:pt x="56" y="272"/>
                    <a:pt x="56" y="272"/>
                  </a:cubicBezTo>
                  <a:cubicBezTo>
                    <a:pt x="56" y="272"/>
                    <a:pt x="56" y="272"/>
                    <a:pt x="56" y="272"/>
                  </a:cubicBezTo>
                  <a:cubicBezTo>
                    <a:pt x="56" y="272"/>
                    <a:pt x="56" y="272"/>
                    <a:pt x="56" y="272"/>
                  </a:cubicBezTo>
                  <a:cubicBezTo>
                    <a:pt x="55" y="272"/>
                    <a:pt x="55" y="272"/>
                    <a:pt x="55" y="272"/>
                  </a:cubicBezTo>
                  <a:cubicBezTo>
                    <a:pt x="55" y="272"/>
                    <a:pt x="55" y="272"/>
                    <a:pt x="55" y="272"/>
                  </a:cubicBezTo>
                  <a:cubicBezTo>
                    <a:pt x="55" y="272"/>
                    <a:pt x="55" y="272"/>
                    <a:pt x="55" y="272"/>
                  </a:cubicBezTo>
                  <a:cubicBezTo>
                    <a:pt x="55" y="272"/>
                    <a:pt x="55" y="272"/>
                    <a:pt x="55" y="272"/>
                  </a:cubicBezTo>
                  <a:cubicBezTo>
                    <a:pt x="55" y="272"/>
                    <a:pt x="55" y="272"/>
                    <a:pt x="55" y="272"/>
                  </a:cubicBezTo>
                  <a:cubicBezTo>
                    <a:pt x="54" y="272"/>
                    <a:pt x="54" y="272"/>
                    <a:pt x="54" y="272"/>
                  </a:cubicBezTo>
                  <a:cubicBezTo>
                    <a:pt x="54" y="272"/>
                    <a:pt x="54" y="272"/>
                    <a:pt x="54" y="272"/>
                  </a:cubicBezTo>
                  <a:cubicBezTo>
                    <a:pt x="54" y="272"/>
                    <a:pt x="54" y="272"/>
                    <a:pt x="54" y="272"/>
                  </a:cubicBezTo>
                  <a:cubicBezTo>
                    <a:pt x="54" y="272"/>
                    <a:pt x="54" y="272"/>
                    <a:pt x="54" y="272"/>
                  </a:cubicBezTo>
                  <a:cubicBezTo>
                    <a:pt x="54" y="272"/>
                    <a:pt x="54" y="272"/>
                    <a:pt x="54" y="272"/>
                  </a:cubicBezTo>
                  <a:cubicBezTo>
                    <a:pt x="54" y="272"/>
                    <a:pt x="54" y="272"/>
                    <a:pt x="54" y="272"/>
                  </a:cubicBezTo>
                  <a:cubicBezTo>
                    <a:pt x="53" y="272"/>
                    <a:pt x="53" y="272"/>
                    <a:pt x="53" y="272"/>
                  </a:cubicBezTo>
                  <a:cubicBezTo>
                    <a:pt x="53" y="272"/>
                    <a:pt x="53" y="272"/>
                    <a:pt x="53" y="272"/>
                  </a:cubicBezTo>
                  <a:cubicBezTo>
                    <a:pt x="53" y="272"/>
                    <a:pt x="53" y="272"/>
                    <a:pt x="53" y="272"/>
                  </a:cubicBezTo>
                  <a:cubicBezTo>
                    <a:pt x="53" y="272"/>
                    <a:pt x="53" y="272"/>
                    <a:pt x="53" y="272"/>
                  </a:cubicBezTo>
                  <a:cubicBezTo>
                    <a:pt x="53" y="272"/>
                    <a:pt x="53" y="272"/>
                    <a:pt x="53" y="272"/>
                  </a:cubicBezTo>
                  <a:cubicBezTo>
                    <a:pt x="52" y="272"/>
                    <a:pt x="52" y="272"/>
                    <a:pt x="52" y="272"/>
                  </a:cubicBezTo>
                  <a:cubicBezTo>
                    <a:pt x="52" y="272"/>
                    <a:pt x="52" y="272"/>
                    <a:pt x="52" y="272"/>
                  </a:cubicBezTo>
                  <a:cubicBezTo>
                    <a:pt x="52" y="272"/>
                    <a:pt x="52" y="272"/>
                    <a:pt x="52" y="272"/>
                  </a:cubicBezTo>
                  <a:cubicBezTo>
                    <a:pt x="52" y="272"/>
                    <a:pt x="52" y="272"/>
                    <a:pt x="52" y="272"/>
                  </a:cubicBezTo>
                  <a:cubicBezTo>
                    <a:pt x="52" y="272"/>
                    <a:pt x="52" y="272"/>
                    <a:pt x="52" y="272"/>
                  </a:cubicBezTo>
                  <a:cubicBezTo>
                    <a:pt x="52" y="283"/>
                    <a:pt x="52" y="295"/>
                    <a:pt x="52" y="307"/>
                  </a:cubicBezTo>
                  <a:cubicBezTo>
                    <a:pt x="52" y="307"/>
                    <a:pt x="52" y="307"/>
                    <a:pt x="52" y="307"/>
                  </a:cubicBezTo>
                  <a:cubicBezTo>
                    <a:pt x="52" y="307"/>
                    <a:pt x="52" y="307"/>
                    <a:pt x="52" y="307"/>
                  </a:cubicBezTo>
                  <a:cubicBezTo>
                    <a:pt x="52" y="307"/>
                    <a:pt x="52" y="307"/>
                    <a:pt x="52" y="307"/>
                  </a:cubicBezTo>
                  <a:cubicBezTo>
                    <a:pt x="52" y="307"/>
                    <a:pt x="52" y="307"/>
                    <a:pt x="52" y="307"/>
                  </a:cubicBezTo>
                  <a:cubicBezTo>
                    <a:pt x="53" y="307"/>
                    <a:pt x="53" y="307"/>
                    <a:pt x="53" y="307"/>
                  </a:cubicBezTo>
                  <a:cubicBezTo>
                    <a:pt x="53" y="307"/>
                    <a:pt x="53" y="307"/>
                    <a:pt x="53" y="307"/>
                  </a:cubicBezTo>
                  <a:cubicBezTo>
                    <a:pt x="53" y="307"/>
                    <a:pt x="53" y="307"/>
                    <a:pt x="53" y="307"/>
                  </a:cubicBezTo>
                  <a:cubicBezTo>
                    <a:pt x="53" y="307"/>
                    <a:pt x="53" y="307"/>
                    <a:pt x="53" y="307"/>
                  </a:cubicBezTo>
                  <a:cubicBezTo>
                    <a:pt x="53" y="307"/>
                    <a:pt x="53" y="307"/>
                    <a:pt x="53" y="307"/>
                  </a:cubicBezTo>
                  <a:cubicBezTo>
                    <a:pt x="54" y="307"/>
                    <a:pt x="54" y="307"/>
                    <a:pt x="54" y="307"/>
                  </a:cubicBezTo>
                  <a:cubicBezTo>
                    <a:pt x="54" y="307"/>
                    <a:pt x="54" y="307"/>
                    <a:pt x="54" y="307"/>
                  </a:cubicBezTo>
                  <a:cubicBezTo>
                    <a:pt x="54" y="307"/>
                    <a:pt x="54" y="307"/>
                    <a:pt x="54" y="307"/>
                  </a:cubicBezTo>
                  <a:cubicBezTo>
                    <a:pt x="54" y="307"/>
                    <a:pt x="54" y="307"/>
                    <a:pt x="54" y="307"/>
                  </a:cubicBezTo>
                  <a:cubicBezTo>
                    <a:pt x="54" y="307"/>
                    <a:pt x="54" y="307"/>
                    <a:pt x="54" y="307"/>
                  </a:cubicBezTo>
                  <a:cubicBezTo>
                    <a:pt x="54" y="307"/>
                    <a:pt x="54" y="307"/>
                    <a:pt x="54" y="307"/>
                  </a:cubicBezTo>
                  <a:cubicBezTo>
                    <a:pt x="55" y="307"/>
                    <a:pt x="55" y="307"/>
                    <a:pt x="55" y="307"/>
                  </a:cubicBezTo>
                  <a:cubicBezTo>
                    <a:pt x="55" y="307"/>
                    <a:pt x="55" y="307"/>
                    <a:pt x="55" y="307"/>
                  </a:cubicBezTo>
                  <a:cubicBezTo>
                    <a:pt x="55" y="307"/>
                    <a:pt x="55" y="307"/>
                    <a:pt x="55" y="307"/>
                  </a:cubicBezTo>
                  <a:cubicBezTo>
                    <a:pt x="55" y="307"/>
                    <a:pt x="55" y="307"/>
                    <a:pt x="55" y="307"/>
                  </a:cubicBezTo>
                  <a:cubicBezTo>
                    <a:pt x="55" y="307"/>
                    <a:pt x="55" y="307"/>
                    <a:pt x="55" y="307"/>
                  </a:cubicBezTo>
                  <a:cubicBezTo>
                    <a:pt x="56" y="307"/>
                    <a:pt x="56" y="307"/>
                    <a:pt x="56" y="307"/>
                  </a:cubicBezTo>
                  <a:cubicBezTo>
                    <a:pt x="56" y="307"/>
                    <a:pt x="56" y="307"/>
                    <a:pt x="56" y="307"/>
                  </a:cubicBezTo>
                  <a:cubicBezTo>
                    <a:pt x="56" y="307"/>
                    <a:pt x="56" y="307"/>
                    <a:pt x="56" y="307"/>
                  </a:cubicBezTo>
                  <a:cubicBezTo>
                    <a:pt x="56" y="307"/>
                    <a:pt x="56" y="307"/>
                    <a:pt x="56" y="307"/>
                  </a:cubicBezTo>
                  <a:cubicBezTo>
                    <a:pt x="56" y="307"/>
                    <a:pt x="56" y="307"/>
                    <a:pt x="56" y="307"/>
                  </a:cubicBezTo>
                  <a:cubicBezTo>
                    <a:pt x="56" y="307"/>
                    <a:pt x="56" y="307"/>
                    <a:pt x="56" y="307"/>
                  </a:cubicBezTo>
                  <a:cubicBezTo>
                    <a:pt x="57" y="307"/>
                    <a:pt x="57" y="307"/>
                    <a:pt x="57" y="307"/>
                  </a:cubicBezTo>
                  <a:cubicBezTo>
                    <a:pt x="57" y="307"/>
                    <a:pt x="57" y="307"/>
                    <a:pt x="57" y="307"/>
                  </a:cubicBezTo>
                  <a:cubicBezTo>
                    <a:pt x="57" y="307"/>
                    <a:pt x="57" y="307"/>
                    <a:pt x="57" y="307"/>
                  </a:cubicBezTo>
                  <a:cubicBezTo>
                    <a:pt x="57" y="307"/>
                    <a:pt x="57" y="307"/>
                    <a:pt x="57" y="307"/>
                  </a:cubicBezTo>
                  <a:cubicBezTo>
                    <a:pt x="58" y="307"/>
                    <a:pt x="58" y="307"/>
                    <a:pt x="58" y="307"/>
                  </a:cubicBezTo>
                  <a:cubicBezTo>
                    <a:pt x="58" y="307"/>
                    <a:pt x="58" y="307"/>
                    <a:pt x="58" y="307"/>
                  </a:cubicBezTo>
                  <a:cubicBezTo>
                    <a:pt x="58" y="307"/>
                    <a:pt x="58" y="307"/>
                    <a:pt x="58" y="307"/>
                  </a:cubicBezTo>
                  <a:cubicBezTo>
                    <a:pt x="58" y="307"/>
                    <a:pt x="58" y="307"/>
                    <a:pt x="58" y="307"/>
                  </a:cubicBezTo>
                  <a:cubicBezTo>
                    <a:pt x="58" y="307"/>
                    <a:pt x="58" y="307"/>
                    <a:pt x="58" y="307"/>
                  </a:cubicBezTo>
                  <a:cubicBezTo>
                    <a:pt x="58" y="307"/>
                    <a:pt x="58" y="307"/>
                    <a:pt x="58" y="307"/>
                  </a:cubicBezTo>
                  <a:cubicBezTo>
                    <a:pt x="59" y="307"/>
                    <a:pt x="59" y="307"/>
                    <a:pt x="59" y="307"/>
                  </a:cubicBezTo>
                  <a:cubicBezTo>
                    <a:pt x="59" y="307"/>
                    <a:pt x="59" y="307"/>
                    <a:pt x="59" y="307"/>
                  </a:cubicBezTo>
                  <a:cubicBezTo>
                    <a:pt x="59" y="322"/>
                    <a:pt x="59" y="322"/>
                    <a:pt x="59" y="322"/>
                  </a:cubicBezTo>
                  <a:cubicBezTo>
                    <a:pt x="52" y="322"/>
                    <a:pt x="52" y="322"/>
                    <a:pt x="52" y="322"/>
                  </a:cubicBezTo>
                  <a:cubicBezTo>
                    <a:pt x="52" y="334"/>
                    <a:pt x="52" y="345"/>
                    <a:pt x="52" y="357"/>
                  </a:cubicBezTo>
                  <a:cubicBezTo>
                    <a:pt x="59" y="357"/>
                    <a:pt x="59" y="357"/>
                    <a:pt x="59" y="357"/>
                  </a:cubicBezTo>
                  <a:cubicBezTo>
                    <a:pt x="59" y="372"/>
                    <a:pt x="59" y="372"/>
                    <a:pt x="59" y="372"/>
                  </a:cubicBezTo>
                  <a:cubicBezTo>
                    <a:pt x="59" y="372"/>
                    <a:pt x="59" y="372"/>
                    <a:pt x="59" y="372"/>
                  </a:cubicBezTo>
                  <a:cubicBezTo>
                    <a:pt x="59" y="372"/>
                    <a:pt x="59" y="372"/>
                    <a:pt x="59" y="372"/>
                  </a:cubicBezTo>
                  <a:cubicBezTo>
                    <a:pt x="58" y="372"/>
                    <a:pt x="58" y="372"/>
                    <a:pt x="58" y="372"/>
                  </a:cubicBezTo>
                  <a:cubicBezTo>
                    <a:pt x="58" y="372"/>
                    <a:pt x="58" y="372"/>
                    <a:pt x="58" y="372"/>
                  </a:cubicBezTo>
                  <a:cubicBezTo>
                    <a:pt x="58" y="372"/>
                    <a:pt x="58" y="372"/>
                    <a:pt x="58" y="372"/>
                  </a:cubicBezTo>
                  <a:cubicBezTo>
                    <a:pt x="58" y="372"/>
                    <a:pt x="58" y="372"/>
                    <a:pt x="58" y="372"/>
                  </a:cubicBezTo>
                  <a:cubicBezTo>
                    <a:pt x="58" y="372"/>
                    <a:pt x="58" y="372"/>
                    <a:pt x="58" y="372"/>
                  </a:cubicBezTo>
                  <a:cubicBezTo>
                    <a:pt x="57" y="372"/>
                    <a:pt x="57" y="372"/>
                    <a:pt x="57" y="372"/>
                  </a:cubicBezTo>
                  <a:cubicBezTo>
                    <a:pt x="57" y="372"/>
                    <a:pt x="57" y="372"/>
                    <a:pt x="57" y="372"/>
                  </a:cubicBezTo>
                  <a:cubicBezTo>
                    <a:pt x="57" y="372"/>
                    <a:pt x="57" y="372"/>
                    <a:pt x="57" y="372"/>
                  </a:cubicBezTo>
                  <a:cubicBezTo>
                    <a:pt x="57" y="372"/>
                    <a:pt x="57" y="372"/>
                    <a:pt x="57" y="372"/>
                  </a:cubicBezTo>
                  <a:cubicBezTo>
                    <a:pt x="57" y="372"/>
                    <a:pt x="57" y="372"/>
                    <a:pt x="57" y="372"/>
                  </a:cubicBezTo>
                  <a:cubicBezTo>
                    <a:pt x="56" y="372"/>
                    <a:pt x="56" y="372"/>
                    <a:pt x="56" y="372"/>
                  </a:cubicBezTo>
                  <a:cubicBezTo>
                    <a:pt x="56" y="372"/>
                    <a:pt x="56" y="372"/>
                    <a:pt x="56" y="372"/>
                  </a:cubicBezTo>
                  <a:cubicBezTo>
                    <a:pt x="56" y="372"/>
                    <a:pt x="56" y="372"/>
                    <a:pt x="56" y="372"/>
                  </a:cubicBezTo>
                  <a:cubicBezTo>
                    <a:pt x="56" y="372"/>
                    <a:pt x="56" y="372"/>
                    <a:pt x="56" y="372"/>
                  </a:cubicBezTo>
                  <a:cubicBezTo>
                    <a:pt x="56" y="372"/>
                    <a:pt x="56" y="372"/>
                    <a:pt x="56" y="372"/>
                  </a:cubicBezTo>
                  <a:cubicBezTo>
                    <a:pt x="56" y="372"/>
                    <a:pt x="56" y="372"/>
                    <a:pt x="56" y="372"/>
                  </a:cubicBezTo>
                  <a:cubicBezTo>
                    <a:pt x="55" y="372"/>
                    <a:pt x="55" y="372"/>
                    <a:pt x="55" y="372"/>
                  </a:cubicBezTo>
                  <a:cubicBezTo>
                    <a:pt x="55" y="372"/>
                    <a:pt x="55" y="372"/>
                    <a:pt x="55" y="372"/>
                  </a:cubicBezTo>
                  <a:cubicBezTo>
                    <a:pt x="55" y="372"/>
                    <a:pt x="55" y="372"/>
                    <a:pt x="55" y="372"/>
                  </a:cubicBezTo>
                  <a:cubicBezTo>
                    <a:pt x="55" y="372"/>
                    <a:pt x="55" y="372"/>
                    <a:pt x="55" y="372"/>
                  </a:cubicBezTo>
                  <a:cubicBezTo>
                    <a:pt x="55" y="372"/>
                    <a:pt x="55" y="372"/>
                    <a:pt x="55" y="372"/>
                  </a:cubicBezTo>
                  <a:cubicBezTo>
                    <a:pt x="54" y="372"/>
                    <a:pt x="54" y="372"/>
                    <a:pt x="54" y="372"/>
                  </a:cubicBezTo>
                  <a:cubicBezTo>
                    <a:pt x="54" y="372"/>
                    <a:pt x="54" y="372"/>
                    <a:pt x="54" y="372"/>
                  </a:cubicBezTo>
                  <a:cubicBezTo>
                    <a:pt x="54" y="372"/>
                    <a:pt x="54" y="372"/>
                    <a:pt x="54" y="372"/>
                  </a:cubicBezTo>
                  <a:cubicBezTo>
                    <a:pt x="54" y="372"/>
                    <a:pt x="54" y="372"/>
                    <a:pt x="54" y="372"/>
                  </a:cubicBezTo>
                  <a:cubicBezTo>
                    <a:pt x="54" y="372"/>
                    <a:pt x="54" y="372"/>
                    <a:pt x="54" y="372"/>
                  </a:cubicBezTo>
                  <a:cubicBezTo>
                    <a:pt x="54" y="372"/>
                    <a:pt x="54" y="372"/>
                    <a:pt x="54" y="372"/>
                  </a:cubicBezTo>
                  <a:cubicBezTo>
                    <a:pt x="53" y="372"/>
                    <a:pt x="53" y="372"/>
                    <a:pt x="53" y="372"/>
                  </a:cubicBezTo>
                  <a:cubicBezTo>
                    <a:pt x="53" y="372"/>
                    <a:pt x="53" y="372"/>
                    <a:pt x="53" y="372"/>
                  </a:cubicBezTo>
                  <a:cubicBezTo>
                    <a:pt x="53" y="372"/>
                    <a:pt x="53" y="372"/>
                    <a:pt x="53" y="372"/>
                  </a:cubicBezTo>
                  <a:cubicBezTo>
                    <a:pt x="53" y="372"/>
                    <a:pt x="53" y="372"/>
                    <a:pt x="53" y="372"/>
                  </a:cubicBezTo>
                  <a:cubicBezTo>
                    <a:pt x="52" y="372"/>
                    <a:pt x="52" y="372"/>
                    <a:pt x="52" y="372"/>
                  </a:cubicBezTo>
                  <a:cubicBezTo>
                    <a:pt x="52" y="372"/>
                    <a:pt x="52" y="372"/>
                    <a:pt x="52" y="372"/>
                  </a:cubicBezTo>
                  <a:cubicBezTo>
                    <a:pt x="52" y="372"/>
                    <a:pt x="52" y="372"/>
                    <a:pt x="52" y="372"/>
                  </a:cubicBezTo>
                  <a:cubicBezTo>
                    <a:pt x="52" y="372"/>
                    <a:pt x="52" y="372"/>
                    <a:pt x="52" y="372"/>
                  </a:cubicBezTo>
                  <a:cubicBezTo>
                    <a:pt x="52" y="372"/>
                    <a:pt x="52" y="372"/>
                    <a:pt x="52" y="372"/>
                  </a:cubicBezTo>
                  <a:cubicBezTo>
                    <a:pt x="52" y="372"/>
                    <a:pt x="52" y="372"/>
                    <a:pt x="52" y="372"/>
                  </a:cubicBezTo>
                  <a:cubicBezTo>
                    <a:pt x="27" y="372"/>
                    <a:pt x="27" y="372"/>
                    <a:pt x="27" y="372"/>
                  </a:cubicBezTo>
                  <a:cubicBezTo>
                    <a:pt x="27" y="357"/>
                    <a:pt x="27" y="357"/>
                    <a:pt x="27" y="357"/>
                  </a:cubicBezTo>
                  <a:cubicBezTo>
                    <a:pt x="34" y="357"/>
                    <a:pt x="34" y="357"/>
                    <a:pt x="34" y="357"/>
                  </a:cubicBezTo>
                  <a:cubicBezTo>
                    <a:pt x="34" y="345"/>
                    <a:pt x="34" y="334"/>
                    <a:pt x="34" y="322"/>
                  </a:cubicBezTo>
                  <a:cubicBezTo>
                    <a:pt x="27" y="322"/>
                    <a:pt x="27" y="322"/>
                    <a:pt x="27" y="322"/>
                  </a:cubicBezTo>
                  <a:cubicBezTo>
                    <a:pt x="27" y="307"/>
                    <a:pt x="27" y="307"/>
                    <a:pt x="27" y="307"/>
                  </a:cubicBezTo>
                  <a:cubicBezTo>
                    <a:pt x="34" y="307"/>
                    <a:pt x="34" y="307"/>
                    <a:pt x="34" y="307"/>
                  </a:cubicBezTo>
                  <a:cubicBezTo>
                    <a:pt x="34" y="295"/>
                    <a:pt x="34" y="283"/>
                    <a:pt x="34" y="272"/>
                  </a:cubicBezTo>
                  <a:cubicBezTo>
                    <a:pt x="27" y="272"/>
                    <a:pt x="27" y="272"/>
                    <a:pt x="27" y="272"/>
                  </a:cubicBezTo>
                  <a:cubicBezTo>
                    <a:pt x="27" y="256"/>
                    <a:pt x="27" y="256"/>
                    <a:pt x="27" y="256"/>
                  </a:cubicBezTo>
                  <a:cubicBezTo>
                    <a:pt x="34" y="256"/>
                    <a:pt x="34" y="256"/>
                    <a:pt x="34" y="256"/>
                  </a:cubicBezTo>
                  <a:cubicBezTo>
                    <a:pt x="34" y="245"/>
                    <a:pt x="34" y="233"/>
                    <a:pt x="34" y="221"/>
                  </a:cubicBezTo>
                  <a:cubicBezTo>
                    <a:pt x="27" y="221"/>
                    <a:pt x="27" y="221"/>
                    <a:pt x="27" y="221"/>
                  </a:cubicBezTo>
                  <a:cubicBezTo>
                    <a:pt x="27" y="206"/>
                    <a:pt x="27" y="206"/>
                    <a:pt x="27" y="206"/>
                  </a:cubicBezTo>
                  <a:cubicBezTo>
                    <a:pt x="52" y="206"/>
                    <a:pt x="52" y="206"/>
                    <a:pt x="52" y="206"/>
                  </a:cubicBezTo>
                  <a:cubicBezTo>
                    <a:pt x="52" y="206"/>
                    <a:pt x="52" y="206"/>
                    <a:pt x="52" y="206"/>
                  </a:cubicBezTo>
                  <a:cubicBezTo>
                    <a:pt x="52" y="206"/>
                    <a:pt x="52" y="206"/>
                    <a:pt x="52" y="206"/>
                  </a:cubicBezTo>
                  <a:cubicBezTo>
                    <a:pt x="52" y="206"/>
                    <a:pt x="52" y="206"/>
                    <a:pt x="52" y="206"/>
                  </a:cubicBezTo>
                  <a:cubicBezTo>
                    <a:pt x="52" y="206"/>
                    <a:pt x="52" y="206"/>
                    <a:pt x="52" y="206"/>
                  </a:cubicBezTo>
                  <a:cubicBezTo>
                    <a:pt x="52" y="206"/>
                    <a:pt x="52" y="206"/>
                    <a:pt x="52" y="206"/>
                  </a:cubicBezTo>
                  <a:cubicBezTo>
                    <a:pt x="53" y="206"/>
                    <a:pt x="53" y="206"/>
                    <a:pt x="53" y="206"/>
                  </a:cubicBezTo>
                  <a:cubicBezTo>
                    <a:pt x="53" y="206"/>
                    <a:pt x="53" y="206"/>
                    <a:pt x="53" y="206"/>
                  </a:cubicBezTo>
                  <a:cubicBezTo>
                    <a:pt x="53" y="206"/>
                    <a:pt x="53" y="206"/>
                    <a:pt x="53" y="206"/>
                  </a:cubicBezTo>
                  <a:cubicBezTo>
                    <a:pt x="53" y="206"/>
                    <a:pt x="53" y="206"/>
                    <a:pt x="53" y="206"/>
                  </a:cubicBezTo>
                  <a:cubicBezTo>
                    <a:pt x="54" y="206"/>
                    <a:pt x="54" y="206"/>
                    <a:pt x="54" y="206"/>
                  </a:cubicBezTo>
                  <a:cubicBezTo>
                    <a:pt x="54" y="206"/>
                    <a:pt x="54" y="206"/>
                    <a:pt x="54" y="206"/>
                  </a:cubicBezTo>
                  <a:cubicBezTo>
                    <a:pt x="54" y="206"/>
                    <a:pt x="54" y="206"/>
                    <a:pt x="54" y="206"/>
                  </a:cubicBezTo>
                  <a:cubicBezTo>
                    <a:pt x="54" y="206"/>
                    <a:pt x="54" y="206"/>
                    <a:pt x="54" y="206"/>
                  </a:cubicBezTo>
                  <a:cubicBezTo>
                    <a:pt x="54" y="206"/>
                    <a:pt x="54" y="206"/>
                    <a:pt x="54" y="206"/>
                  </a:cubicBezTo>
                  <a:cubicBezTo>
                    <a:pt x="54" y="206"/>
                    <a:pt x="54" y="206"/>
                    <a:pt x="54" y="206"/>
                  </a:cubicBezTo>
                  <a:cubicBezTo>
                    <a:pt x="55" y="206"/>
                    <a:pt x="55" y="206"/>
                    <a:pt x="55" y="206"/>
                  </a:cubicBezTo>
                  <a:cubicBezTo>
                    <a:pt x="55" y="206"/>
                    <a:pt x="55" y="206"/>
                    <a:pt x="55" y="206"/>
                  </a:cubicBezTo>
                  <a:cubicBezTo>
                    <a:pt x="55" y="206"/>
                    <a:pt x="55" y="206"/>
                    <a:pt x="55" y="206"/>
                  </a:cubicBezTo>
                  <a:cubicBezTo>
                    <a:pt x="55" y="206"/>
                    <a:pt x="55" y="206"/>
                    <a:pt x="55" y="206"/>
                  </a:cubicBezTo>
                  <a:cubicBezTo>
                    <a:pt x="56" y="206"/>
                    <a:pt x="56" y="206"/>
                    <a:pt x="56" y="206"/>
                  </a:cubicBezTo>
                  <a:cubicBezTo>
                    <a:pt x="56" y="206"/>
                    <a:pt x="56" y="206"/>
                    <a:pt x="56" y="206"/>
                  </a:cubicBezTo>
                  <a:cubicBezTo>
                    <a:pt x="56" y="206"/>
                    <a:pt x="56" y="206"/>
                    <a:pt x="56" y="206"/>
                  </a:cubicBezTo>
                  <a:cubicBezTo>
                    <a:pt x="56" y="206"/>
                    <a:pt x="56" y="206"/>
                    <a:pt x="56" y="206"/>
                  </a:cubicBezTo>
                  <a:cubicBezTo>
                    <a:pt x="56" y="206"/>
                    <a:pt x="56" y="206"/>
                    <a:pt x="56" y="206"/>
                  </a:cubicBezTo>
                  <a:cubicBezTo>
                    <a:pt x="56" y="206"/>
                    <a:pt x="56" y="206"/>
                    <a:pt x="56" y="206"/>
                  </a:cubicBezTo>
                  <a:cubicBezTo>
                    <a:pt x="57" y="206"/>
                    <a:pt x="57" y="206"/>
                    <a:pt x="57" y="206"/>
                  </a:cubicBezTo>
                  <a:cubicBezTo>
                    <a:pt x="57" y="206"/>
                    <a:pt x="57" y="206"/>
                    <a:pt x="57" y="206"/>
                  </a:cubicBezTo>
                  <a:cubicBezTo>
                    <a:pt x="57" y="206"/>
                    <a:pt x="57" y="206"/>
                    <a:pt x="57" y="206"/>
                  </a:cubicBezTo>
                  <a:cubicBezTo>
                    <a:pt x="57" y="206"/>
                    <a:pt x="57" y="206"/>
                    <a:pt x="57" y="206"/>
                  </a:cubicBezTo>
                  <a:cubicBezTo>
                    <a:pt x="57" y="206"/>
                    <a:pt x="57" y="206"/>
                    <a:pt x="57" y="206"/>
                  </a:cubicBezTo>
                  <a:cubicBezTo>
                    <a:pt x="58" y="206"/>
                    <a:pt x="58" y="206"/>
                    <a:pt x="58" y="206"/>
                  </a:cubicBezTo>
                  <a:cubicBezTo>
                    <a:pt x="58" y="206"/>
                    <a:pt x="58" y="206"/>
                    <a:pt x="58" y="206"/>
                  </a:cubicBezTo>
                  <a:cubicBezTo>
                    <a:pt x="58" y="206"/>
                    <a:pt x="58" y="206"/>
                    <a:pt x="58" y="206"/>
                  </a:cubicBezTo>
                  <a:cubicBezTo>
                    <a:pt x="58" y="206"/>
                    <a:pt x="58" y="206"/>
                    <a:pt x="58" y="206"/>
                  </a:cubicBezTo>
                  <a:cubicBezTo>
                    <a:pt x="58" y="206"/>
                    <a:pt x="58" y="206"/>
                    <a:pt x="58" y="206"/>
                  </a:cubicBezTo>
                  <a:cubicBezTo>
                    <a:pt x="59" y="206"/>
                    <a:pt x="59" y="206"/>
                    <a:pt x="59" y="206"/>
                  </a:cubicBezTo>
                  <a:close/>
                  <a:moveTo>
                    <a:pt x="0" y="0"/>
                  </a:moveTo>
                  <a:cubicBezTo>
                    <a:pt x="27" y="0"/>
                    <a:pt x="27" y="0"/>
                    <a:pt x="27" y="0"/>
                  </a:cubicBezTo>
                  <a:cubicBezTo>
                    <a:pt x="27" y="20"/>
                    <a:pt x="27" y="20"/>
                    <a:pt x="27" y="20"/>
                  </a:cubicBezTo>
                  <a:cubicBezTo>
                    <a:pt x="20" y="20"/>
                    <a:pt x="20" y="20"/>
                    <a:pt x="20" y="20"/>
                  </a:cubicBezTo>
                  <a:cubicBezTo>
                    <a:pt x="20" y="32"/>
                    <a:pt x="20" y="43"/>
                    <a:pt x="20" y="55"/>
                  </a:cubicBezTo>
                  <a:cubicBezTo>
                    <a:pt x="27" y="55"/>
                    <a:pt x="27" y="55"/>
                    <a:pt x="27" y="55"/>
                  </a:cubicBezTo>
                  <a:cubicBezTo>
                    <a:pt x="27" y="70"/>
                    <a:pt x="27" y="70"/>
                    <a:pt x="27" y="70"/>
                  </a:cubicBezTo>
                  <a:cubicBezTo>
                    <a:pt x="20" y="70"/>
                    <a:pt x="20" y="70"/>
                    <a:pt x="20" y="70"/>
                  </a:cubicBezTo>
                  <a:cubicBezTo>
                    <a:pt x="20" y="82"/>
                    <a:pt x="20" y="94"/>
                    <a:pt x="20" y="105"/>
                  </a:cubicBezTo>
                  <a:cubicBezTo>
                    <a:pt x="27" y="105"/>
                    <a:pt x="27" y="105"/>
                    <a:pt x="27" y="105"/>
                  </a:cubicBezTo>
                  <a:cubicBezTo>
                    <a:pt x="27" y="121"/>
                    <a:pt x="27" y="121"/>
                    <a:pt x="27" y="121"/>
                  </a:cubicBezTo>
                  <a:cubicBezTo>
                    <a:pt x="20" y="121"/>
                    <a:pt x="20" y="121"/>
                    <a:pt x="20" y="121"/>
                  </a:cubicBezTo>
                  <a:cubicBezTo>
                    <a:pt x="20" y="132"/>
                    <a:pt x="20" y="144"/>
                    <a:pt x="20" y="156"/>
                  </a:cubicBezTo>
                  <a:cubicBezTo>
                    <a:pt x="27" y="156"/>
                    <a:pt x="27" y="156"/>
                    <a:pt x="27" y="156"/>
                  </a:cubicBezTo>
                  <a:cubicBezTo>
                    <a:pt x="27" y="171"/>
                    <a:pt x="27" y="171"/>
                    <a:pt x="27" y="171"/>
                  </a:cubicBezTo>
                  <a:cubicBezTo>
                    <a:pt x="20" y="171"/>
                    <a:pt x="20" y="171"/>
                    <a:pt x="20" y="171"/>
                  </a:cubicBezTo>
                  <a:cubicBezTo>
                    <a:pt x="20" y="183"/>
                    <a:pt x="20" y="194"/>
                    <a:pt x="20" y="206"/>
                  </a:cubicBezTo>
                  <a:cubicBezTo>
                    <a:pt x="27" y="206"/>
                    <a:pt x="27" y="206"/>
                    <a:pt x="27" y="206"/>
                  </a:cubicBezTo>
                  <a:cubicBezTo>
                    <a:pt x="27" y="221"/>
                    <a:pt x="27" y="221"/>
                    <a:pt x="27" y="221"/>
                  </a:cubicBezTo>
                  <a:cubicBezTo>
                    <a:pt x="20" y="221"/>
                    <a:pt x="20" y="221"/>
                    <a:pt x="20" y="221"/>
                  </a:cubicBezTo>
                  <a:cubicBezTo>
                    <a:pt x="20" y="233"/>
                    <a:pt x="20" y="245"/>
                    <a:pt x="20" y="256"/>
                  </a:cubicBezTo>
                  <a:cubicBezTo>
                    <a:pt x="27" y="256"/>
                    <a:pt x="27" y="256"/>
                    <a:pt x="27" y="256"/>
                  </a:cubicBezTo>
                  <a:cubicBezTo>
                    <a:pt x="27" y="272"/>
                    <a:pt x="27" y="272"/>
                    <a:pt x="27" y="272"/>
                  </a:cubicBezTo>
                  <a:cubicBezTo>
                    <a:pt x="20" y="272"/>
                    <a:pt x="20" y="272"/>
                    <a:pt x="20" y="272"/>
                  </a:cubicBezTo>
                  <a:cubicBezTo>
                    <a:pt x="20" y="283"/>
                    <a:pt x="20" y="295"/>
                    <a:pt x="20" y="307"/>
                  </a:cubicBezTo>
                  <a:cubicBezTo>
                    <a:pt x="27" y="307"/>
                    <a:pt x="27" y="307"/>
                    <a:pt x="27" y="307"/>
                  </a:cubicBezTo>
                  <a:cubicBezTo>
                    <a:pt x="27" y="322"/>
                    <a:pt x="27" y="322"/>
                    <a:pt x="27" y="322"/>
                  </a:cubicBezTo>
                  <a:cubicBezTo>
                    <a:pt x="20" y="322"/>
                    <a:pt x="20" y="322"/>
                    <a:pt x="20" y="322"/>
                  </a:cubicBezTo>
                  <a:cubicBezTo>
                    <a:pt x="20" y="334"/>
                    <a:pt x="20" y="345"/>
                    <a:pt x="20" y="357"/>
                  </a:cubicBezTo>
                  <a:cubicBezTo>
                    <a:pt x="27" y="357"/>
                    <a:pt x="27" y="357"/>
                    <a:pt x="27" y="357"/>
                  </a:cubicBezTo>
                  <a:cubicBezTo>
                    <a:pt x="27" y="372"/>
                    <a:pt x="27" y="372"/>
                    <a:pt x="27" y="372"/>
                  </a:cubicBezTo>
                  <a:cubicBezTo>
                    <a:pt x="20" y="372"/>
                    <a:pt x="20" y="372"/>
                    <a:pt x="20" y="372"/>
                  </a:cubicBezTo>
                  <a:cubicBezTo>
                    <a:pt x="20" y="384"/>
                    <a:pt x="20" y="396"/>
                    <a:pt x="20" y="407"/>
                  </a:cubicBezTo>
                  <a:cubicBezTo>
                    <a:pt x="27" y="407"/>
                    <a:pt x="27" y="407"/>
                    <a:pt x="27" y="407"/>
                  </a:cubicBezTo>
                  <a:cubicBezTo>
                    <a:pt x="27" y="423"/>
                    <a:pt x="27" y="423"/>
                    <a:pt x="27" y="423"/>
                  </a:cubicBezTo>
                  <a:cubicBezTo>
                    <a:pt x="20" y="423"/>
                    <a:pt x="20" y="423"/>
                    <a:pt x="20" y="423"/>
                  </a:cubicBezTo>
                  <a:cubicBezTo>
                    <a:pt x="20" y="434"/>
                    <a:pt x="20" y="446"/>
                    <a:pt x="20" y="458"/>
                  </a:cubicBezTo>
                  <a:cubicBezTo>
                    <a:pt x="27" y="458"/>
                    <a:pt x="27" y="458"/>
                    <a:pt x="27" y="458"/>
                  </a:cubicBezTo>
                  <a:cubicBezTo>
                    <a:pt x="27" y="480"/>
                    <a:pt x="27" y="480"/>
                    <a:pt x="27" y="480"/>
                  </a:cubicBezTo>
                  <a:cubicBezTo>
                    <a:pt x="0" y="480"/>
                    <a:pt x="0" y="480"/>
                    <a:pt x="0" y="480"/>
                  </a:cubicBezTo>
                  <a:cubicBezTo>
                    <a:pt x="0" y="400"/>
                    <a:pt x="0" y="320"/>
                    <a:pt x="0" y="240"/>
                  </a:cubicBezTo>
                  <a:cubicBezTo>
                    <a:pt x="0" y="160"/>
                    <a:pt x="0" y="80"/>
                    <a:pt x="0" y="0"/>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4" name="iṣḷiḋè">
              <a:extLst>
                <a:ext uri="{FF2B5EF4-FFF2-40B4-BE49-F238E27FC236}">
                  <a16:creationId xmlns:a16="http://schemas.microsoft.com/office/drawing/2014/main" id="{AC50D8D6-E2DA-4FF9-B016-5F1299B77468}"/>
                </a:ext>
              </a:extLst>
            </p:cNvPr>
            <p:cNvSpPr/>
            <p:nvPr/>
          </p:nvSpPr>
          <p:spPr bwMode="auto">
            <a:xfrm flipH="1">
              <a:off x="1898922" y="2659319"/>
              <a:ext cx="621118" cy="603075"/>
            </a:xfrm>
            <a:custGeom>
              <a:avLst/>
              <a:gdLst>
                <a:gd name="T0" fmla="*/ 316 w 371"/>
                <a:gd name="T1" fmla="*/ 101 h 369"/>
                <a:gd name="T2" fmla="*/ 319 w 371"/>
                <a:gd name="T3" fmla="*/ 74 h 369"/>
                <a:gd name="T4" fmla="*/ 309 w 371"/>
                <a:gd name="T5" fmla="*/ 242 h 369"/>
                <a:gd name="T6" fmla="*/ 309 w 371"/>
                <a:gd name="T7" fmla="*/ 175 h 369"/>
                <a:gd name="T8" fmla="*/ 292 w 371"/>
                <a:gd name="T9" fmla="*/ 77 h 369"/>
                <a:gd name="T10" fmla="*/ 276 w 371"/>
                <a:gd name="T11" fmla="*/ 235 h 369"/>
                <a:gd name="T12" fmla="*/ 260 w 371"/>
                <a:gd name="T13" fmla="*/ 182 h 369"/>
                <a:gd name="T14" fmla="*/ 260 w 371"/>
                <a:gd name="T15" fmla="*/ 248 h 369"/>
                <a:gd name="T16" fmla="*/ 247 w 371"/>
                <a:gd name="T17" fmla="*/ 29 h 369"/>
                <a:gd name="T18" fmla="*/ 247 w 371"/>
                <a:gd name="T19" fmla="*/ 139 h 369"/>
                <a:gd name="T20" fmla="*/ 260 w 371"/>
                <a:gd name="T21" fmla="*/ 188 h 369"/>
                <a:gd name="T22" fmla="*/ 232 w 371"/>
                <a:gd name="T23" fmla="*/ 316 h 369"/>
                <a:gd name="T24" fmla="*/ 232 w 371"/>
                <a:gd name="T25" fmla="*/ 152 h 369"/>
                <a:gd name="T26" fmla="*/ 228 w 371"/>
                <a:gd name="T27" fmla="*/ 10 h 369"/>
                <a:gd name="T28" fmla="*/ 232 w 371"/>
                <a:gd name="T29" fmla="*/ 92 h 369"/>
                <a:gd name="T30" fmla="*/ 228 w 371"/>
                <a:gd name="T31" fmla="*/ 191 h 369"/>
                <a:gd name="T32" fmla="*/ 232 w 371"/>
                <a:gd name="T33" fmla="*/ 198 h 369"/>
                <a:gd name="T34" fmla="*/ 226 w 371"/>
                <a:gd name="T35" fmla="*/ 279 h 369"/>
                <a:gd name="T36" fmla="*/ 228 w 371"/>
                <a:gd name="T37" fmla="*/ 191 h 369"/>
                <a:gd name="T38" fmla="*/ 226 w 371"/>
                <a:gd name="T39" fmla="*/ 221 h 369"/>
                <a:gd name="T40" fmla="*/ 216 w 371"/>
                <a:gd name="T41" fmla="*/ 331 h 369"/>
                <a:gd name="T42" fmla="*/ 226 w 371"/>
                <a:gd name="T43" fmla="*/ 159 h 369"/>
                <a:gd name="T44" fmla="*/ 216 w 371"/>
                <a:gd name="T45" fmla="*/ 269 h 369"/>
                <a:gd name="T46" fmla="*/ 200 w 371"/>
                <a:gd name="T47" fmla="*/ 298 h 369"/>
                <a:gd name="T48" fmla="*/ 200 w 371"/>
                <a:gd name="T49" fmla="*/ 98 h 369"/>
                <a:gd name="T50" fmla="*/ 216 w 371"/>
                <a:gd name="T51" fmla="*/ 230 h 369"/>
                <a:gd name="T52" fmla="*/ 200 w 371"/>
                <a:gd name="T53" fmla="*/ 94 h 369"/>
                <a:gd name="T54" fmla="*/ 200 w 371"/>
                <a:gd name="T55" fmla="*/ 347 h 369"/>
                <a:gd name="T56" fmla="*/ 199 w 371"/>
                <a:gd name="T57" fmla="*/ 185 h 369"/>
                <a:gd name="T58" fmla="*/ 197 w 371"/>
                <a:gd name="T59" fmla="*/ 19 h 369"/>
                <a:gd name="T60" fmla="*/ 197 w 371"/>
                <a:gd name="T61" fmla="*/ 295 h 369"/>
                <a:gd name="T62" fmla="*/ 197 w 371"/>
                <a:gd name="T63" fmla="*/ 186 h 369"/>
                <a:gd name="T64" fmla="*/ 193 w 371"/>
                <a:gd name="T65" fmla="*/ 111 h 369"/>
                <a:gd name="T66" fmla="*/ 193 w 371"/>
                <a:gd name="T67" fmla="*/ 129 h 369"/>
                <a:gd name="T68" fmla="*/ 193 w 371"/>
                <a:gd name="T69" fmla="*/ 311 h 369"/>
                <a:gd name="T70" fmla="*/ 183 w 371"/>
                <a:gd name="T71" fmla="*/ 362 h 369"/>
                <a:gd name="T72" fmla="*/ 183 w 371"/>
                <a:gd name="T73" fmla="*/ 172 h 369"/>
                <a:gd name="T74" fmla="*/ 176 w 371"/>
                <a:gd name="T75" fmla="*/ 207 h 369"/>
                <a:gd name="T76" fmla="*/ 164 w 371"/>
                <a:gd name="T77" fmla="*/ 82 h 369"/>
                <a:gd name="T78" fmla="*/ 168 w 371"/>
                <a:gd name="T79" fmla="*/ 198 h 369"/>
                <a:gd name="T80" fmla="*/ 161 w 371"/>
                <a:gd name="T81" fmla="*/ 323 h 369"/>
                <a:gd name="T82" fmla="*/ 162 w 371"/>
                <a:gd name="T83" fmla="*/ 192 h 369"/>
                <a:gd name="T84" fmla="*/ 164 w 371"/>
                <a:gd name="T85" fmla="*/ 280 h 369"/>
                <a:gd name="T86" fmla="*/ 161 w 371"/>
                <a:gd name="T87" fmla="*/ 323 h 369"/>
                <a:gd name="T88" fmla="*/ 152 w 371"/>
                <a:gd name="T89" fmla="*/ 202 h 369"/>
                <a:gd name="T90" fmla="*/ 132 w 371"/>
                <a:gd name="T91" fmla="*/ 323 h 369"/>
                <a:gd name="T92" fmla="*/ 152 w 371"/>
                <a:gd name="T93" fmla="*/ 106 h 369"/>
                <a:gd name="T94" fmla="*/ 132 w 371"/>
                <a:gd name="T95" fmla="*/ 283 h 369"/>
                <a:gd name="T96" fmla="*/ 132 w 371"/>
                <a:gd name="T97" fmla="*/ 249 h 369"/>
                <a:gd name="T98" fmla="*/ 117 w 371"/>
                <a:gd name="T99" fmla="*/ 74 h 369"/>
                <a:gd name="T100" fmla="*/ 117 w 371"/>
                <a:gd name="T101" fmla="*/ 307 h 369"/>
                <a:gd name="T102" fmla="*/ 101 w 371"/>
                <a:gd name="T103" fmla="*/ 155 h 369"/>
                <a:gd name="T104" fmla="*/ 101 w 371"/>
                <a:gd name="T105" fmla="*/ 290 h 369"/>
                <a:gd name="T106" fmla="*/ 101 w 371"/>
                <a:gd name="T107" fmla="*/ 290 h 369"/>
                <a:gd name="T108" fmla="*/ 69 w 371"/>
                <a:gd name="T109" fmla="*/ 186 h 369"/>
                <a:gd name="T110" fmla="*/ 69 w 371"/>
                <a:gd name="T111" fmla="*/ 157 h 369"/>
                <a:gd name="T112" fmla="*/ 67 w 371"/>
                <a:gd name="T113" fmla="*/ 159 h 369"/>
                <a:gd name="T114" fmla="*/ 34 w 371"/>
                <a:gd name="T115" fmla="*/ 191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1" h="369">
                  <a:moveTo>
                    <a:pt x="309" y="35"/>
                  </a:moveTo>
                  <a:cubicBezTo>
                    <a:pt x="316" y="35"/>
                    <a:pt x="324" y="37"/>
                    <a:pt x="330" y="42"/>
                  </a:cubicBezTo>
                  <a:cubicBezTo>
                    <a:pt x="341" y="32"/>
                    <a:pt x="341" y="32"/>
                    <a:pt x="341" y="32"/>
                  </a:cubicBezTo>
                  <a:cubicBezTo>
                    <a:pt x="340" y="29"/>
                    <a:pt x="340" y="26"/>
                    <a:pt x="342" y="24"/>
                  </a:cubicBezTo>
                  <a:cubicBezTo>
                    <a:pt x="345" y="22"/>
                    <a:pt x="350" y="22"/>
                    <a:pt x="352" y="24"/>
                  </a:cubicBezTo>
                  <a:cubicBezTo>
                    <a:pt x="355" y="27"/>
                    <a:pt x="355" y="32"/>
                    <a:pt x="352" y="34"/>
                  </a:cubicBezTo>
                  <a:cubicBezTo>
                    <a:pt x="350" y="36"/>
                    <a:pt x="347" y="37"/>
                    <a:pt x="344" y="35"/>
                  </a:cubicBezTo>
                  <a:cubicBezTo>
                    <a:pt x="333" y="46"/>
                    <a:pt x="333" y="46"/>
                    <a:pt x="333" y="46"/>
                  </a:cubicBezTo>
                  <a:cubicBezTo>
                    <a:pt x="343" y="58"/>
                    <a:pt x="342" y="76"/>
                    <a:pt x="331" y="86"/>
                  </a:cubicBezTo>
                  <a:cubicBezTo>
                    <a:pt x="316" y="101"/>
                    <a:pt x="316" y="101"/>
                    <a:pt x="316" y="101"/>
                  </a:cubicBezTo>
                  <a:cubicBezTo>
                    <a:pt x="371" y="158"/>
                    <a:pt x="371" y="158"/>
                    <a:pt x="371" y="158"/>
                  </a:cubicBezTo>
                  <a:cubicBezTo>
                    <a:pt x="350" y="178"/>
                    <a:pt x="350" y="178"/>
                    <a:pt x="350" y="178"/>
                  </a:cubicBezTo>
                  <a:cubicBezTo>
                    <a:pt x="362" y="191"/>
                    <a:pt x="362" y="191"/>
                    <a:pt x="362" y="191"/>
                  </a:cubicBezTo>
                  <a:cubicBezTo>
                    <a:pt x="309" y="242"/>
                    <a:pt x="309" y="242"/>
                    <a:pt x="309" y="242"/>
                  </a:cubicBezTo>
                  <a:cubicBezTo>
                    <a:pt x="309" y="203"/>
                    <a:pt x="309" y="203"/>
                    <a:pt x="309" y="203"/>
                  </a:cubicBezTo>
                  <a:cubicBezTo>
                    <a:pt x="327" y="186"/>
                    <a:pt x="327" y="186"/>
                    <a:pt x="327" y="186"/>
                  </a:cubicBezTo>
                  <a:cubicBezTo>
                    <a:pt x="323" y="181"/>
                    <a:pt x="318" y="176"/>
                    <a:pt x="314" y="171"/>
                  </a:cubicBezTo>
                  <a:cubicBezTo>
                    <a:pt x="309" y="175"/>
                    <a:pt x="309" y="175"/>
                    <a:pt x="309" y="175"/>
                  </a:cubicBezTo>
                  <a:cubicBezTo>
                    <a:pt x="309" y="84"/>
                    <a:pt x="309" y="84"/>
                    <a:pt x="309" y="84"/>
                  </a:cubicBezTo>
                  <a:cubicBezTo>
                    <a:pt x="319" y="74"/>
                    <a:pt x="319" y="74"/>
                    <a:pt x="319" y="74"/>
                  </a:cubicBezTo>
                  <a:cubicBezTo>
                    <a:pt x="324" y="69"/>
                    <a:pt x="325" y="61"/>
                    <a:pt x="320" y="56"/>
                  </a:cubicBezTo>
                  <a:cubicBezTo>
                    <a:pt x="317" y="53"/>
                    <a:pt x="313" y="51"/>
                    <a:pt x="309" y="52"/>
                  </a:cubicBezTo>
                  <a:lnTo>
                    <a:pt x="309" y="35"/>
                  </a:lnTo>
                  <a:close/>
                  <a:moveTo>
                    <a:pt x="292" y="41"/>
                  </a:moveTo>
                  <a:cubicBezTo>
                    <a:pt x="297" y="37"/>
                    <a:pt x="303" y="35"/>
                    <a:pt x="309" y="35"/>
                  </a:cubicBezTo>
                  <a:cubicBezTo>
                    <a:pt x="309" y="52"/>
                    <a:pt x="309" y="52"/>
                    <a:pt x="309" y="52"/>
                  </a:cubicBezTo>
                  <a:cubicBezTo>
                    <a:pt x="306" y="52"/>
                    <a:pt x="303" y="53"/>
                    <a:pt x="301" y="55"/>
                  </a:cubicBezTo>
                  <a:cubicBezTo>
                    <a:pt x="292" y="63"/>
                    <a:pt x="292" y="63"/>
                    <a:pt x="292" y="63"/>
                  </a:cubicBezTo>
                  <a:cubicBezTo>
                    <a:pt x="292" y="41"/>
                    <a:pt x="292" y="41"/>
                    <a:pt x="292" y="41"/>
                  </a:cubicBezTo>
                  <a:close/>
                  <a:moveTo>
                    <a:pt x="309" y="242"/>
                  </a:moveTo>
                  <a:cubicBezTo>
                    <a:pt x="292" y="258"/>
                    <a:pt x="292" y="258"/>
                    <a:pt x="292" y="258"/>
                  </a:cubicBezTo>
                  <a:cubicBezTo>
                    <a:pt x="292" y="219"/>
                    <a:pt x="292" y="219"/>
                    <a:pt x="292" y="219"/>
                  </a:cubicBezTo>
                  <a:cubicBezTo>
                    <a:pt x="294" y="217"/>
                    <a:pt x="294" y="217"/>
                    <a:pt x="294" y="217"/>
                  </a:cubicBezTo>
                  <a:cubicBezTo>
                    <a:pt x="292" y="215"/>
                    <a:pt x="292" y="215"/>
                    <a:pt x="292" y="215"/>
                  </a:cubicBezTo>
                  <a:cubicBezTo>
                    <a:pt x="292" y="195"/>
                    <a:pt x="292" y="195"/>
                    <a:pt x="292" y="195"/>
                  </a:cubicBezTo>
                  <a:cubicBezTo>
                    <a:pt x="304" y="208"/>
                    <a:pt x="304" y="208"/>
                    <a:pt x="304" y="208"/>
                  </a:cubicBezTo>
                  <a:cubicBezTo>
                    <a:pt x="309" y="203"/>
                    <a:pt x="309" y="203"/>
                    <a:pt x="309" y="203"/>
                  </a:cubicBezTo>
                  <a:cubicBezTo>
                    <a:pt x="309" y="242"/>
                    <a:pt x="309" y="242"/>
                    <a:pt x="309" y="242"/>
                  </a:cubicBezTo>
                  <a:close/>
                  <a:moveTo>
                    <a:pt x="309" y="84"/>
                  </a:moveTo>
                  <a:cubicBezTo>
                    <a:pt x="309" y="175"/>
                    <a:pt x="309" y="175"/>
                    <a:pt x="309" y="175"/>
                  </a:cubicBezTo>
                  <a:cubicBezTo>
                    <a:pt x="292" y="191"/>
                    <a:pt x="292" y="191"/>
                    <a:pt x="292" y="191"/>
                  </a:cubicBezTo>
                  <a:cubicBezTo>
                    <a:pt x="292" y="77"/>
                    <a:pt x="292" y="77"/>
                    <a:pt x="292" y="77"/>
                  </a:cubicBezTo>
                  <a:cubicBezTo>
                    <a:pt x="304" y="89"/>
                    <a:pt x="304" y="89"/>
                    <a:pt x="304" y="89"/>
                  </a:cubicBezTo>
                  <a:lnTo>
                    <a:pt x="309" y="84"/>
                  </a:lnTo>
                  <a:close/>
                  <a:moveTo>
                    <a:pt x="276" y="56"/>
                  </a:moveTo>
                  <a:cubicBezTo>
                    <a:pt x="289" y="43"/>
                    <a:pt x="289" y="43"/>
                    <a:pt x="289" y="43"/>
                  </a:cubicBezTo>
                  <a:cubicBezTo>
                    <a:pt x="290" y="42"/>
                    <a:pt x="291" y="41"/>
                    <a:pt x="292" y="41"/>
                  </a:cubicBezTo>
                  <a:cubicBezTo>
                    <a:pt x="292" y="63"/>
                    <a:pt x="292" y="63"/>
                    <a:pt x="292" y="63"/>
                  </a:cubicBezTo>
                  <a:cubicBezTo>
                    <a:pt x="286" y="70"/>
                    <a:pt x="286" y="70"/>
                    <a:pt x="286" y="70"/>
                  </a:cubicBezTo>
                  <a:cubicBezTo>
                    <a:pt x="292" y="77"/>
                    <a:pt x="292" y="77"/>
                    <a:pt x="292" y="77"/>
                  </a:cubicBezTo>
                  <a:cubicBezTo>
                    <a:pt x="292" y="191"/>
                    <a:pt x="292" y="191"/>
                    <a:pt x="292" y="191"/>
                  </a:cubicBezTo>
                  <a:cubicBezTo>
                    <a:pt x="290" y="193"/>
                    <a:pt x="290" y="193"/>
                    <a:pt x="290" y="193"/>
                  </a:cubicBezTo>
                  <a:cubicBezTo>
                    <a:pt x="292" y="195"/>
                    <a:pt x="292" y="195"/>
                    <a:pt x="292" y="195"/>
                  </a:cubicBezTo>
                  <a:cubicBezTo>
                    <a:pt x="292" y="215"/>
                    <a:pt x="292" y="215"/>
                    <a:pt x="292" y="215"/>
                  </a:cubicBezTo>
                  <a:cubicBezTo>
                    <a:pt x="280" y="203"/>
                    <a:pt x="280" y="203"/>
                    <a:pt x="280" y="203"/>
                  </a:cubicBezTo>
                  <a:cubicBezTo>
                    <a:pt x="276" y="207"/>
                    <a:pt x="276" y="207"/>
                    <a:pt x="276" y="207"/>
                  </a:cubicBezTo>
                  <a:cubicBezTo>
                    <a:pt x="276" y="56"/>
                    <a:pt x="276" y="56"/>
                    <a:pt x="276" y="56"/>
                  </a:cubicBezTo>
                  <a:close/>
                  <a:moveTo>
                    <a:pt x="292" y="258"/>
                  </a:moveTo>
                  <a:cubicBezTo>
                    <a:pt x="276" y="274"/>
                    <a:pt x="276" y="274"/>
                    <a:pt x="276" y="274"/>
                  </a:cubicBezTo>
                  <a:cubicBezTo>
                    <a:pt x="276" y="235"/>
                    <a:pt x="276" y="235"/>
                    <a:pt x="276" y="235"/>
                  </a:cubicBezTo>
                  <a:cubicBezTo>
                    <a:pt x="292" y="219"/>
                    <a:pt x="292" y="219"/>
                    <a:pt x="292" y="219"/>
                  </a:cubicBezTo>
                  <a:lnTo>
                    <a:pt x="292" y="258"/>
                  </a:lnTo>
                  <a:close/>
                  <a:moveTo>
                    <a:pt x="260" y="43"/>
                  </a:moveTo>
                  <a:cubicBezTo>
                    <a:pt x="274" y="58"/>
                    <a:pt x="274" y="58"/>
                    <a:pt x="274" y="58"/>
                  </a:cubicBezTo>
                  <a:cubicBezTo>
                    <a:pt x="276" y="56"/>
                    <a:pt x="276" y="56"/>
                    <a:pt x="276" y="56"/>
                  </a:cubicBezTo>
                  <a:cubicBezTo>
                    <a:pt x="276" y="207"/>
                    <a:pt x="276" y="207"/>
                    <a:pt x="276" y="207"/>
                  </a:cubicBezTo>
                  <a:cubicBezTo>
                    <a:pt x="260" y="222"/>
                    <a:pt x="260" y="222"/>
                    <a:pt x="260" y="222"/>
                  </a:cubicBezTo>
                  <a:cubicBezTo>
                    <a:pt x="260" y="188"/>
                    <a:pt x="260" y="188"/>
                    <a:pt x="260" y="188"/>
                  </a:cubicBezTo>
                  <a:cubicBezTo>
                    <a:pt x="264" y="185"/>
                    <a:pt x="264" y="185"/>
                    <a:pt x="264" y="185"/>
                  </a:cubicBezTo>
                  <a:cubicBezTo>
                    <a:pt x="260" y="182"/>
                    <a:pt x="260" y="182"/>
                    <a:pt x="260" y="182"/>
                  </a:cubicBezTo>
                  <a:cubicBezTo>
                    <a:pt x="260" y="126"/>
                    <a:pt x="260" y="126"/>
                    <a:pt x="260" y="126"/>
                  </a:cubicBezTo>
                  <a:cubicBezTo>
                    <a:pt x="266" y="121"/>
                    <a:pt x="266" y="121"/>
                    <a:pt x="266" y="121"/>
                  </a:cubicBezTo>
                  <a:cubicBezTo>
                    <a:pt x="260" y="116"/>
                    <a:pt x="260" y="116"/>
                    <a:pt x="260" y="116"/>
                  </a:cubicBezTo>
                  <a:cubicBezTo>
                    <a:pt x="260" y="43"/>
                    <a:pt x="260" y="43"/>
                    <a:pt x="260" y="43"/>
                  </a:cubicBezTo>
                  <a:close/>
                  <a:moveTo>
                    <a:pt x="276" y="274"/>
                  </a:moveTo>
                  <a:cubicBezTo>
                    <a:pt x="269" y="280"/>
                    <a:pt x="269" y="280"/>
                    <a:pt x="269" y="280"/>
                  </a:cubicBezTo>
                  <a:cubicBezTo>
                    <a:pt x="260" y="288"/>
                    <a:pt x="260" y="288"/>
                    <a:pt x="260" y="288"/>
                  </a:cubicBezTo>
                  <a:cubicBezTo>
                    <a:pt x="260" y="250"/>
                    <a:pt x="260" y="250"/>
                    <a:pt x="260" y="250"/>
                  </a:cubicBezTo>
                  <a:cubicBezTo>
                    <a:pt x="261" y="249"/>
                    <a:pt x="261" y="249"/>
                    <a:pt x="261" y="249"/>
                  </a:cubicBezTo>
                  <a:cubicBezTo>
                    <a:pt x="260" y="248"/>
                    <a:pt x="260" y="248"/>
                    <a:pt x="260" y="248"/>
                  </a:cubicBezTo>
                  <a:cubicBezTo>
                    <a:pt x="260" y="228"/>
                    <a:pt x="260" y="228"/>
                    <a:pt x="260" y="228"/>
                  </a:cubicBezTo>
                  <a:cubicBezTo>
                    <a:pt x="271" y="240"/>
                    <a:pt x="271" y="240"/>
                    <a:pt x="271" y="240"/>
                  </a:cubicBezTo>
                  <a:cubicBezTo>
                    <a:pt x="276" y="235"/>
                    <a:pt x="276" y="235"/>
                    <a:pt x="276" y="235"/>
                  </a:cubicBezTo>
                  <a:lnTo>
                    <a:pt x="276" y="274"/>
                  </a:lnTo>
                  <a:close/>
                  <a:moveTo>
                    <a:pt x="247" y="29"/>
                  </a:moveTo>
                  <a:cubicBezTo>
                    <a:pt x="260" y="43"/>
                    <a:pt x="260" y="43"/>
                    <a:pt x="260" y="43"/>
                  </a:cubicBezTo>
                  <a:cubicBezTo>
                    <a:pt x="260" y="116"/>
                    <a:pt x="260" y="116"/>
                    <a:pt x="260" y="116"/>
                  </a:cubicBezTo>
                  <a:cubicBezTo>
                    <a:pt x="252" y="107"/>
                    <a:pt x="252" y="107"/>
                    <a:pt x="252" y="107"/>
                  </a:cubicBezTo>
                  <a:cubicBezTo>
                    <a:pt x="247" y="111"/>
                    <a:pt x="247" y="111"/>
                    <a:pt x="247" y="111"/>
                  </a:cubicBezTo>
                  <a:cubicBezTo>
                    <a:pt x="247" y="29"/>
                    <a:pt x="247" y="29"/>
                    <a:pt x="247" y="29"/>
                  </a:cubicBezTo>
                  <a:close/>
                  <a:moveTo>
                    <a:pt x="260" y="288"/>
                  </a:moveTo>
                  <a:cubicBezTo>
                    <a:pt x="247" y="301"/>
                    <a:pt x="247" y="301"/>
                    <a:pt x="247" y="301"/>
                  </a:cubicBezTo>
                  <a:cubicBezTo>
                    <a:pt x="247" y="262"/>
                    <a:pt x="247" y="262"/>
                    <a:pt x="247" y="262"/>
                  </a:cubicBezTo>
                  <a:cubicBezTo>
                    <a:pt x="260" y="250"/>
                    <a:pt x="260" y="250"/>
                    <a:pt x="260" y="250"/>
                  </a:cubicBezTo>
                  <a:cubicBezTo>
                    <a:pt x="260" y="288"/>
                    <a:pt x="260" y="288"/>
                    <a:pt x="260" y="288"/>
                  </a:cubicBezTo>
                  <a:close/>
                  <a:moveTo>
                    <a:pt x="260" y="126"/>
                  </a:moveTo>
                  <a:cubicBezTo>
                    <a:pt x="260" y="182"/>
                    <a:pt x="260" y="182"/>
                    <a:pt x="260" y="182"/>
                  </a:cubicBezTo>
                  <a:cubicBezTo>
                    <a:pt x="249" y="171"/>
                    <a:pt x="249" y="171"/>
                    <a:pt x="249" y="171"/>
                  </a:cubicBezTo>
                  <a:cubicBezTo>
                    <a:pt x="247" y="173"/>
                    <a:pt x="247" y="173"/>
                    <a:pt x="247" y="173"/>
                  </a:cubicBezTo>
                  <a:cubicBezTo>
                    <a:pt x="247" y="139"/>
                    <a:pt x="247" y="139"/>
                    <a:pt x="247" y="139"/>
                  </a:cubicBezTo>
                  <a:cubicBezTo>
                    <a:pt x="260" y="126"/>
                    <a:pt x="260" y="126"/>
                    <a:pt x="260" y="126"/>
                  </a:cubicBezTo>
                  <a:close/>
                  <a:moveTo>
                    <a:pt x="260" y="188"/>
                  </a:moveTo>
                  <a:cubicBezTo>
                    <a:pt x="260" y="222"/>
                    <a:pt x="260" y="222"/>
                    <a:pt x="260" y="222"/>
                  </a:cubicBezTo>
                  <a:cubicBezTo>
                    <a:pt x="257" y="225"/>
                    <a:pt x="257" y="225"/>
                    <a:pt x="257" y="225"/>
                  </a:cubicBezTo>
                  <a:cubicBezTo>
                    <a:pt x="260" y="228"/>
                    <a:pt x="260" y="228"/>
                    <a:pt x="260" y="228"/>
                  </a:cubicBezTo>
                  <a:cubicBezTo>
                    <a:pt x="260" y="248"/>
                    <a:pt x="260" y="248"/>
                    <a:pt x="260" y="248"/>
                  </a:cubicBezTo>
                  <a:cubicBezTo>
                    <a:pt x="247" y="235"/>
                    <a:pt x="247" y="235"/>
                    <a:pt x="247" y="235"/>
                  </a:cubicBezTo>
                  <a:cubicBezTo>
                    <a:pt x="247" y="235"/>
                    <a:pt x="247" y="235"/>
                    <a:pt x="247" y="235"/>
                  </a:cubicBezTo>
                  <a:cubicBezTo>
                    <a:pt x="247" y="201"/>
                    <a:pt x="247" y="201"/>
                    <a:pt x="247" y="201"/>
                  </a:cubicBezTo>
                  <a:lnTo>
                    <a:pt x="260" y="188"/>
                  </a:lnTo>
                  <a:close/>
                  <a:moveTo>
                    <a:pt x="232" y="13"/>
                  </a:moveTo>
                  <a:cubicBezTo>
                    <a:pt x="247" y="29"/>
                    <a:pt x="247" y="29"/>
                    <a:pt x="247" y="29"/>
                  </a:cubicBezTo>
                  <a:cubicBezTo>
                    <a:pt x="247" y="111"/>
                    <a:pt x="247" y="111"/>
                    <a:pt x="247" y="111"/>
                  </a:cubicBezTo>
                  <a:cubicBezTo>
                    <a:pt x="232" y="126"/>
                    <a:pt x="232" y="126"/>
                    <a:pt x="232" y="126"/>
                  </a:cubicBezTo>
                  <a:cubicBezTo>
                    <a:pt x="232" y="92"/>
                    <a:pt x="232" y="92"/>
                    <a:pt x="232" y="92"/>
                  </a:cubicBezTo>
                  <a:cubicBezTo>
                    <a:pt x="235" y="89"/>
                    <a:pt x="235" y="89"/>
                    <a:pt x="235" y="89"/>
                  </a:cubicBezTo>
                  <a:cubicBezTo>
                    <a:pt x="232" y="86"/>
                    <a:pt x="232" y="86"/>
                    <a:pt x="232" y="86"/>
                  </a:cubicBezTo>
                  <a:cubicBezTo>
                    <a:pt x="232" y="13"/>
                    <a:pt x="232" y="13"/>
                    <a:pt x="232" y="13"/>
                  </a:cubicBezTo>
                  <a:close/>
                  <a:moveTo>
                    <a:pt x="247" y="301"/>
                  </a:moveTo>
                  <a:cubicBezTo>
                    <a:pt x="232" y="316"/>
                    <a:pt x="232" y="316"/>
                    <a:pt x="232" y="316"/>
                  </a:cubicBezTo>
                  <a:cubicBezTo>
                    <a:pt x="232" y="265"/>
                    <a:pt x="232" y="265"/>
                    <a:pt x="232" y="265"/>
                  </a:cubicBezTo>
                  <a:cubicBezTo>
                    <a:pt x="238" y="271"/>
                    <a:pt x="238" y="271"/>
                    <a:pt x="238" y="271"/>
                  </a:cubicBezTo>
                  <a:cubicBezTo>
                    <a:pt x="247" y="262"/>
                    <a:pt x="247" y="262"/>
                    <a:pt x="247" y="262"/>
                  </a:cubicBezTo>
                  <a:cubicBezTo>
                    <a:pt x="247" y="301"/>
                    <a:pt x="247" y="301"/>
                    <a:pt x="247" y="301"/>
                  </a:cubicBezTo>
                  <a:close/>
                  <a:moveTo>
                    <a:pt x="247" y="139"/>
                  </a:moveTo>
                  <a:cubicBezTo>
                    <a:pt x="247" y="173"/>
                    <a:pt x="247" y="173"/>
                    <a:pt x="247" y="173"/>
                  </a:cubicBezTo>
                  <a:cubicBezTo>
                    <a:pt x="232" y="187"/>
                    <a:pt x="232" y="187"/>
                    <a:pt x="232" y="187"/>
                  </a:cubicBezTo>
                  <a:cubicBezTo>
                    <a:pt x="232" y="154"/>
                    <a:pt x="232" y="154"/>
                    <a:pt x="232" y="154"/>
                  </a:cubicBezTo>
                  <a:cubicBezTo>
                    <a:pt x="233" y="153"/>
                    <a:pt x="233" y="153"/>
                    <a:pt x="233" y="153"/>
                  </a:cubicBezTo>
                  <a:cubicBezTo>
                    <a:pt x="232" y="152"/>
                    <a:pt x="232" y="152"/>
                    <a:pt x="232" y="152"/>
                  </a:cubicBezTo>
                  <a:cubicBezTo>
                    <a:pt x="232" y="132"/>
                    <a:pt x="232" y="132"/>
                    <a:pt x="232" y="132"/>
                  </a:cubicBezTo>
                  <a:cubicBezTo>
                    <a:pt x="243" y="143"/>
                    <a:pt x="243" y="143"/>
                    <a:pt x="243" y="143"/>
                  </a:cubicBezTo>
                  <a:cubicBezTo>
                    <a:pt x="247" y="139"/>
                    <a:pt x="247" y="139"/>
                    <a:pt x="247" y="139"/>
                  </a:cubicBezTo>
                  <a:close/>
                  <a:moveTo>
                    <a:pt x="247" y="201"/>
                  </a:moveTo>
                  <a:cubicBezTo>
                    <a:pt x="247" y="235"/>
                    <a:pt x="247" y="235"/>
                    <a:pt x="247" y="235"/>
                  </a:cubicBezTo>
                  <a:cubicBezTo>
                    <a:pt x="232" y="249"/>
                    <a:pt x="232" y="249"/>
                    <a:pt x="232" y="249"/>
                  </a:cubicBezTo>
                  <a:cubicBezTo>
                    <a:pt x="232" y="198"/>
                    <a:pt x="232" y="198"/>
                    <a:pt x="232" y="198"/>
                  </a:cubicBezTo>
                  <a:cubicBezTo>
                    <a:pt x="240" y="207"/>
                    <a:pt x="240" y="207"/>
                    <a:pt x="240" y="207"/>
                  </a:cubicBezTo>
                  <a:lnTo>
                    <a:pt x="247" y="201"/>
                  </a:lnTo>
                  <a:close/>
                  <a:moveTo>
                    <a:pt x="228" y="10"/>
                  </a:moveTo>
                  <a:cubicBezTo>
                    <a:pt x="232" y="13"/>
                    <a:pt x="232" y="13"/>
                    <a:pt x="232" y="13"/>
                  </a:cubicBezTo>
                  <a:cubicBezTo>
                    <a:pt x="232" y="86"/>
                    <a:pt x="232" y="86"/>
                    <a:pt x="232" y="86"/>
                  </a:cubicBezTo>
                  <a:cubicBezTo>
                    <a:pt x="228" y="82"/>
                    <a:pt x="228" y="82"/>
                    <a:pt x="228" y="82"/>
                  </a:cubicBezTo>
                  <a:cubicBezTo>
                    <a:pt x="228" y="10"/>
                    <a:pt x="228" y="10"/>
                    <a:pt x="228" y="10"/>
                  </a:cubicBezTo>
                  <a:close/>
                  <a:moveTo>
                    <a:pt x="232" y="316"/>
                  </a:moveTo>
                  <a:cubicBezTo>
                    <a:pt x="228" y="319"/>
                    <a:pt x="228" y="319"/>
                    <a:pt x="228" y="319"/>
                  </a:cubicBezTo>
                  <a:cubicBezTo>
                    <a:pt x="228" y="261"/>
                    <a:pt x="228" y="261"/>
                    <a:pt x="228" y="261"/>
                  </a:cubicBezTo>
                  <a:cubicBezTo>
                    <a:pt x="232" y="265"/>
                    <a:pt x="232" y="265"/>
                    <a:pt x="232" y="265"/>
                  </a:cubicBezTo>
                  <a:cubicBezTo>
                    <a:pt x="232" y="316"/>
                    <a:pt x="232" y="316"/>
                    <a:pt x="232" y="316"/>
                  </a:cubicBezTo>
                  <a:close/>
                  <a:moveTo>
                    <a:pt x="232" y="92"/>
                  </a:moveTo>
                  <a:cubicBezTo>
                    <a:pt x="232" y="126"/>
                    <a:pt x="232" y="126"/>
                    <a:pt x="232" y="126"/>
                  </a:cubicBezTo>
                  <a:cubicBezTo>
                    <a:pt x="229" y="129"/>
                    <a:pt x="229" y="129"/>
                    <a:pt x="229" y="129"/>
                  </a:cubicBezTo>
                  <a:cubicBezTo>
                    <a:pt x="232" y="132"/>
                    <a:pt x="232" y="132"/>
                    <a:pt x="232" y="132"/>
                  </a:cubicBezTo>
                  <a:cubicBezTo>
                    <a:pt x="232" y="152"/>
                    <a:pt x="232" y="152"/>
                    <a:pt x="232" y="152"/>
                  </a:cubicBezTo>
                  <a:cubicBezTo>
                    <a:pt x="228" y="148"/>
                    <a:pt x="228" y="148"/>
                    <a:pt x="228" y="148"/>
                  </a:cubicBezTo>
                  <a:cubicBezTo>
                    <a:pt x="228" y="95"/>
                    <a:pt x="228" y="95"/>
                    <a:pt x="228" y="95"/>
                  </a:cubicBezTo>
                  <a:cubicBezTo>
                    <a:pt x="232" y="92"/>
                    <a:pt x="232" y="92"/>
                    <a:pt x="232" y="92"/>
                  </a:cubicBezTo>
                  <a:close/>
                  <a:moveTo>
                    <a:pt x="232" y="154"/>
                  </a:moveTo>
                  <a:cubicBezTo>
                    <a:pt x="232" y="187"/>
                    <a:pt x="232" y="187"/>
                    <a:pt x="232" y="187"/>
                  </a:cubicBezTo>
                  <a:cubicBezTo>
                    <a:pt x="228" y="191"/>
                    <a:pt x="228" y="191"/>
                    <a:pt x="228" y="191"/>
                  </a:cubicBezTo>
                  <a:cubicBezTo>
                    <a:pt x="228" y="157"/>
                    <a:pt x="228" y="157"/>
                    <a:pt x="228" y="157"/>
                  </a:cubicBezTo>
                  <a:cubicBezTo>
                    <a:pt x="232" y="154"/>
                    <a:pt x="232" y="154"/>
                    <a:pt x="232" y="154"/>
                  </a:cubicBezTo>
                  <a:close/>
                  <a:moveTo>
                    <a:pt x="232" y="198"/>
                  </a:moveTo>
                  <a:cubicBezTo>
                    <a:pt x="232" y="249"/>
                    <a:pt x="232" y="249"/>
                    <a:pt x="232" y="249"/>
                  </a:cubicBezTo>
                  <a:cubicBezTo>
                    <a:pt x="228" y="253"/>
                    <a:pt x="228" y="253"/>
                    <a:pt x="228" y="253"/>
                  </a:cubicBezTo>
                  <a:cubicBezTo>
                    <a:pt x="228" y="219"/>
                    <a:pt x="228" y="219"/>
                    <a:pt x="228" y="219"/>
                  </a:cubicBezTo>
                  <a:cubicBezTo>
                    <a:pt x="230" y="217"/>
                    <a:pt x="230" y="217"/>
                    <a:pt x="230" y="217"/>
                  </a:cubicBezTo>
                  <a:cubicBezTo>
                    <a:pt x="228" y="215"/>
                    <a:pt x="228" y="215"/>
                    <a:pt x="228" y="215"/>
                  </a:cubicBezTo>
                  <a:cubicBezTo>
                    <a:pt x="228" y="195"/>
                    <a:pt x="228" y="195"/>
                    <a:pt x="228" y="195"/>
                  </a:cubicBezTo>
                  <a:lnTo>
                    <a:pt x="232" y="198"/>
                  </a:lnTo>
                  <a:close/>
                  <a:moveTo>
                    <a:pt x="226" y="7"/>
                  </a:moveTo>
                  <a:cubicBezTo>
                    <a:pt x="228" y="10"/>
                    <a:pt x="228" y="10"/>
                    <a:pt x="228" y="10"/>
                  </a:cubicBezTo>
                  <a:cubicBezTo>
                    <a:pt x="228" y="82"/>
                    <a:pt x="228" y="82"/>
                    <a:pt x="228" y="82"/>
                  </a:cubicBezTo>
                  <a:cubicBezTo>
                    <a:pt x="226" y="80"/>
                    <a:pt x="226" y="80"/>
                    <a:pt x="226" y="80"/>
                  </a:cubicBezTo>
                  <a:cubicBezTo>
                    <a:pt x="226" y="7"/>
                    <a:pt x="226" y="7"/>
                    <a:pt x="226" y="7"/>
                  </a:cubicBezTo>
                  <a:close/>
                  <a:moveTo>
                    <a:pt x="228" y="319"/>
                  </a:moveTo>
                  <a:cubicBezTo>
                    <a:pt x="226" y="321"/>
                    <a:pt x="226" y="321"/>
                    <a:pt x="226" y="321"/>
                  </a:cubicBezTo>
                  <a:cubicBezTo>
                    <a:pt x="226" y="283"/>
                    <a:pt x="226" y="283"/>
                    <a:pt x="226" y="283"/>
                  </a:cubicBezTo>
                  <a:cubicBezTo>
                    <a:pt x="228" y="281"/>
                    <a:pt x="228" y="281"/>
                    <a:pt x="228" y="281"/>
                  </a:cubicBezTo>
                  <a:cubicBezTo>
                    <a:pt x="226" y="279"/>
                    <a:pt x="226" y="279"/>
                    <a:pt x="226" y="279"/>
                  </a:cubicBezTo>
                  <a:cubicBezTo>
                    <a:pt x="226" y="259"/>
                    <a:pt x="226" y="259"/>
                    <a:pt x="226" y="259"/>
                  </a:cubicBezTo>
                  <a:cubicBezTo>
                    <a:pt x="228" y="261"/>
                    <a:pt x="228" y="261"/>
                    <a:pt x="228" y="261"/>
                  </a:cubicBezTo>
                  <a:cubicBezTo>
                    <a:pt x="228" y="319"/>
                    <a:pt x="228" y="319"/>
                    <a:pt x="228" y="319"/>
                  </a:cubicBezTo>
                  <a:close/>
                  <a:moveTo>
                    <a:pt x="228" y="95"/>
                  </a:moveTo>
                  <a:cubicBezTo>
                    <a:pt x="228" y="148"/>
                    <a:pt x="228" y="148"/>
                    <a:pt x="228" y="148"/>
                  </a:cubicBezTo>
                  <a:cubicBezTo>
                    <a:pt x="226" y="146"/>
                    <a:pt x="226" y="146"/>
                    <a:pt x="226" y="146"/>
                  </a:cubicBezTo>
                  <a:cubicBezTo>
                    <a:pt x="226" y="97"/>
                    <a:pt x="226" y="97"/>
                    <a:pt x="226" y="97"/>
                  </a:cubicBezTo>
                  <a:cubicBezTo>
                    <a:pt x="228" y="95"/>
                    <a:pt x="228" y="95"/>
                    <a:pt x="228" y="95"/>
                  </a:cubicBezTo>
                  <a:close/>
                  <a:moveTo>
                    <a:pt x="228" y="157"/>
                  </a:moveTo>
                  <a:cubicBezTo>
                    <a:pt x="228" y="191"/>
                    <a:pt x="228" y="191"/>
                    <a:pt x="228" y="191"/>
                  </a:cubicBezTo>
                  <a:cubicBezTo>
                    <a:pt x="226" y="193"/>
                    <a:pt x="226" y="193"/>
                    <a:pt x="226" y="193"/>
                  </a:cubicBezTo>
                  <a:cubicBezTo>
                    <a:pt x="228" y="195"/>
                    <a:pt x="228" y="195"/>
                    <a:pt x="228" y="195"/>
                  </a:cubicBezTo>
                  <a:cubicBezTo>
                    <a:pt x="228" y="215"/>
                    <a:pt x="228" y="215"/>
                    <a:pt x="228" y="215"/>
                  </a:cubicBezTo>
                  <a:cubicBezTo>
                    <a:pt x="226" y="212"/>
                    <a:pt x="226" y="212"/>
                    <a:pt x="226" y="212"/>
                  </a:cubicBezTo>
                  <a:cubicBezTo>
                    <a:pt x="226" y="159"/>
                    <a:pt x="226" y="159"/>
                    <a:pt x="226" y="159"/>
                  </a:cubicBezTo>
                  <a:cubicBezTo>
                    <a:pt x="228" y="157"/>
                    <a:pt x="228" y="157"/>
                    <a:pt x="228" y="157"/>
                  </a:cubicBezTo>
                  <a:close/>
                  <a:moveTo>
                    <a:pt x="228" y="219"/>
                  </a:moveTo>
                  <a:cubicBezTo>
                    <a:pt x="228" y="253"/>
                    <a:pt x="228" y="253"/>
                    <a:pt x="228" y="253"/>
                  </a:cubicBezTo>
                  <a:cubicBezTo>
                    <a:pt x="226" y="255"/>
                    <a:pt x="226" y="255"/>
                    <a:pt x="226" y="255"/>
                  </a:cubicBezTo>
                  <a:cubicBezTo>
                    <a:pt x="226" y="221"/>
                    <a:pt x="226" y="221"/>
                    <a:pt x="226" y="221"/>
                  </a:cubicBezTo>
                  <a:lnTo>
                    <a:pt x="228" y="219"/>
                  </a:lnTo>
                  <a:close/>
                  <a:moveTo>
                    <a:pt x="216" y="3"/>
                  </a:moveTo>
                  <a:cubicBezTo>
                    <a:pt x="219" y="0"/>
                    <a:pt x="219" y="0"/>
                    <a:pt x="219" y="0"/>
                  </a:cubicBezTo>
                  <a:cubicBezTo>
                    <a:pt x="226" y="7"/>
                    <a:pt x="226" y="7"/>
                    <a:pt x="226" y="7"/>
                  </a:cubicBezTo>
                  <a:cubicBezTo>
                    <a:pt x="226" y="80"/>
                    <a:pt x="226" y="80"/>
                    <a:pt x="226" y="80"/>
                  </a:cubicBezTo>
                  <a:cubicBezTo>
                    <a:pt x="221" y="74"/>
                    <a:pt x="221" y="74"/>
                    <a:pt x="221" y="74"/>
                  </a:cubicBezTo>
                  <a:cubicBezTo>
                    <a:pt x="216" y="79"/>
                    <a:pt x="216" y="79"/>
                    <a:pt x="216" y="79"/>
                  </a:cubicBezTo>
                  <a:cubicBezTo>
                    <a:pt x="216" y="3"/>
                    <a:pt x="216" y="3"/>
                    <a:pt x="216" y="3"/>
                  </a:cubicBezTo>
                  <a:close/>
                  <a:moveTo>
                    <a:pt x="226" y="321"/>
                  </a:moveTo>
                  <a:cubicBezTo>
                    <a:pt x="216" y="331"/>
                    <a:pt x="216" y="331"/>
                    <a:pt x="216" y="331"/>
                  </a:cubicBezTo>
                  <a:cubicBezTo>
                    <a:pt x="216" y="292"/>
                    <a:pt x="216" y="292"/>
                    <a:pt x="216" y="292"/>
                  </a:cubicBezTo>
                  <a:cubicBezTo>
                    <a:pt x="226" y="283"/>
                    <a:pt x="226" y="283"/>
                    <a:pt x="226" y="283"/>
                  </a:cubicBezTo>
                  <a:cubicBezTo>
                    <a:pt x="226" y="321"/>
                    <a:pt x="226" y="321"/>
                    <a:pt x="226" y="321"/>
                  </a:cubicBezTo>
                  <a:close/>
                  <a:moveTo>
                    <a:pt x="226" y="97"/>
                  </a:moveTo>
                  <a:cubicBezTo>
                    <a:pt x="226" y="146"/>
                    <a:pt x="226" y="146"/>
                    <a:pt x="226" y="146"/>
                  </a:cubicBezTo>
                  <a:cubicBezTo>
                    <a:pt x="219" y="138"/>
                    <a:pt x="219" y="138"/>
                    <a:pt x="219" y="138"/>
                  </a:cubicBezTo>
                  <a:cubicBezTo>
                    <a:pt x="216" y="141"/>
                    <a:pt x="216" y="141"/>
                    <a:pt x="216" y="141"/>
                  </a:cubicBezTo>
                  <a:cubicBezTo>
                    <a:pt x="216" y="107"/>
                    <a:pt x="216" y="107"/>
                    <a:pt x="216" y="107"/>
                  </a:cubicBezTo>
                  <a:cubicBezTo>
                    <a:pt x="226" y="97"/>
                    <a:pt x="226" y="97"/>
                    <a:pt x="226" y="97"/>
                  </a:cubicBezTo>
                  <a:close/>
                  <a:moveTo>
                    <a:pt x="226" y="159"/>
                  </a:moveTo>
                  <a:cubicBezTo>
                    <a:pt x="226" y="212"/>
                    <a:pt x="226" y="212"/>
                    <a:pt x="226" y="212"/>
                  </a:cubicBezTo>
                  <a:cubicBezTo>
                    <a:pt x="216" y="202"/>
                    <a:pt x="216" y="202"/>
                    <a:pt x="216" y="202"/>
                  </a:cubicBezTo>
                  <a:cubicBezTo>
                    <a:pt x="216" y="168"/>
                    <a:pt x="216" y="168"/>
                    <a:pt x="216" y="168"/>
                  </a:cubicBezTo>
                  <a:cubicBezTo>
                    <a:pt x="226" y="159"/>
                    <a:pt x="226" y="159"/>
                    <a:pt x="226" y="159"/>
                  </a:cubicBezTo>
                  <a:close/>
                  <a:moveTo>
                    <a:pt x="226" y="221"/>
                  </a:moveTo>
                  <a:cubicBezTo>
                    <a:pt x="226" y="255"/>
                    <a:pt x="226" y="255"/>
                    <a:pt x="226" y="255"/>
                  </a:cubicBezTo>
                  <a:cubicBezTo>
                    <a:pt x="224" y="257"/>
                    <a:pt x="224" y="257"/>
                    <a:pt x="224" y="257"/>
                  </a:cubicBezTo>
                  <a:cubicBezTo>
                    <a:pt x="226" y="259"/>
                    <a:pt x="226" y="259"/>
                    <a:pt x="226" y="259"/>
                  </a:cubicBezTo>
                  <a:cubicBezTo>
                    <a:pt x="226" y="279"/>
                    <a:pt x="226" y="279"/>
                    <a:pt x="226" y="279"/>
                  </a:cubicBezTo>
                  <a:cubicBezTo>
                    <a:pt x="216" y="269"/>
                    <a:pt x="216" y="269"/>
                    <a:pt x="216" y="269"/>
                  </a:cubicBezTo>
                  <a:cubicBezTo>
                    <a:pt x="216" y="230"/>
                    <a:pt x="216" y="230"/>
                    <a:pt x="216" y="230"/>
                  </a:cubicBezTo>
                  <a:lnTo>
                    <a:pt x="226" y="221"/>
                  </a:lnTo>
                  <a:close/>
                  <a:moveTo>
                    <a:pt x="200" y="19"/>
                  </a:moveTo>
                  <a:cubicBezTo>
                    <a:pt x="216" y="3"/>
                    <a:pt x="216" y="3"/>
                    <a:pt x="216" y="3"/>
                  </a:cubicBezTo>
                  <a:cubicBezTo>
                    <a:pt x="216" y="79"/>
                    <a:pt x="216" y="79"/>
                    <a:pt x="216" y="79"/>
                  </a:cubicBezTo>
                  <a:cubicBezTo>
                    <a:pt x="200" y="94"/>
                    <a:pt x="200" y="94"/>
                    <a:pt x="200" y="94"/>
                  </a:cubicBezTo>
                  <a:cubicBezTo>
                    <a:pt x="200" y="19"/>
                    <a:pt x="200" y="19"/>
                    <a:pt x="200" y="19"/>
                  </a:cubicBezTo>
                  <a:close/>
                  <a:moveTo>
                    <a:pt x="216" y="331"/>
                  </a:moveTo>
                  <a:cubicBezTo>
                    <a:pt x="200" y="347"/>
                    <a:pt x="200" y="347"/>
                    <a:pt x="200" y="347"/>
                  </a:cubicBezTo>
                  <a:cubicBezTo>
                    <a:pt x="200" y="298"/>
                    <a:pt x="200" y="298"/>
                    <a:pt x="200" y="298"/>
                  </a:cubicBezTo>
                  <a:cubicBezTo>
                    <a:pt x="205" y="303"/>
                    <a:pt x="205" y="303"/>
                    <a:pt x="205" y="303"/>
                  </a:cubicBezTo>
                  <a:cubicBezTo>
                    <a:pt x="216" y="292"/>
                    <a:pt x="216" y="292"/>
                    <a:pt x="216" y="292"/>
                  </a:cubicBezTo>
                  <a:cubicBezTo>
                    <a:pt x="216" y="331"/>
                    <a:pt x="216" y="331"/>
                    <a:pt x="216" y="331"/>
                  </a:cubicBezTo>
                  <a:close/>
                  <a:moveTo>
                    <a:pt x="216" y="107"/>
                  </a:moveTo>
                  <a:cubicBezTo>
                    <a:pt x="216" y="141"/>
                    <a:pt x="216" y="141"/>
                    <a:pt x="216" y="141"/>
                  </a:cubicBezTo>
                  <a:cubicBezTo>
                    <a:pt x="200" y="156"/>
                    <a:pt x="200" y="156"/>
                    <a:pt x="200" y="156"/>
                  </a:cubicBezTo>
                  <a:cubicBezTo>
                    <a:pt x="200" y="123"/>
                    <a:pt x="200" y="123"/>
                    <a:pt x="200" y="123"/>
                  </a:cubicBezTo>
                  <a:cubicBezTo>
                    <a:pt x="202" y="121"/>
                    <a:pt x="202" y="121"/>
                    <a:pt x="202" y="121"/>
                  </a:cubicBezTo>
                  <a:cubicBezTo>
                    <a:pt x="200" y="119"/>
                    <a:pt x="200" y="119"/>
                    <a:pt x="200" y="119"/>
                  </a:cubicBezTo>
                  <a:cubicBezTo>
                    <a:pt x="200" y="98"/>
                    <a:pt x="200" y="98"/>
                    <a:pt x="200" y="98"/>
                  </a:cubicBezTo>
                  <a:cubicBezTo>
                    <a:pt x="212" y="111"/>
                    <a:pt x="212" y="111"/>
                    <a:pt x="212" y="111"/>
                  </a:cubicBezTo>
                  <a:cubicBezTo>
                    <a:pt x="216" y="107"/>
                    <a:pt x="216" y="107"/>
                    <a:pt x="216" y="107"/>
                  </a:cubicBezTo>
                  <a:close/>
                  <a:moveTo>
                    <a:pt x="216" y="168"/>
                  </a:moveTo>
                  <a:cubicBezTo>
                    <a:pt x="216" y="202"/>
                    <a:pt x="216" y="202"/>
                    <a:pt x="216" y="202"/>
                  </a:cubicBezTo>
                  <a:cubicBezTo>
                    <a:pt x="216" y="202"/>
                    <a:pt x="216" y="202"/>
                    <a:pt x="216" y="202"/>
                  </a:cubicBezTo>
                  <a:cubicBezTo>
                    <a:pt x="200" y="218"/>
                    <a:pt x="200" y="218"/>
                    <a:pt x="200" y="218"/>
                  </a:cubicBezTo>
                  <a:cubicBezTo>
                    <a:pt x="200" y="165"/>
                    <a:pt x="200" y="165"/>
                    <a:pt x="200" y="165"/>
                  </a:cubicBezTo>
                  <a:cubicBezTo>
                    <a:pt x="209" y="175"/>
                    <a:pt x="209" y="175"/>
                    <a:pt x="209" y="175"/>
                  </a:cubicBezTo>
                  <a:cubicBezTo>
                    <a:pt x="216" y="168"/>
                    <a:pt x="216" y="168"/>
                    <a:pt x="216" y="168"/>
                  </a:cubicBezTo>
                  <a:close/>
                  <a:moveTo>
                    <a:pt x="216" y="230"/>
                  </a:moveTo>
                  <a:cubicBezTo>
                    <a:pt x="216" y="269"/>
                    <a:pt x="216" y="269"/>
                    <a:pt x="216" y="269"/>
                  </a:cubicBezTo>
                  <a:cubicBezTo>
                    <a:pt x="214" y="266"/>
                    <a:pt x="214" y="266"/>
                    <a:pt x="214" y="266"/>
                  </a:cubicBezTo>
                  <a:cubicBezTo>
                    <a:pt x="200" y="280"/>
                    <a:pt x="200" y="280"/>
                    <a:pt x="200" y="280"/>
                  </a:cubicBezTo>
                  <a:cubicBezTo>
                    <a:pt x="200" y="231"/>
                    <a:pt x="200" y="231"/>
                    <a:pt x="200" y="231"/>
                  </a:cubicBezTo>
                  <a:cubicBezTo>
                    <a:pt x="207" y="239"/>
                    <a:pt x="207" y="239"/>
                    <a:pt x="207" y="239"/>
                  </a:cubicBezTo>
                  <a:lnTo>
                    <a:pt x="216" y="230"/>
                  </a:lnTo>
                  <a:close/>
                  <a:moveTo>
                    <a:pt x="197" y="19"/>
                  </a:moveTo>
                  <a:cubicBezTo>
                    <a:pt x="198" y="20"/>
                    <a:pt x="198" y="20"/>
                    <a:pt x="198" y="20"/>
                  </a:cubicBezTo>
                  <a:cubicBezTo>
                    <a:pt x="200" y="19"/>
                    <a:pt x="200" y="19"/>
                    <a:pt x="200" y="19"/>
                  </a:cubicBezTo>
                  <a:cubicBezTo>
                    <a:pt x="200" y="94"/>
                    <a:pt x="200" y="94"/>
                    <a:pt x="200" y="94"/>
                  </a:cubicBezTo>
                  <a:cubicBezTo>
                    <a:pt x="198" y="96"/>
                    <a:pt x="198" y="96"/>
                    <a:pt x="198" y="96"/>
                  </a:cubicBezTo>
                  <a:cubicBezTo>
                    <a:pt x="200" y="98"/>
                    <a:pt x="200" y="98"/>
                    <a:pt x="200" y="98"/>
                  </a:cubicBezTo>
                  <a:cubicBezTo>
                    <a:pt x="200" y="119"/>
                    <a:pt x="200" y="119"/>
                    <a:pt x="200" y="119"/>
                  </a:cubicBezTo>
                  <a:cubicBezTo>
                    <a:pt x="197" y="116"/>
                    <a:pt x="197" y="116"/>
                    <a:pt x="197" y="116"/>
                  </a:cubicBezTo>
                  <a:cubicBezTo>
                    <a:pt x="197" y="19"/>
                    <a:pt x="197" y="19"/>
                    <a:pt x="197" y="19"/>
                  </a:cubicBezTo>
                  <a:close/>
                  <a:moveTo>
                    <a:pt x="200" y="347"/>
                  </a:moveTo>
                  <a:cubicBezTo>
                    <a:pt x="197" y="349"/>
                    <a:pt x="197" y="349"/>
                    <a:pt x="197" y="349"/>
                  </a:cubicBezTo>
                  <a:cubicBezTo>
                    <a:pt x="197" y="295"/>
                    <a:pt x="197" y="295"/>
                    <a:pt x="197" y="295"/>
                  </a:cubicBezTo>
                  <a:cubicBezTo>
                    <a:pt x="200" y="298"/>
                    <a:pt x="200" y="298"/>
                    <a:pt x="200" y="298"/>
                  </a:cubicBezTo>
                  <a:cubicBezTo>
                    <a:pt x="200" y="347"/>
                    <a:pt x="200" y="347"/>
                    <a:pt x="200" y="347"/>
                  </a:cubicBezTo>
                  <a:close/>
                  <a:moveTo>
                    <a:pt x="200" y="123"/>
                  </a:moveTo>
                  <a:cubicBezTo>
                    <a:pt x="200" y="156"/>
                    <a:pt x="200" y="156"/>
                    <a:pt x="200" y="156"/>
                  </a:cubicBezTo>
                  <a:cubicBezTo>
                    <a:pt x="197" y="159"/>
                    <a:pt x="197" y="159"/>
                    <a:pt x="197" y="159"/>
                  </a:cubicBezTo>
                  <a:cubicBezTo>
                    <a:pt x="197" y="125"/>
                    <a:pt x="197" y="125"/>
                    <a:pt x="197" y="125"/>
                  </a:cubicBezTo>
                  <a:cubicBezTo>
                    <a:pt x="200" y="123"/>
                    <a:pt x="200" y="123"/>
                    <a:pt x="200" y="123"/>
                  </a:cubicBezTo>
                  <a:close/>
                  <a:moveTo>
                    <a:pt x="200" y="165"/>
                  </a:moveTo>
                  <a:cubicBezTo>
                    <a:pt x="200" y="218"/>
                    <a:pt x="200" y="218"/>
                    <a:pt x="200" y="218"/>
                  </a:cubicBezTo>
                  <a:cubicBezTo>
                    <a:pt x="197" y="220"/>
                    <a:pt x="197" y="220"/>
                    <a:pt x="197" y="220"/>
                  </a:cubicBezTo>
                  <a:cubicBezTo>
                    <a:pt x="197" y="186"/>
                    <a:pt x="197" y="186"/>
                    <a:pt x="197" y="186"/>
                  </a:cubicBezTo>
                  <a:cubicBezTo>
                    <a:pt x="199" y="185"/>
                    <a:pt x="199" y="185"/>
                    <a:pt x="199" y="185"/>
                  </a:cubicBezTo>
                  <a:cubicBezTo>
                    <a:pt x="197" y="183"/>
                    <a:pt x="197" y="183"/>
                    <a:pt x="197" y="183"/>
                  </a:cubicBezTo>
                  <a:cubicBezTo>
                    <a:pt x="197" y="163"/>
                    <a:pt x="197" y="163"/>
                    <a:pt x="197" y="163"/>
                  </a:cubicBezTo>
                  <a:cubicBezTo>
                    <a:pt x="200" y="165"/>
                    <a:pt x="200" y="165"/>
                    <a:pt x="200" y="165"/>
                  </a:cubicBezTo>
                  <a:close/>
                  <a:moveTo>
                    <a:pt x="200" y="231"/>
                  </a:moveTo>
                  <a:cubicBezTo>
                    <a:pt x="200" y="280"/>
                    <a:pt x="200" y="280"/>
                    <a:pt x="200" y="280"/>
                  </a:cubicBezTo>
                  <a:cubicBezTo>
                    <a:pt x="197" y="282"/>
                    <a:pt x="197" y="282"/>
                    <a:pt x="197" y="282"/>
                  </a:cubicBezTo>
                  <a:cubicBezTo>
                    <a:pt x="197" y="229"/>
                    <a:pt x="197" y="229"/>
                    <a:pt x="197" y="229"/>
                  </a:cubicBezTo>
                  <a:lnTo>
                    <a:pt x="200" y="231"/>
                  </a:lnTo>
                  <a:close/>
                  <a:moveTo>
                    <a:pt x="193" y="14"/>
                  </a:moveTo>
                  <a:cubicBezTo>
                    <a:pt x="197" y="19"/>
                    <a:pt x="197" y="19"/>
                    <a:pt x="197" y="19"/>
                  </a:cubicBezTo>
                  <a:cubicBezTo>
                    <a:pt x="197" y="116"/>
                    <a:pt x="197" y="116"/>
                    <a:pt x="197" y="116"/>
                  </a:cubicBezTo>
                  <a:cubicBezTo>
                    <a:pt x="193" y="111"/>
                    <a:pt x="193" y="111"/>
                    <a:pt x="193" y="111"/>
                  </a:cubicBezTo>
                  <a:cubicBezTo>
                    <a:pt x="193" y="14"/>
                    <a:pt x="193" y="14"/>
                    <a:pt x="193" y="14"/>
                  </a:cubicBezTo>
                  <a:close/>
                  <a:moveTo>
                    <a:pt x="197" y="349"/>
                  </a:moveTo>
                  <a:cubicBezTo>
                    <a:pt x="193" y="353"/>
                    <a:pt x="193" y="353"/>
                    <a:pt x="193" y="353"/>
                  </a:cubicBezTo>
                  <a:cubicBezTo>
                    <a:pt x="193" y="314"/>
                    <a:pt x="193" y="314"/>
                    <a:pt x="193" y="314"/>
                  </a:cubicBezTo>
                  <a:cubicBezTo>
                    <a:pt x="195" y="313"/>
                    <a:pt x="195" y="313"/>
                    <a:pt x="195" y="313"/>
                  </a:cubicBezTo>
                  <a:cubicBezTo>
                    <a:pt x="193" y="311"/>
                    <a:pt x="193" y="311"/>
                    <a:pt x="193" y="311"/>
                  </a:cubicBezTo>
                  <a:cubicBezTo>
                    <a:pt x="193" y="290"/>
                    <a:pt x="193" y="290"/>
                    <a:pt x="193" y="290"/>
                  </a:cubicBezTo>
                  <a:cubicBezTo>
                    <a:pt x="197" y="295"/>
                    <a:pt x="197" y="295"/>
                    <a:pt x="197" y="295"/>
                  </a:cubicBezTo>
                  <a:cubicBezTo>
                    <a:pt x="197" y="349"/>
                    <a:pt x="197" y="349"/>
                    <a:pt x="197" y="349"/>
                  </a:cubicBezTo>
                  <a:close/>
                  <a:moveTo>
                    <a:pt x="197" y="125"/>
                  </a:moveTo>
                  <a:cubicBezTo>
                    <a:pt x="197" y="159"/>
                    <a:pt x="197" y="159"/>
                    <a:pt x="197" y="159"/>
                  </a:cubicBezTo>
                  <a:cubicBezTo>
                    <a:pt x="196" y="161"/>
                    <a:pt x="196" y="161"/>
                    <a:pt x="196" y="161"/>
                  </a:cubicBezTo>
                  <a:cubicBezTo>
                    <a:pt x="197" y="163"/>
                    <a:pt x="197" y="163"/>
                    <a:pt x="197" y="163"/>
                  </a:cubicBezTo>
                  <a:cubicBezTo>
                    <a:pt x="197" y="183"/>
                    <a:pt x="197" y="183"/>
                    <a:pt x="197" y="183"/>
                  </a:cubicBezTo>
                  <a:cubicBezTo>
                    <a:pt x="193" y="178"/>
                    <a:pt x="193" y="178"/>
                    <a:pt x="193" y="178"/>
                  </a:cubicBezTo>
                  <a:cubicBezTo>
                    <a:pt x="193" y="129"/>
                    <a:pt x="193" y="129"/>
                    <a:pt x="193" y="129"/>
                  </a:cubicBezTo>
                  <a:cubicBezTo>
                    <a:pt x="197" y="125"/>
                    <a:pt x="197" y="125"/>
                    <a:pt x="197" y="125"/>
                  </a:cubicBezTo>
                  <a:close/>
                  <a:moveTo>
                    <a:pt x="197" y="186"/>
                  </a:moveTo>
                  <a:cubicBezTo>
                    <a:pt x="197" y="220"/>
                    <a:pt x="197" y="220"/>
                    <a:pt x="197" y="220"/>
                  </a:cubicBezTo>
                  <a:cubicBezTo>
                    <a:pt x="193" y="224"/>
                    <a:pt x="193" y="224"/>
                    <a:pt x="193" y="224"/>
                  </a:cubicBezTo>
                  <a:cubicBezTo>
                    <a:pt x="197" y="229"/>
                    <a:pt x="197" y="229"/>
                    <a:pt x="197" y="229"/>
                  </a:cubicBezTo>
                  <a:cubicBezTo>
                    <a:pt x="197" y="282"/>
                    <a:pt x="197" y="282"/>
                    <a:pt x="197" y="282"/>
                  </a:cubicBezTo>
                  <a:cubicBezTo>
                    <a:pt x="193" y="287"/>
                    <a:pt x="193" y="287"/>
                    <a:pt x="193" y="287"/>
                  </a:cubicBezTo>
                  <a:cubicBezTo>
                    <a:pt x="193" y="191"/>
                    <a:pt x="193" y="191"/>
                    <a:pt x="193" y="191"/>
                  </a:cubicBezTo>
                  <a:lnTo>
                    <a:pt x="197" y="186"/>
                  </a:lnTo>
                  <a:close/>
                  <a:moveTo>
                    <a:pt x="186" y="7"/>
                  </a:moveTo>
                  <a:cubicBezTo>
                    <a:pt x="193" y="14"/>
                    <a:pt x="193" y="14"/>
                    <a:pt x="193" y="14"/>
                  </a:cubicBezTo>
                  <a:cubicBezTo>
                    <a:pt x="193" y="111"/>
                    <a:pt x="193" y="111"/>
                    <a:pt x="193" y="111"/>
                  </a:cubicBezTo>
                  <a:cubicBezTo>
                    <a:pt x="188" y="106"/>
                    <a:pt x="188" y="106"/>
                    <a:pt x="188" y="106"/>
                  </a:cubicBezTo>
                  <a:cubicBezTo>
                    <a:pt x="183" y="110"/>
                    <a:pt x="183" y="110"/>
                    <a:pt x="183" y="110"/>
                  </a:cubicBezTo>
                  <a:cubicBezTo>
                    <a:pt x="183" y="10"/>
                    <a:pt x="183" y="10"/>
                    <a:pt x="183" y="10"/>
                  </a:cubicBezTo>
                  <a:cubicBezTo>
                    <a:pt x="186" y="7"/>
                    <a:pt x="186" y="7"/>
                    <a:pt x="186" y="7"/>
                  </a:cubicBezTo>
                  <a:close/>
                  <a:moveTo>
                    <a:pt x="193" y="353"/>
                  </a:moveTo>
                  <a:cubicBezTo>
                    <a:pt x="183" y="362"/>
                    <a:pt x="183" y="362"/>
                    <a:pt x="183" y="362"/>
                  </a:cubicBezTo>
                  <a:cubicBezTo>
                    <a:pt x="183" y="324"/>
                    <a:pt x="183" y="324"/>
                    <a:pt x="183" y="324"/>
                  </a:cubicBezTo>
                  <a:cubicBezTo>
                    <a:pt x="193" y="314"/>
                    <a:pt x="193" y="314"/>
                    <a:pt x="193" y="314"/>
                  </a:cubicBezTo>
                  <a:cubicBezTo>
                    <a:pt x="193" y="353"/>
                    <a:pt x="193" y="353"/>
                    <a:pt x="193" y="353"/>
                  </a:cubicBezTo>
                  <a:close/>
                  <a:moveTo>
                    <a:pt x="193" y="129"/>
                  </a:moveTo>
                  <a:cubicBezTo>
                    <a:pt x="193" y="178"/>
                    <a:pt x="193" y="178"/>
                    <a:pt x="193" y="178"/>
                  </a:cubicBezTo>
                  <a:cubicBezTo>
                    <a:pt x="185" y="170"/>
                    <a:pt x="185" y="170"/>
                    <a:pt x="185" y="170"/>
                  </a:cubicBezTo>
                  <a:cubicBezTo>
                    <a:pt x="183" y="172"/>
                    <a:pt x="183" y="172"/>
                    <a:pt x="183" y="172"/>
                  </a:cubicBezTo>
                  <a:cubicBezTo>
                    <a:pt x="183" y="139"/>
                    <a:pt x="183" y="139"/>
                    <a:pt x="183" y="139"/>
                  </a:cubicBezTo>
                  <a:cubicBezTo>
                    <a:pt x="193" y="129"/>
                    <a:pt x="193" y="129"/>
                    <a:pt x="193" y="129"/>
                  </a:cubicBezTo>
                  <a:close/>
                  <a:moveTo>
                    <a:pt x="193" y="191"/>
                  </a:moveTo>
                  <a:cubicBezTo>
                    <a:pt x="193" y="287"/>
                    <a:pt x="193" y="287"/>
                    <a:pt x="193" y="287"/>
                  </a:cubicBezTo>
                  <a:cubicBezTo>
                    <a:pt x="191" y="288"/>
                    <a:pt x="191" y="288"/>
                    <a:pt x="191" y="288"/>
                  </a:cubicBezTo>
                  <a:cubicBezTo>
                    <a:pt x="193" y="290"/>
                    <a:pt x="193" y="290"/>
                    <a:pt x="193" y="290"/>
                  </a:cubicBezTo>
                  <a:cubicBezTo>
                    <a:pt x="193" y="311"/>
                    <a:pt x="193" y="311"/>
                    <a:pt x="193" y="311"/>
                  </a:cubicBezTo>
                  <a:cubicBezTo>
                    <a:pt x="183" y="301"/>
                    <a:pt x="183" y="301"/>
                    <a:pt x="183" y="301"/>
                  </a:cubicBezTo>
                  <a:cubicBezTo>
                    <a:pt x="183" y="200"/>
                    <a:pt x="183" y="200"/>
                    <a:pt x="183" y="200"/>
                  </a:cubicBezTo>
                  <a:lnTo>
                    <a:pt x="193" y="191"/>
                  </a:lnTo>
                  <a:close/>
                  <a:moveTo>
                    <a:pt x="183" y="362"/>
                  </a:moveTo>
                  <a:cubicBezTo>
                    <a:pt x="176" y="369"/>
                    <a:pt x="176" y="369"/>
                    <a:pt x="176" y="369"/>
                  </a:cubicBezTo>
                  <a:cubicBezTo>
                    <a:pt x="168" y="360"/>
                    <a:pt x="168" y="360"/>
                    <a:pt x="168" y="360"/>
                  </a:cubicBezTo>
                  <a:cubicBezTo>
                    <a:pt x="168" y="331"/>
                    <a:pt x="168" y="331"/>
                    <a:pt x="168" y="331"/>
                  </a:cubicBezTo>
                  <a:cubicBezTo>
                    <a:pt x="172" y="335"/>
                    <a:pt x="172" y="335"/>
                    <a:pt x="172" y="335"/>
                  </a:cubicBezTo>
                  <a:cubicBezTo>
                    <a:pt x="183" y="324"/>
                    <a:pt x="183" y="324"/>
                    <a:pt x="183" y="324"/>
                  </a:cubicBezTo>
                  <a:cubicBezTo>
                    <a:pt x="183" y="362"/>
                    <a:pt x="183" y="362"/>
                    <a:pt x="183" y="362"/>
                  </a:cubicBezTo>
                  <a:close/>
                  <a:moveTo>
                    <a:pt x="168" y="25"/>
                  </a:moveTo>
                  <a:cubicBezTo>
                    <a:pt x="183" y="10"/>
                    <a:pt x="183" y="10"/>
                    <a:pt x="183" y="10"/>
                  </a:cubicBezTo>
                  <a:cubicBezTo>
                    <a:pt x="183" y="110"/>
                    <a:pt x="183" y="110"/>
                    <a:pt x="183" y="110"/>
                  </a:cubicBezTo>
                  <a:cubicBezTo>
                    <a:pt x="168" y="125"/>
                    <a:pt x="168" y="125"/>
                    <a:pt x="168" y="125"/>
                  </a:cubicBezTo>
                  <a:cubicBezTo>
                    <a:pt x="168" y="91"/>
                    <a:pt x="168" y="91"/>
                    <a:pt x="168" y="91"/>
                  </a:cubicBezTo>
                  <a:cubicBezTo>
                    <a:pt x="171" y="88"/>
                    <a:pt x="171" y="88"/>
                    <a:pt x="171" y="88"/>
                  </a:cubicBezTo>
                  <a:cubicBezTo>
                    <a:pt x="168" y="85"/>
                    <a:pt x="168" y="85"/>
                    <a:pt x="168" y="85"/>
                  </a:cubicBezTo>
                  <a:cubicBezTo>
                    <a:pt x="168" y="25"/>
                    <a:pt x="168" y="25"/>
                    <a:pt x="168" y="25"/>
                  </a:cubicBezTo>
                  <a:close/>
                  <a:moveTo>
                    <a:pt x="183" y="139"/>
                  </a:moveTo>
                  <a:cubicBezTo>
                    <a:pt x="183" y="172"/>
                    <a:pt x="183" y="172"/>
                    <a:pt x="183" y="172"/>
                  </a:cubicBezTo>
                  <a:cubicBezTo>
                    <a:pt x="168" y="187"/>
                    <a:pt x="168" y="187"/>
                    <a:pt x="168" y="187"/>
                  </a:cubicBezTo>
                  <a:cubicBezTo>
                    <a:pt x="168" y="131"/>
                    <a:pt x="168" y="131"/>
                    <a:pt x="168" y="131"/>
                  </a:cubicBezTo>
                  <a:cubicBezTo>
                    <a:pt x="179" y="143"/>
                    <a:pt x="179" y="143"/>
                    <a:pt x="179" y="143"/>
                  </a:cubicBezTo>
                  <a:cubicBezTo>
                    <a:pt x="183" y="139"/>
                    <a:pt x="183" y="139"/>
                    <a:pt x="183" y="139"/>
                  </a:cubicBezTo>
                  <a:close/>
                  <a:moveTo>
                    <a:pt x="183" y="200"/>
                  </a:moveTo>
                  <a:cubicBezTo>
                    <a:pt x="183" y="301"/>
                    <a:pt x="183" y="301"/>
                    <a:pt x="183" y="301"/>
                  </a:cubicBezTo>
                  <a:cubicBezTo>
                    <a:pt x="181" y="298"/>
                    <a:pt x="181" y="298"/>
                    <a:pt x="181" y="298"/>
                  </a:cubicBezTo>
                  <a:cubicBezTo>
                    <a:pt x="168" y="311"/>
                    <a:pt x="168" y="311"/>
                    <a:pt x="168" y="311"/>
                  </a:cubicBezTo>
                  <a:cubicBezTo>
                    <a:pt x="168" y="198"/>
                    <a:pt x="168" y="198"/>
                    <a:pt x="168" y="198"/>
                  </a:cubicBezTo>
                  <a:cubicBezTo>
                    <a:pt x="176" y="207"/>
                    <a:pt x="176" y="207"/>
                    <a:pt x="176" y="207"/>
                  </a:cubicBezTo>
                  <a:lnTo>
                    <a:pt x="183" y="200"/>
                  </a:lnTo>
                  <a:close/>
                  <a:moveTo>
                    <a:pt x="168" y="360"/>
                  </a:moveTo>
                  <a:cubicBezTo>
                    <a:pt x="164" y="356"/>
                    <a:pt x="164" y="356"/>
                    <a:pt x="164" y="356"/>
                  </a:cubicBezTo>
                  <a:cubicBezTo>
                    <a:pt x="164" y="327"/>
                    <a:pt x="164" y="327"/>
                    <a:pt x="164" y="327"/>
                  </a:cubicBezTo>
                  <a:cubicBezTo>
                    <a:pt x="168" y="331"/>
                    <a:pt x="168" y="331"/>
                    <a:pt x="168" y="331"/>
                  </a:cubicBezTo>
                  <a:cubicBezTo>
                    <a:pt x="168" y="360"/>
                    <a:pt x="168" y="360"/>
                    <a:pt x="168" y="360"/>
                  </a:cubicBezTo>
                  <a:close/>
                  <a:moveTo>
                    <a:pt x="164" y="28"/>
                  </a:moveTo>
                  <a:cubicBezTo>
                    <a:pt x="168" y="25"/>
                    <a:pt x="168" y="25"/>
                    <a:pt x="168" y="25"/>
                  </a:cubicBezTo>
                  <a:cubicBezTo>
                    <a:pt x="168" y="85"/>
                    <a:pt x="168" y="85"/>
                    <a:pt x="168" y="85"/>
                  </a:cubicBezTo>
                  <a:cubicBezTo>
                    <a:pt x="164" y="82"/>
                    <a:pt x="164" y="82"/>
                    <a:pt x="164" y="82"/>
                  </a:cubicBezTo>
                  <a:cubicBezTo>
                    <a:pt x="164" y="28"/>
                    <a:pt x="164" y="28"/>
                    <a:pt x="164" y="28"/>
                  </a:cubicBezTo>
                  <a:close/>
                  <a:moveTo>
                    <a:pt x="168" y="91"/>
                  </a:moveTo>
                  <a:cubicBezTo>
                    <a:pt x="168" y="125"/>
                    <a:pt x="168" y="125"/>
                    <a:pt x="168" y="125"/>
                  </a:cubicBezTo>
                  <a:cubicBezTo>
                    <a:pt x="165" y="128"/>
                    <a:pt x="165" y="128"/>
                    <a:pt x="165" y="128"/>
                  </a:cubicBezTo>
                  <a:cubicBezTo>
                    <a:pt x="168" y="131"/>
                    <a:pt x="168" y="131"/>
                    <a:pt x="168" y="131"/>
                  </a:cubicBezTo>
                  <a:cubicBezTo>
                    <a:pt x="168" y="187"/>
                    <a:pt x="168" y="187"/>
                    <a:pt x="168" y="187"/>
                  </a:cubicBezTo>
                  <a:cubicBezTo>
                    <a:pt x="164" y="190"/>
                    <a:pt x="164" y="190"/>
                    <a:pt x="164" y="190"/>
                  </a:cubicBezTo>
                  <a:cubicBezTo>
                    <a:pt x="164" y="95"/>
                    <a:pt x="164" y="95"/>
                    <a:pt x="164" y="95"/>
                  </a:cubicBezTo>
                  <a:cubicBezTo>
                    <a:pt x="168" y="91"/>
                    <a:pt x="168" y="91"/>
                    <a:pt x="168" y="91"/>
                  </a:cubicBezTo>
                  <a:close/>
                  <a:moveTo>
                    <a:pt x="168" y="198"/>
                  </a:moveTo>
                  <a:cubicBezTo>
                    <a:pt x="168" y="311"/>
                    <a:pt x="168" y="311"/>
                    <a:pt x="168" y="311"/>
                  </a:cubicBezTo>
                  <a:cubicBezTo>
                    <a:pt x="164" y="314"/>
                    <a:pt x="164" y="314"/>
                    <a:pt x="164" y="314"/>
                  </a:cubicBezTo>
                  <a:cubicBezTo>
                    <a:pt x="164" y="218"/>
                    <a:pt x="164" y="218"/>
                    <a:pt x="164" y="218"/>
                  </a:cubicBezTo>
                  <a:cubicBezTo>
                    <a:pt x="166" y="216"/>
                    <a:pt x="166" y="216"/>
                    <a:pt x="166" y="216"/>
                  </a:cubicBezTo>
                  <a:cubicBezTo>
                    <a:pt x="164" y="214"/>
                    <a:pt x="164" y="214"/>
                    <a:pt x="164" y="214"/>
                  </a:cubicBezTo>
                  <a:cubicBezTo>
                    <a:pt x="164" y="194"/>
                    <a:pt x="164" y="194"/>
                    <a:pt x="164" y="194"/>
                  </a:cubicBezTo>
                  <a:lnTo>
                    <a:pt x="168" y="198"/>
                  </a:lnTo>
                  <a:close/>
                  <a:moveTo>
                    <a:pt x="164" y="356"/>
                  </a:moveTo>
                  <a:cubicBezTo>
                    <a:pt x="161" y="353"/>
                    <a:pt x="161" y="353"/>
                    <a:pt x="161" y="353"/>
                  </a:cubicBezTo>
                  <a:cubicBezTo>
                    <a:pt x="161" y="323"/>
                    <a:pt x="161" y="323"/>
                    <a:pt x="161" y="323"/>
                  </a:cubicBezTo>
                  <a:cubicBezTo>
                    <a:pt x="164" y="327"/>
                    <a:pt x="164" y="327"/>
                    <a:pt x="164" y="327"/>
                  </a:cubicBezTo>
                  <a:cubicBezTo>
                    <a:pt x="164" y="356"/>
                    <a:pt x="164" y="356"/>
                    <a:pt x="164" y="356"/>
                  </a:cubicBezTo>
                  <a:close/>
                  <a:moveTo>
                    <a:pt x="161" y="31"/>
                  </a:moveTo>
                  <a:cubicBezTo>
                    <a:pt x="164" y="28"/>
                    <a:pt x="164" y="28"/>
                    <a:pt x="164" y="28"/>
                  </a:cubicBezTo>
                  <a:cubicBezTo>
                    <a:pt x="164" y="82"/>
                    <a:pt x="164" y="82"/>
                    <a:pt x="164" y="82"/>
                  </a:cubicBezTo>
                  <a:cubicBezTo>
                    <a:pt x="161" y="78"/>
                    <a:pt x="161" y="78"/>
                    <a:pt x="161" y="78"/>
                  </a:cubicBezTo>
                  <a:cubicBezTo>
                    <a:pt x="161" y="31"/>
                    <a:pt x="161" y="31"/>
                    <a:pt x="161" y="31"/>
                  </a:cubicBezTo>
                  <a:close/>
                  <a:moveTo>
                    <a:pt x="164" y="95"/>
                  </a:moveTo>
                  <a:cubicBezTo>
                    <a:pt x="164" y="190"/>
                    <a:pt x="164" y="190"/>
                    <a:pt x="164" y="190"/>
                  </a:cubicBezTo>
                  <a:cubicBezTo>
                    <a:pt x="162" y="192"/>
                    <a:pt x="162" y="192"/>
                    <a:pt x="162" y="192"/>
                  </a:cubicBezTo>
                  <a:cubicBezTo>
                    <a:pt x="164" y="194"/>
                    <a:pt x="164" y="194"/>
                    <a:pt x="164" y="194"/>
                  </a:cubicBezTo>
                  <a:cubicBezTo>
                    <a:pt x="164" y="214"/>
                    <a:pt x="164" y="214"/>
                    <a:pt x="164" y="214"/>
                  </a:cubicBezTo>
                  <a:cubicBezTo>
                    <a:pt x="161" y="211"/>
                    <a:pt x="161" y="211"/>
                    <a:pt x="161" y="211"/>
                  </a:cubicBezTo>
                  <a:cubicBezTo>
                    <a:pt x="161" y="98"/>
                    <a:pt x="161" y="98"/>
                    <a:pt x="161" y="98"/>
                  </a:cubicBezTo>
                  <a:cubicBezTo>
                    <a:pt x="164" y="95"/>
                    <a:pt x="164" y="95"/>
                    <a:pt x="164" y="95"/>
                  </a:cubicBezTo>
                  <a:close/>
                  <a:moveTo>
                    <a:pt x="164" y="218"/>
                  </a:moveTo>
                  <a:cubicBezTo>
                    <a:pt x="164" y="314"/>
                    <a:pt x="164" y="314"/>
                    <a:pt x="164" y="314"/>
                  </a:cubicBezTo>
                  <a:cubicBezTo>
                    <a:pt x="161" y="317"/>
                    <a:pt x="161" y="317"/>
                    <a:pt x="161" y="317"/>
                  </a:cubicBezTo>
                  <a:cubicBezTo>
                    <a:pt x="161" y="283"/>
                    <a:pt x="161" y="283"/>
                    <a:pt x="161" y="283"/>
                  </a:cubicBezTo>
                  <a:cubicBezTo>
                    <a:pt x="164" y="280"/>
                    <a:pt x="164" y="280"/>
                    <a:pt x="164" y="280"/>
                  </a:cubicBezTo>
                  <a:cubicBezTo>
                    <a:pt x="161" y="277"/>
                    <a:pt x="161" y="277"/>
                    <a:pt x="161" y="277"/>
                  </a:cubicBezTo>
                  <a:cubicBezTo>
                    <a:pt x="161" y="222"/>
                    <a:pt x="161" y="222"/>
                    <a:pt x="161" y="222"/>
                  </a:cubicBezTo>
                  <a:lnTo>
                    <a:pt x="164" y="218"/>
                  </a:lnTo>
                  <a:close/>
                  <a:moveTo>
                    <a:pt x="161" y="353"/>
                  </a:moveTo>
                  <a:cubicBezTo>
                    <a:pt x="152" y="344"/>
                    <a:pt x="152" y="344"/>
                    <a:pt x="152" y="344"/>
                  </a:cubicBezTo>
                  <a:cubicBezTo>
                    <a:pt x="152" y="292"/>
                    <a:pt x="152" y="292"/>
                    <a:pt x="152" y="292"/>
                  </a:cubicBezTo>
                  <a:cubicBezTo>
                    <a:pt x="161" y="283"/>
                    <a:pt x="161" y="283"/>
                    <a:pt x="161" y="283"/>
                  </a:cubicBezTo>
                  <a:cubicBezTo>
                    <a:pt x="161" y="317"/>
                    <a:pt x="161" y="317"/>
                    <a:pt x="161" y="317"/>
                  </a:cubicBezTo>
                  <a:cubicBezTo>
                    <a:pt x="158" y="320"/>
                    <a:pt x="158" y="320"/>
                    <a:pt x="158" y="320"/>
                  </a:cubicBezTo>
                  <a:cubicBezTo>
                    <a:pt x="161" y="323"/>
                    <a:pt x="161" y="323"/>
                    <a:pt x="161" y="323"/>
                  </a:cubicBezTo>
                  <a:cubicBezTo>
                    <a:pt x="161" y="353"/>
                    <a:pt x="161" y="353"/>
                    <a:pt x="161" y="353"/>
                  </a:cubicBezTo>
                  <a:close/>
                  <a:moveTo>
                    <a:pt x="152" y="40"/>
                  </a:moveTo>
                  <a:cubicBezTo>
                    <a:pt x="161" y="31"/>
                    <a:pt x="161" y="31"/>
                    <a:pt x="161" y="31"/>
                  </a:cubicBezTo>
                  <a:cubicBezTo>
                    <a:pt x="161" y="78"/>
                    <a:pt x="161" y="78"/>
                    <a:pt x="161" y="78"/>
                  </a:cubicBezTo>
                  <a:cubicBezTo>
                    <a:pt x="157" y="74"/>
                    <a:pt x="157" y="74"/>
                    <a:pt x="157" y="74"/>
                  </a:cubicBezTo>
                  <a:cubicBezTo>
                    <a:pt x="152" y="78"/>
                    <a:pt x="152" y="78"/>
                    <a:pt x="152" y="78"/>
                  </a:cubicBezTo>
                  <a:cubicBezTo>
                    <a:pt x="152" y="40"/>
                    <a:pt x="152" y="40"/>
                    <a:pt x="152" y="40"/>
                  </a:cubicBezTo>
                  <a:close/>
                  <a:moveTo>
                    <a:pt x="161" y="98"/>
                  </a:moveTo>
                  <a:cubicBezTo>
                    <a:pt x="161" y="211"/>
                    <a:pt x="161" y="211"/>
                    <a:pt x="161" y="211"/>
                  </a:cubicBezTo>
                  <a:cubicBezTo>
                    <a:pt x="152" y="202"/>
                    <a:pt x="152" y="202"/>
                    <a:pt x="152" y="202"/>
                  </a:cubicBezTo>
                  <a:cubicBezTo>
                    <a:pt x="152" y="202"/>
                    <a:pt x="152" y="202"/>
                    <a:pt x="152" y="202"/>
                  </a:cubicBezTo>
                  <a:cubicBezTo>
                    <a:pt x="152" y="106"/>
                    <a:pt x="152" y="106"/>
                    <a:pt x="152" y="106"/>
                  </a:cubicBezTo>
                  <a:cubicBezTo>
                    <a:pt x="161" y="98"/>
                    <a:pt x="161" y="98"/>
                    <a:pt x="161" y="98"/>
                  </a:cubicBezTo>
                  <a:close/>
                  <a:moveTo>
                    <a:pt x="161" y="222"/>
                  </a:moveTo>
                  <a:cubicBezTo>
                    <a:pt x="161" y="277"/>
                    <a:pt x="161" y="277"/>
                    <a:pt x="161" y="277"/>
                  </a:cubicBezTo>
                  <a:cubicBezTo>
                    <a:pt x="152" y="268"/>
                    <a:pt x="152" y="268"/>
                    <a:pt x="152" y="268"/>
                  </a:cubicBezTo>
                  <a:cubicBezTo>
                    <a:pt x="152" y="230"/>
                    <a:pt x="152" y="230"/>
                    <a:pt x="152" y="230"/>
                  </a:cubicBezTo>
                  <a:lnTo>
                    <a:pt x="161" y="222"/>
                  </a:lnTo>
                  <a:close/>
                  <a:moveTo>
                    <a:pt x="152" y="344"/>
                  </a:moveTo>
                  <a:cubicBezTo>
                    <a:pt x="132" y="323"/>
                    <a:pt x="132" y="323"/>
                    <a:pt x="132" y="323"/>
                  </a:cubicBezTo>
                  <a:cubicBezTo>
                    <a:pt x="132" y="294"/>
                    <a:pt x="132" y="294"/>
                    <a:pt x="132" y="294"/>
                  </a:cubicBezTo>
                  <a:cubicBezTo>
                    <a:pt x="141" y="303"/>
                    <a:pt x="141" y="303"/>
                    <a:pt x="141" y="303"/>
                  </a:cubicBezTo>
                  <a:cubicBezTo>
                    <a:pt x="152" y="292"/>
                    <a:pt x="152" y="292"/>
                    <a:pt x="152" y="292"/>
                  </a:cubicBezTo>
                  <a:cubicBezTo>
                    <a:pt x="152" y="344"/>
                    <a:pt x="152" y="344"/>
                    <a:pt x="152" y="344"/>
                  </a:cubicBezTo>
                  <a:close/>
                  <a:moveTo>
                    <a:pt x="132" y="59"/>
                  </a:moveTo>
                  <a:cubicBezTo>
                    <a:pt x="152" y="40"/>
                    <a:pt x="152" y="40"/>
                    <a:pt x="152" y="40"/>
                  </a:cubicBezTo>
                  <a:cubicBezTo>
                    <a:pt x="152" y="78"/>
                    <a:pt x="152" y="78"/>
                    <a:pt x="152" y="78"/>
                  </a:cubicBezTo>
                  <a:cubicBezTo>
                    <a:pt x="134" y="96"/>
                    <a:pt x="134" y="96"/>
                    <a:pt x="134" y="96"/>
                  </a:cubicBezTo>
                  <a:cubicBezTo>
                    <a:pt x="138" y="101"/>
                    <a:pt x="143" y="106"/>
                    <a:pt x="148" y="111"/>
                  </a:cubicBezTo>
                  <a:cubicBezTo>
                    <a:pt x="152" y="106"/>
                    <a:pt x="152" y="106"/>
                    <a:pt x="152" y="106"/>
                  </a:cubicBezTo>
                  <a:cubicBezTo>
                    <a:pt x="152" y="202"/>
                    <a:pt x="152" y="202"/>
                    <a:pt x="152" y="202"/>
                  </a:cubicBezTo>
                  <a:cubicBezTo>
                    <a:pt x="132" y="221"/>
                    <a:pt x="132" y="221"/>
                    <a:pt x="132" y="221"/>
                  </a:cubicBezTo>
                  <a:cubicBezTo>
                    <a:pt x="132" y="187"/>
                    <a:pt x="132" y="187"/>
                    <a:pt x="132" y="187"/>
                  </a:cubicBezTo>
                  <a:cubicBezTo>
                    <a:pt x="135" y="184"/>
                    <a:pt x="135" y="184"/>
                    <a:pt x="135" y="184"/>
                  </a:cubicBezTo>
                  <a:cubicBezTo>
                    <a:pt x="132" y="181"/>
                    <a:pt x="132" y="181"/>
                    <a:pt x="132" y="181"/>
                  </a:cubicBezTo>
                  <a:cubicBezTo>
                    <a:pt x="132" y="59"/>
                    <a:pt x="132" y="59"/>
                    <a:pt x="132" y="59"/>
                  </a:cubicBezTo>
                  <a:close/>
                  <a:moveTo>
                    <a:pt x="152" y="230"/>
                  </a:moveTo>
                  <a:cubicBezTo>
                    <a:pt x="152" y="268"/>
                    <a:pt x="152" y="268"/>
                    <a:pt x="152" y="268"/>
                  </a:cubicBezTo>
                  <a:cubicBezTo>
                    <a:pt x="150" y="266"/>
                    <a:pt x="150" y="266"/>
                    <a:pt x="150" y="266"/>
                  </a:cubicBezTo>
                  <a:cubicBezTo>
                    <a:pt x="132" y="283"/>
                    <a:pt x="132" y="283"/>
                    <a:pt x="132" y="283"/>
                  </a:cubicBezTo>
                  <a:cubicBezTo>
                    <a:pt x="132" y="249"/>
                    <a:pt x="132" y="249"/>
                    <a:pt x="132" y="249"/>
                  </a:cubicBezTo>
                  <a:cubicBezTo>
                    <a:pt x="133" y="248"/>
                    <a:pt x="133" y="248"/>
                    <a:pt x="133" y="248"/>
                  </a:cubicBezTo>
                  <a:cubicBezTo>
                    <a:pt x="132" y="247"/>
                    <a:pt x="132" y="247"/>
                    <a:pt x="132" y="247"/>
                  </a:cubicBezTo>
                  <a:cubicBezTo>
                    <a:pt x="132" y="227"/>
                    <a:pt x="132" y="227"/>
                    <a:pt x="132" y="227"/>
                  </a:cubicBezTo>
                  <a:cubicBezTo>
                    <a:pt x="143" y="239"/>
                    <a:pt x="143" y="239"/>
                    <a:pt x="143" y="239"/>
                  </a:cubicBezTo>
                  <a:lnTo>
                    <a:pt x="152" y="230"/>
                  </a:lnTo>
                  <a:close/>
                  <a:moveTo>
                    <a:pt x="132" y="323"/>
                  </a:moveTo>
                  <a:cubicBezTo>
                    <a:pt x="117" y="307"/>
                    <a:pt x="117" y="307"/>
                    <a:pt x="117" y="307"/>
                  </a:cubicBezTo>
                  <a:cubicBezTo>
                    <a:pt x="117" y="264"/>
                    <a:pt x="117" y="264"/>
                    <a:pt x="117" y="264"/>
                  </a:cubicBezTo>
                  <a:cubicBezTo>
                    <a:pt x="132" y="249"/>
                    <a:pt x="132" y="249"/>
                    <a:pt x="132" y="249"/>
                  </a:cubicBezTo>
                  <a:cubicBezTo>
                    <a:pt x="132" y="283"/>
                    <a:pt x="132" y="283"/>
                    <a:pt x="132" y="283"/>
                  </a:cubicBezTo>
                  <a:cubicBezTo>
                    <a:pt x="127" y="288"/>
                    <a:pt x="127" y="288"/>
                    <a:pt x="127" y="288"/>
                  </a:cubicBezTo>
                  <a:cubicBezTo>
                    <a:pt x="132" y="294"/>
                    <a:pt x="132" y="294"/>
                    <a:pt x="132" y="294"/>
                  </a:cubicBezTo>
                  <a:cubicBezTo>
                    <a:pt x="132" y="323"/>
                    <a:pt x="132" y="323"/>
                    <a:pt x="132" y="323"/>
                  </a:cubicBezTo>
                  <a:close/>
                  <a:moveTo>
                    <a:pt x="117" y="74"/>
                  </a:moveTo>
                  <a:cubicBezTo>
                    <a:pt x="132" y="59"/>
                    <a:pt x="132" y="59"/>
                    <a:pt x="132" y="59"/>
                  </a:cubicBezTo>
                  <a:cubicBezTo>
                    <a:pt x="132" y="181"/>
                    <a:pt x="132" y="181"/>
                    <a:pt x="132" y="181"/>
                  </a:cubicBezTo>
                  <a:cubicBezTo>
                    <a:pt x="121" y="170"/>
                    <a:pt x="121" y="170"/>
                    <a:pt x="121" y="170"/>
                  </a:cubicBezTo>
                  <a:cubicBezTo>
                    <a:pt x="117" y="174"/>
                    <a:pt x="117" y="174"/>
                    <a:pt x="117" y="174"/>
                  </a:cubicBezTo>
                  <a:cubicBezTo>
                    <a:pt x="117" y="74"/>
                    <a:pt x="117" y="74"/>
                    <a:pt x="117" y="74"/>
                  </a:cubicBezTo>
                  <a:close/>
                  <a:moveTo>
                    <a:pt x="132" y="187"/>
                  </a:moveTo>
                  <a:cubicBezTo>
                    <a:pt x="132" y="221"/>
                    <a:pt x="132" y="221"/>
                    <a:pt x="132" y="221"/>
                  </a:cubicBezTo>
                  <a:cubicBezTo>
                    <a:pt x="129" y="224"/>
                    <a:pt x="129" y="224"/>
                    <a:pt x="129" y="224"/>
                  </a:cubicBezTo>
                  <a:cubicBezTo>
                    <a:pt x="132" y="227"/>
                    <a:pt x="132" y="227"/>
                    <a:pt x="132" y="227"/>
                  </a:cubicBezTo>
                  <a:cubicBezTo>
                    <a:pt x="132" y="247"/>
                    <a:pt x="132" y="247"/>
                    <a:pt x="132" y="247"/>
                  </a:cubicBezTo>
                  <a:cubicBezTo>
                    <a:pt x="119" y="234"/>
                    <a:pt x="119" y="234"/>
                    <a:pt x="119" y="234"/>
                  </a:cubicBezTo>
                  <a:cubicBezTo>
                    <a:pt x="117" y="236"/>
                    <a:pt x="117" y="236"/>
                    <a:pt x="117" y="236"/>
                  </a:cubicBezTo>
                  <a:cubicBezTo>
                    <a:pt x="117" y="202"/>
                    <a:pt x="117" y="202"/>
                    <a:pt x="117" y="202"/>
                  </a:cubicBezTo>
                  <a:lnTo>
                    <a:pt x="132" y="187"/>
                  </a:lnTo>
                  <a:close/>
                  <a:moveTo>
                    <a:pt x="117" y="307"/>
                  </a:moveTo>
                  <a:cubicBezTo>
                    <a:pt x="101" y="290"/>
                    <a:pt x="101" y="290"/>
                    <a:pt x="101" y="290"/>
                  </a:cubicBezTo>
                  <a:cubicBezTo>
                    <a:pt x="101" y="261"/>
                    <a:pt x="101" y="261"/>
                    <a:pt x="101" y="261"/>
                  </a:cubicBezTo>
                  <a:cubicBezTo>
                    <a:pt x="110" y="270"/>
                    <a:pt x="110" y="270"/>
                    <a:pt x="110" y="270"/>
                  </a:cubicBezTo>
                  <a:cubicBezTo>
                    <a:pt x="117" y="264"/>
                    <a:pt x="117" y="264"/>
                    <a:pt x="117" y="264"/>
                  </a:cubicBezTo>
                  <a:cubicBezTo>
                    <a:pt x="117" y="307"/>
                    <a:pt x="117" y="307"/>
                    <a:pt x="117" y="307"/>
                  </a:cubicBezTo>
                  <a:close/>
                  <a:moveTo>
                    <a:pt x="101" y="88"/>
                  </a:moveTo>
                  <a:cubicBezTo>
                    <a:pt x="117" y="74"/>
                    <a:pt x="117" y="74"/>
                    <a:pt x="117" y="74"/>
                  </a:cubicBezTo>
                  <a:cubicBezTo>
                    <a:pt x="117" y="174"/>
                    <a:pt x="117" y="174"/>
                    <a:pt x="117" y="174"/>
                  </a:cubicBezTo>
                  <a:cubicBezTo>
                    <a:pt x="101" y="189"/>
                    <a:pt x="101" y="189"/>
                    <a:pt x="101" y="189"/>
                  </a:cubicBezTo>
                  <a:cubicBezTo>
                    <a:pt x="101" y="155"/>
                    <a:pt x="101" y="155"/>
                    <a:pt x="101" y="155"/>
                  </a:cubicBezTo>
                  <a:cubicBezTo>
                    <a:pt x="104" y="152"/>
                    <a:pt x="104" y="152"/>
                    <a:pt x="104" y="152"/>
                  </a:cubicBezTo>
                  <a:cubicBezTo>
                    <a:pt x="101" y="149"/>
                    <a:pt x="101" y="149"/>
                    <a:pt x="101" y="149"/>
                  </a:cubicBezTo>
                  <a:cubicBezTo>
                    <a:pt x="101" y="88"/>
                    <a:pt x="101" y="88"/>
                    <a:pt x="101" y="88"/>
                  </a:cubicBezTo>
                  <a:close/>
                  <a:moveTo>
                    <a:pt x="117" y="202"/>
                  </a:moveTo>
                  <a:cubicBezTo>
                    <a:pt x="117" y="236"/>
                    <a:pt x="117" y="236"/>
                    <a:pt x="117" y="236"/>
                  </a:cubicBezTo>
                  <a:cubicBezTo>
                    <a:pt x="101" y="251"/>
                    <a:pt x="101" y="251"/>
                    <a:pt x="101" y="251"/>
                  </a:cubicBezTo>
                  <a:cubicBezTo>
                    <a:pt x="101" y="195"/>
                    <a:pt x="101" y="195"/>
                    <a:pt x="101" y="195"/>
                  </a:cubicBezTo>
                  <a:cubicBezTo>
                    <a:pt x="112" y="206"/>
                    <a:pt x="112" y="206"/>
                    <a:pt x="112" y="206"/>
                  </a:cubicBezTo>
                  <a:lnTo>
                    <a:pt x="117" y="202"/>
                  </a:lnTo>
                  <a:close/>
                  <a:moveTo>
                    <a:pt x="101" y="290"/>
                  </a:moveTo>
                  <a:cubicBezTo>
                    <a:pt x="86" y="274"/>
                    <a:pt x="86" y="274"/>
                    <a:pt x="86" y="274"/>
                  </a:cubicBezTo>
                  <a:cubicBezTo>
                    <a:pt x="86" y="170"/>
                    <a:pt x="86" y="170"/>
                    <a:pt x="86" y="170"/>
                  </a:cubicBezTo>
                  <a:cubicBezTo>
                    <a:pt x="101" y="155"/>
                    <a:pt x="101" y="155"/>
                    <a:pt x="101" y="155"/>
                  </a:cubicBezTo>
                  <a:cubicBezTo>
                    <a:pt x="101" y="189"/>
                    <a:pt x="101" y="189"/>
                    <a:pt x="101" y="189"/>
                  </a:cubicBezTo>
                  <a:cubicBezTo>
                    <a:pt x="98" y="192"/>
                    <a:pt x="98" y="192"/>
                    <a:pt x="98" y="192"/>
                  </a:cubicBezTo>
                  <a:cubicBezTo>
                    <a:pt x="101" y="195"/>
                    <a:pt x="101" y="195"/>
                    <a:pt x="101" y="195"/>
                  </a:cubicBezTo>
                  <a:cubicBezTo>
                    <a:pt x="101" y="251"/>
                    <a:pt x="101" y="251"/>
                    <a:pt x="101" y="251"/>
                  </a:cubicBezTo>
                  <a:cubicBezTo>
                    <a:pt x="96" y="256"/>
                    <a:pt x="96" y="256"/>
                    <a:pt x="96" y="256"/>
                  </a:cubicBezTo>
                  <a:cubicBezTo>
                    <a:pt x="101" y="261"/>
                    <a:pt x="101" y="261"/>
                    <a:pt x="101" y="261"/>
                  </a:cubicBezTo>
                  <a:cubicBezTo>
                    <a:pt x="101" y="290"/>
                    <a:pt x="101" y="290"/>
                    <a:pt x="101" y="290"/>
                  </a:cubicBezTo>
                  <a:close/>
                  <a:moveTo>
                    <a:pt x="86" y="103"/>
                  </a:moveTo>
                  <a:cubicBezTo>
                    <a:pt x="93" y="96"/>
                    <a:pt x="93" y="96"/>
                    <a:pt x="93" y="96"/>
                  </a:cubicBezTo>
                  <a:cubicBezTo>
                    <a:pt x="101" y="88"/>
                    <a:pt x="101" y="88"/>
                    <a:pt x="101" y="88"/>
                  </a:cubicBezTo>
                  <a:cubicBezTo>
                    <a:pt x="101" y="149"/>
                    <a:pt x="101" y="149"/>
                    <a:pt x="101" y="149"/>
                  </a:cubicBezTo>
                  <a:cubicBezTo>
                    <a:pt x="90" y="137"/>
                    <a:pt x="90" y="137"/>
                    <a:pt x="90" y="137"/>
                  </a:cubicBezTo>
                  <a:cubicBezTo>
                    <a:pt x="86" y="142"/>
                    <a:pt x="86" y="142"/>
                    <a:pt x="86" y="142"/>
                  </a:cubicBezTo>
                  <a:lnTo>
                    <a:pt x="86" y="103"/>
                  </a:lnTo>
                  <a:close/>
                  <a:moveTo>
                    <a:pt x="86" y="274"/>
                  </a:moveTo>
                  <a:cubicBezTo>
                    <a:pt x="69" y="257"/>
                    <a:pt x="69" y="257"/>
                    <a:pt x="69" y="257"/>
                  </a:cubicBezTo>
                  <a:cubicBezTo>
                    <a:pt x="69" y="186"/>
                    <a:pt x="69" y="186"/>
                    <a:pt x="69" y="186"/>
                  </a:cubicBezTo>
                  <a:cubicBezTo>
                    <a:pt x="71" y="184"/>
                    <a:pt x="71" y="184"/>
                    <a:pt x="71" y="184"/>
                  </a:cubicBezTo>
                  <a:cubicBezTo>
                    <a:pt x="69" y="182"/>
                    <a:pt x="69" y="182"/>
                    <a:pt x="69" y="182"/>
                  </a:cubicBezTo>
                  <a:cubicBezTo>
                    <a:pt x="69" y="161"/>
                    <a:pt x="69" y="161"/>
                    <a:pt x="69" y="161"/>
                  </a:cubicBezTo>
                  <a:cubicBezTo>
                    <a:pt x="81" y="174"/>
                    <a:pt x="81" y="174"/>
                    <a:pt x="81" y="174"/>
                  </a:cubicBezTo>
                  <a:cubicBezTo>
                    <a:pt x="86" y="170"/>
                    <a:pt x="86" y="170"/>
                    <a:pt x="86" y="170"/>
                  </a:cubicBezTo>
                  <a:cubicBezTo>
                    <a:pt x="86" y="274"/>
                    <a:pt x="86" y="274"/>
                    <a:pt x="86" y="274"/>
                  </a:cubicBezTo>
                  <a:close/>
                  <a:moveTo>
                    <a:pt x="69" y="119"/>
                  </a:moveTo>
                  <a:cubicBezTo>
                    <a:pt x="86" y="103"/>
                    <a:pt x="86" y="103"/>
                    <a:pt x="86" y="103"/>
                  </a:cubicBezTo>
                  <a:cubicBezTo>
                    <a:pt x="86" y="142"/>
                    <a:pt x="86" y="142"/>
                    <a:pt x="86" y="142"/>
                  </a:cubicBezTo>
                  <a:cubicBezTo>
                    <a:pt x="69" y="157"/>
                    <a:pt x="69" y="157"/>
                    <a:pt x="69" y="157"/>
                  </a:cubicBezTo>
                  <a:lnTo>
                    <a:pt x="69" y="119"/>
                  </a:lnTo>
                  <a:close/>
                  <a:moveTo>
                    <a:pt x="69" y="257"/>
                  </a:moveTo>
                  <a:cubicBezTo>
                    <a:pt x="53" y="240"/>
                    <a:pt x="53" y="240"/>
                    <a:pt x="53" y="240"/>
                  </a:cubicBezTo>
                  <a:cubicBezTo>
                    <a:pt x="53" y="201"/>
                    <a:pt x="53" y="201"/>
                    <a:pt x="53" y="201"/>
                  </a:cubicBezTo>
                  <a:cubicBezTo>
                    <a:pt x="69" y="186"/>
                    <a:pt x="69" y="186"/>
                    <a:pt x="69" y="186"/>
                  </a:cubicBezTo>
                  <a:cubicBezTo>
                    <a:pt x="69" y="257"/>
                    <a:pt x="69" y="257"/>
                    <a:pt x="69" y="257"/>
                  </a:cubicBezTo>
                  <a:close/>
                  <a:moveTo>
                    <a:pt x="53" y="135"/>
                  </a:moveTo>
                  <a:cubicBezTo>
                    <a:pt x="69" y="119"/>
                    <a:pt x="69" y="119"/>
                    <a:pt x="69" y="119"/>
                  </a:cubicBezTo>
                  <a:cubicBezTo>
                    <a:pt x="69" y="157"/>
                    <a:pt x="69" y="157"/>
                    <a:pt x="69" y="157"/>
                  </a:cubicBezTo>
                  <a:cubicBezTo>
                    <a:pt x="67" y="159"/>
                    <a:pt x="67" y="159"/>
                    <a:pt x="67" y="159"/>
                  </a:cubicBezTo>
                  <a:cubicBezTo>
                    <a:pt x="69" y="161"/>
                    <a:pt x="69" y="161"/>
                    <a:pt x="69" y="161"/>
                  </a:cubicBezTo>
                  <a:cubicBezTo>
                    <a:pt x="69" y="182"/>
                    <a:pt x="69" y="182"/>
                    <a:pt x="69" y="182"/>
                  </a:cubicBezTo>
                  <a:cubicBezTo>
                    <a:pt x="57" y="169"/>
                    <a:pt x="57" y="169"/>
                    <a:pt x="57" y="169"/>
                  </a:cubicBezTo>
                  <a:cubicBezTo>
                    <a:pt x="53" y="173"/>
                    <a:pt x="53" y="173"/>
                    <a:pt x="53" y="173"/>
                  </a:cubicBezTo>
                  <a:lnTo>
                    <a:pt x="53" y="135"/>
                  </a:lnTo>
                  <a:close/>
                  <a:moveTo>
                    <a:pt x="53" y="240"/>
                  </a:moveTo>
                  <a:cubicBezTo>
                    <a:pt x="0" y="185"/>
                    <a:pt x="0" y="185"/>
                    <a:pt x="0" y="185"/>
                  </a:cubicBezTo>
                  <a:cubicBezTo>
                    <a:pt x="53" y="135"/>
                    <a:pt x="53" y="135"/>
                    <a:pt x="53" y="135"/>
                  </a:cubicBezTo>
                  <a:cubicBezTo>
                    <a:pt x="53" y="173"/>
                    <a:pt x="53" y="173"/>
                    <a:pt x="53" y="173"/>
                  </a:cubicBezTo>
                  <a:cubicBezTo>
                    <a:pt x="34" y="191"/>
                    <a:pt x="34" y="191"/>
                    <a:pt x="34" y="191"/>
                  </a:cubicBezTo>
                  <a:cubicBezTo>
                    <a:pt x="39" y="196"/>
                    <a:pt x="44" y="201"/>
                    <a:pt x="48" y="206"/>
                  </a:cubicBezTo>
                  <a:cubicBezTo>
                    <a:pt x="53" y="201"/>
                    <a:pt x="53" y="201"/>
                    <a:pt x="53" y="201"/>
                  </a:cubicBezTo>
                  <a:lnTo>
                    <a:pt x="53" y="240"/>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5" name="ïṩliďè">
              <a:extLst>
                <a:ext uri="{FF2B5EF4-FFF2-40B4-BE49-F238E27FC236}">
                  <a16:creationId xmlns:a16="http://schemas.microsoft.com/office/drawing/2014/main" id="{6252BD86-A9B0-4D76-A50B-E133FFCBA066}"/>
                </a:ext>
              </a:extLst>
            </p:cNvPr>
            <p:cNvSpPr/>
            <p:nvPr/>
          </p:nvSpPr>
          <p:spPr bwMode="auto">
            <a:xfrm flipH="1">
              <a:off x="1676277" y="3034973"/>
              <a:ext cx="625279" cy="530990"/>
            </a:xfrm>
            <a:custGeom>
              <a:avLst/>
              <a:gdLst>
                <a:gd name="T0" fmla="*/ 305 w 374"/>
                <a:gd name="T1" fmla="*/ 174 h 325"/>
                <a:gd name="T2" fmla="*/ 331 w 374"/>
                <a:gd name="T3" fmla="*/ 121 h 325"/>
                <a:gd name="T4" fmla="*/ 307 w 374"/>
                <a:gd name="T5" fmla="*/ 81 h 325"/>
                <a:gd name="T6" fmla="*/ 296 w 374"/>
                <a:gd name="T7" fmla="*/ 27 h 325"/>
                <a:gd name="T8" fmla="*/ 263 w 374"/>
                <a:gd name="T9" fmla="*/ 71 h 325"/>
                <a:gd name="T10" fmla="*/ 263 w 374"/>
                <a:gd name="T11" fmla="*/ 11 h 325"/>
                <a:gd name="T12" fmla="*/ 267 w 374"/>
                <a:gd name="T13" fmla="*/ 180 h 325"/>
                <a:gd name="T14" fmla="*/ 296 w 374"/>
                <a:gd name="T15" fmla="*/ 105 h 325"/>
                <a:gd name="T16" fmla="*/ 268 w 374"/>
                <a:gd name="T17" fmla="*/ 85 h 325"/>
                <a:gd name="T18" fmla="*/ 263 w 374"/>
                <a:gd name="T19" fmla="*/ 125 h 325"/>
                <a:gd name="T20" fmla="*/ 237 w 374"/>
                <a:gd name="T21" fmla="*/ 215 h 325"/>
                <a:gd name="T22" fmla="*/ 245 w 374"/>
                <a:gd name="T23" fmla="*/ 173 h 325"/>
                <a:gd name="T24" fmla="*/ 263 w 374"/>
                <a:gd name="T25" fmla="*/ 125 h 325"/>
                <a:gd name="T26" fmla="*/ 244 w 374"/>
                <a:gd name="T27" fmla="*/ 45 h 325"/>
                <a:gd name="T28" fmla="*/ 263 w 374"/>
                <a:gd name="T29" fmla="*/ 76 h 325"/>
                <a:gd name="T30" fmla="*/ 248 w 374"/>
                <a:gd name="T31" fmla="*/ 80 h 325"/>
                <a:gd name="T32" fmla="*/ 210 w 374"/>
                <a:gd name="T33" fmla="*/ 255 h 325"/>
                <a:gd name="T34" fmla="*/ 210 w 374"/>
                <a:gd name="T35" fmla="*/ 183 h 325"/>
                <a:gd name="T36" fmla="*/ 232 w 374"/>
                <a:gd name="T37" fmla="*/ 218 h 325"/>
                <a:gd name="T38" fmla="*/ 237 w 374"/>
                <a:gd name="T39" fmla="*/ 87 h 325"/>
                <a:gd name="T40" fmla="*/ 234 w 374"/>
                <a:gd name="T41" fmla="*/ 125 h 325"/>
                <a:gd name="T42" fmla="*/ 229 w 374"/>
                <a:gd name="T43" fmla="*/ 146 h 325"/>
                <a:gd name="T44" fmla="*/ 210 w 374"/>
                <a:gd name="T45" fmla="*/ 115 h 325"/>
                <a:gd name="T46" fmla="*/ 210 w 374"/>
                <a:gd name="T47" fmla="*/ 231 h 325"/>
                <a:gd name="T48" fmla="*/ 205 w 374"/>
                <a:gd name="T49" fmla="*/ 106 h 325"/>
                <a:gd name="T50" fmla="*/ 192 w 374"/>
                <a:gd name="T51" fmla="*/ 54 h 325"/>
                <a:gd name="T52" fmla="*/ 210 w 374"/>
                <a:gd name="T53" fmla="*/ 120 h 325"/>
                <a:gd name="T54" fmla="*/ 210 w 374"/>
                <a:gd name="T55" fmla="*/ 215 h 325"/>
                <a:gd name="T56" fmla="*/ 192 w 374"/>
                <a:gd name="T57" fmla="*/ 189 h 325"/>
                <a:gd name="T58" fmla="*/ 177 w 374"/>
                <a:gd name="T59" fmla="*/ 275 h 325"/>
                <a:gd name="T60" fmla="*/ 188 w 374"/>
                <a:gd name="T61" fmla="*/ 244 h 325"/>
                <a:gd name="T62" fmla="*/ 192 w 374"/>
                <a:gd name="T63" fmla="*/ 84 h 325"/>
                <a:gd name="T64" fmla="*/ 192 w 374"/>
                <a:gd name="T65" fmla="*/ 114 h 325"/>
                <a:gd name="T66" fmla="*/ 192 w 374"/>
                <a:gd name="T67" fmla="*/ 151 h 325"/>
                <a:gd name="T68" fmla="*/ 177 w 374"/>
                <a:gd name="T69" fmla="*/ 177 h 325"/>
                <a:gd name="T70" fmla="*/ 182 w 374"/>
                <a:gd name="T71" fmla="*/ 137 h 325"/>
                <a:gd name="T72" fmla="*/ 132 w 374"/>
                <a:gd name="T73" fmla="*/ 278 h 325"/>
                <a:gd name="T74" fmla="*/ 159 w 374"/>
                <a:gd name="T75" fmla="*/ 225 h 325"/>
                <a:gd name="T76" fmla="*/ 135 w 374"/>
                <a:gd name="T77" fmla="*/ 185 h 325"/>
                <a:gd name="T78" fmla="*/ 177 w 374"/>
                <a:gd name="T79" fmla="*/ 86 h 325"/>
                <a:gd name="T80" fmla="*/ 175 w 374"/>
                <a:gd name="T81" fmla="*/ 124 h 325"/>
                <a:gd name="T82" fmla="*/ 177 w 374"/>
                <a:gd name="T83" fmla="*/ 177 h 325"/>
                <a:gd name="T84" fmla="*/ 177 w 374"/>
                <a:gd name="T85" fmla="*/ 275 h 325"/>
                <a:gd name="T86" fmla="*/ 124 w 374"/>
                <a:gd name="T87" fmla="*/ 307 h 325"/>
                <a:gd name="T88" fmla="*/ 105 w 374"/>
                <a:gd name="T89" fmla="*/ 146 h 325"/>
                <a:gd name="T90" fmla="*/ 124 w 374"/>
                <a:gd name="T91" fmla="*/ 230 h 325"/>
                <a:gd name="T92" fmla="*/ 105 w 374"/>
                <a:gd name="T93" fmla="*/ 257 h 325"/>
                <a:gd name="T94" fmla="*/ 112 w 374"/>
                <a:gd name="T95" fmla="*/ 216 h 325"/>
                <a:gd name="T96" fmla="*/ 91 w 374"/>
                <a:gd name="T97" fmla="*/ 266 h 325"/>
                <a:gd name="T98" fmla="*/ 105 w 374"/>
                <a:gd name="T99" fmla="*/ 294 h 325"/>
                <a:gd name="T100" fmla="*/ 102 w 374"/>
                <a:gd name="T101" fmla="*/ 131 h 325"/>
                <a:gd name="T102" fmla="*/ 105 w 374"/>
                <a:gd name="T103" fmla="*/ 204 h 325"/>
                <a:gd name="T104" fmla="*/ 99 w 374"/>
                <a:gd name="T105" fmla="*/ 224 h 325"/>
                <a:gd name="T106" fmla="*/ 91 w 374"/>
                <a:gd name="T107" fmla="*/ 320 h 325"/>
                <a:gd name="T108" fmla="*/ 48 w 374"/>
                <a:gd name="T109" fmla="*/ 164 h 325"/>
                <a:gd name="T110" fmla="*/ 80 w 374"/>
                <a:gd name="T111" fmla="*/ 161 h 325"/>
                <a:gd name="T112" fmla="*/ 91 w 374"/>
                <a:gd name="T113" fmla="*/ 229 h 325"/>
                <a:gd name="T114" fmla="*/ 91 w 374"/>
                <a:gd name="T115" fmla="*/ 320 h 325"/>
                <a:gd name="T116" fmla="*/ 29 w 374"/>
                <a:gd name="T117" fmla="*/ 17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4" h="325">
                  <a:moveTo>
                    <a:pt x="296" y="27"/>
                  </a:moveTo>
                  <a:cubicBezTo>
                    <a:pt x="374" y="156"/>
                    <a:pt x="374" y="156"/>
                    <a:pt x="374" y="156"/>
                  </a:cubicBezTo>
                  <a:cubicBezTo>
                    <a:pt x="296" y="203"/>
                    <a:pt x="296" y="203"/>
                    <a:pt x="296" y="203"/>
                  </a:cubicBezTo>
                  <a:cubicBezTo>
                    <a:pt x="296" y="179"/>
                    <a:pt x="296" y="179"/>
                    <a:pt x="296" y="179"/>
                  </a:cubicBezTo>
                  <a:cubicBezTo>
                    <a:pt x="305" y="174"/>
                    <a:pt x="305" y="174"/>
                    <a:pt x="305" y="174"/>
                  </a:cubicBezTo>
                  <a:cubicBezTo>
                    <a:pt x="302" y="170"/>
                    <a:pt x="300" y="166"/>
                    <a:pt x="297" y="162"/>
                  </a:cubicBezTo>
                  <a:cubicBezTo>
                    <a:pt x="296" y="163"/>
                    <a:pt x="296" y="163"/>
                    <a:pt x="296" y="163"/>
                  </a:cubicBezTo>
                  <a:cubicBezTo>
                    <a:pt x="296" y="131"/>
                    <a:pt x="296" y="131"/>
                    <a:pt x="296" y="131"/>
                  </a:cubicBezTo>
                  <a:cubicBezTo>
                    <a:pt x="301" y="139"/>
                    <a:pt x="301" y="139"/>
                    <a:pt x="301" y="139"/>
                  </a:cubicBezTo>
                  <a:cubicBezTo>
                    <a:pt x="311" y="133"/>
                    <a:pt x="321" y="127"/>
                    <a:pt x="331" y="121"/>
                  </a:cubicBezTo>
                  <a:cubicBezTo>
                    <a:pt x="329" y="117"/>
                    <a:pt x="326" y="113"/>
                    <a:pt x="324" y="109"/>
                  </a:cubicBezTo>
                  <a:cubicBezTo>
                    <a:pt x="296" y="126"/>
                    <a:pt x="296" y="126"/>
                    <a:pt x="296" y="126"/>
                  </a:cubicBezTo>
                  <a:cubicBezTo>
                    <a:pt x="296" y="105"/>
                    <a:pt x="296" y="105"/>
                    <a:pt x="296" y="105"/>
                  </a:cubicBezTo>
                  <a:cubicBezTo>
                    <a:pt x="315" y="94"/>
                    <a:pt x="315" y="94"/>
                    <a:pt x="315" y="94"/>
                  </a:cubicBezTo>
                  <a:cubicBezTo>
                    <a:pt x="312" y="89"/>
                    <a:pt x="310" y="85"/>
                    <a:pt x="307" y="81"/>
                  </a:cubicBezTo>
                  <a:cubicBezTo>
                    <a:pt x="296" y="88"/>
                    <a:pt x="296" y="88"/>
                    <a:pt x="296" y="88"/>
                  </a:cubicBezTo>
                  <a:cubicBezTo>
                    <a:pt x="296" y="68"/>
                    <a:pt x="296" y="68"/>
                    <a:pt x="296" y="68"/>
                  </a:cubicBezTo>
                  <a:cubicBezTo>
                    <a:pt x="298" y="67"/>
                    <a:pt x="298" y="67"/>
                    <a:pt x="298" y="67"/>
                  </a:cubicBezTo>
                  <a:cubicBezTo>
                    <a:pt x="296" y="63"/>
                    <a:pt x="296" y="63"/>
                    <a:pt x="296" y="63"/>
                  </a:cubicBezTo>
                  <a:lnTo>
                    <a:pt x="296" y="27"/>
                  </a:lnTo>
                  <a:close/>
                  <a:moveTo>
                    <a:pt x="280" y="0"/>
                  </a:moveTo>
                  <a:cubicBezTo>
                    <a:pt x="296" y="27"/>
                    <a:pt x="296" y="27"/>
                    <a:pt x="296" y="27"/>
                  </a:cubicBezTo>
                  <a:cubicBezTo>
                    <a:pt x="296" y="63"/>
                    <a:pt x="296" y="63"/>
                    <a:pt x="296" y="63"/>
                  </a:cubicBezTo>
                  <a:cubicBezTo>
                    <a:pt x="291" y="54"/>
                    <a:pt x="291" y="54"/>
                    <a:pt x="291" y="54"/>
                  </a:cubicBezTo>
                  <a:cubicBezTo>
                    <a:pt x="263" y="71"/>
                    <a:pt x="263" y="71"/>
                    <a:pt x="263" y="71"/>
                  </a:cubicBezTo>
                  <a:cubicBezTo>
                    <a:pt x="263" y="50"/>
                    <a:pt x="263" y="50"/>
                    <a:pt x="263" y="50"/>
                  </a:cubicBezTo>
                  <a:cubicBezTo>
                    <a:pt x="282" y="39"/>
                    <a:pt x="282" y="39"/>
                    <a:pt x="282" y="39"/>
                  </a:cubicBezTo>
                  <a:cubicBezTo>
                    <a:pt x="279" y="35"/>
                    <a:pt x="277" y="31"/>
                    <a:pt x="274" y="27"/>
                  </a:cubicBezTo>
                  <a:cubicBezTo>
                    <a:pt x="263" y="34"/>
                    <a:pt x="263" y="34"/>
                    <a:pt x="263" y="34"/>
                  </a:cubicBezTo>
                  <a:cubicBezTo>
                    <a:pt x="263" y="11"/>
                    <a:pt x="263" y="11"/>
                    <a:pt x="263" y="11"/>
                  </a:cubicBezTo>
                  <a:cubicBezTo>
                    <a:pt x="280" y="0"/>
                    <a:pt x="280" y="0"/>
                    <a:pt x="280" y="0"/>
                  </a:cubicBezTo>
                  <a:close/>
                  <a:moveTo>
                    <a:pt x="296" y="203"/>
                  </a:moveTo>
                  <a:cubicBezTo>
                    <a:pt x="296" y="179"/>
                    <a:pt x="296" y="179"/>
                    <a:pt x="296" y="179"/>
                  </a:cubicBezTo>
                  <a:cubicBezTo>
                    <a:pt x="275" y="192"/>
                    <a:pt x="275" y="192"/>
                    <a:pt x="275" y="192"/>
                  </a:cubicBezTo>
                  <a:cubicBezTo>
                    <a:pt x="272" y="188"/>
                    <a:pt x="270" y="184"/>
                    <a:pt x="267" y="180"/>
                  </a:cubicBezTo>
                  <a:cubicBezTo>
                    <a:pt x="296" y="163"/>
                    <a:pt x="296" y="163"/>
                    <a:pt x="296" y="163"/>
                  </a:cubicBezTo>
                  <a:cubicBezTo>
                    <a:pt x="296" y="131"/>
                    <a:pt x="296" y="131"/>
                    <a:pt x="296" y="131"/>
                  </a:cubicBezTo>
                  <a:cubicBezTo>
                    <a:pt x="294" y="127"/>
                    <a:pt x="294" y="127"/>
                    <a:pt x="294" y="127"/>
                  </a:cubicBezTo>
                  <a:cubicBezTo>
                    <a:pt x="296" y="126"/>
                    <a:pt x="296" y="126"/>
                    <a:pt x="296" y="126"/>
                  </a:cubicBezTo>
                  <a:cubicBezTo>
                    <a:pt x="296" y="105"/>
                    <a:pt x="296" y="105"/>
                    <a:pt x="296" y="105"/>
                  </a:cubicBezTo>
                  <a:cubicBezTo>
                    <a:pt x="285" y="112"/>
                    <a:pt x="285" y="112"/>
                    <a:pt x="285" y="112"/>
                  </a:cubicBezTo>
                  <a:cubicBezTo>
                    <a:pt x="282" y="108"/>
                    <a:pt x="280" y="104"/>
                    <a:pt x="277" y="99"/>
                  </a:cubicBezTo>
                  <a:cubicBezTo>
                    <a:pt x="296" y="88"/>
                    <a:pt x="296" y="88"/>
                    <a:pt x="296" y="88"/>
                  </a:cubicBezTo>
                  <a:cubicBezTo>
                    <a:pt x="296" y="68"/>
                    <a:pt x="296" y="68"/>
                    <a:pt x="296" y="68"/>
                  </a:cubicBezTo>
                  <a:cubicBezTo>
                    <a:pt x="268" y="85"/>
                    <a:pt x="268" y="85"/>
                    <a:pt x="268" y="85"/>
                  </a:cubicBezTo>
                  <a:cubicBezTo>
                    <a:pt x="263" y="76"/>
                    <a:pt x="263" y="76"/>
                    <a:pt x="263" y="76"/>
                  </a:cubicBezTo>
                  <a:cubicBezTo>
                    <a:pt x="263" y="108"/>
                    <a:pt x="263" y="108"/>
                    <a:pt x="263" y="108"/>
                  </a:cubicBezTo>
                  <a:cubicBezTo>
                    <a:pt x="264" y="107"/>
                    <a:pt x="264" y="107"/>
                    <a:pt x="264" y="107"/>
                  </a:cubicBezTo>
                  <a:cubicBezTo>
                    <a:pt x="267" y="111"/>
                    <a:pt x="269" y="115"/>
                    <a:pt x="272" y="120"/>
                  </a:cubicBezTo>
                  <a:cubicBezTo>
                    <a:pt x="263" y="125"/>
                    <a:pt x="263" y="125"/>
                    <a:pt x="263" y="125"/>
                  </a:cubicBezTo>
                  <a:cubicBezTo>
                    <a:pt x="263" y="223"/>
                    <a:pt x="263" y="223"/>
                    <a:pt x="263" y="223"/>
                  </a:cubicBezTo>
                  <a:lnTo>
                    <a:pt x="296" y="203"/>
                  </a:lnTo>
                  <a:close/>
                  <a:moveTo>
                    <a:pt x="263" y="223"/>
                  </a:moveTo>
                  <a:cubicBezTo>
                    <a:pt x="237" y="239"/>
                    <a:pt x="237" y="239"/>
                    <a:pt x="237" y="239"/>
                  </a:cubicBezTo>
                  <a:cubicBezTo>
                    <a:pt x="237" y="215"/>
                    <a:pt x="237" y="215"/>
                    <a:pt x="237" y="215"/>
                  </a:cubicBezTo>
                  <a:cubicBezTo>
                    <a:pt x="262" y="200"/>
                    <a:pt x="262" y="200"/>
                    <a:pt x="262" y="200"/>
                  </a:cubicBezTo>
                  <a:cubicBezTo>
                    <a:pt x="259" y="196"/>
                    <a:pt x="257" y="192"/>
                    <a:pt x="254" y="188"/>
                  </a:cubicBezTo>
                  <a:cubicBezTo>
                    <a:pt x="237" y="198"/>
                    <a:pt x="237" y="198"/>
                    <a:pt x="237" y="198"/>
                  </a:cubicBezTo>
                  <a:cubicBezTo>
                    <a:pt x="237" y="178"/>
                    <a:pt x="237" y="178"/>
                    <a:pt x="237" y="178"/>
                  </a:cubicBezTo>
                  <a:cubicBezTo>
                    <a:pt x="245" y="173"/>
                    <a:pt x="245" y="173"/>
                    <a:pt x="245" y="173"/>
                  </a:cubicBezTo>
                  <a:cubicBezTo>
                    <a:pt x="243" y="169"/>
                    <a:pt x="240" y="165"/>
                    <a:pt x="238" y="161"/>
                  </a:cubicBezTo>
                  <a:cubicBezTo>
                    <a:pt x="237" y="161"/>
                    <a:pt x="237" y="161"/>
                    <a:pt x="237" y="161"/>
                  </a:cubicBezTo>
                  <a:cubicBezTo>
                    <a:pt x="237" y="129"/>
                    <a:pt x="237" y="129"/>
                    <a:pt x="237" y="129"/>
                  </a:cubicBezTo>
                  <a:cubicBezTo>
                    <a:pt x="242" y="138"/>
                    <a:pt x="242" y="138"/>
                    <a:pt x="242" y="138"/>
                  </a:cubicBezTo>
                  <a:cubicBezTo>
                    <a:pt x="263" y="125"/>
                    <a:pt x="263" y="125"/>
                    <a:pt x="263" y="125"/>
                  </a:cubicBezTo>
                  <a:cubicBezTo>
                    <a:pt x="263" y="223"/>
                    <a:pt x="263" y="223"/>
                    <a:pt x="263" y="223"/>
                  </a:cubicBezTo>
                  <a:close/>
                  <a:moveTo>
                    <a:pt x="237" y="27"/>
                  </a:moveTo>
                  <a:cubicBezTo>
                    <a:pt x="263" y="11"/>
                    <a:pt x="263" y="11"/>
                    <a:pt x="263" y="11"/>
                  </a:cubicBezTo>
                  <a:cubicBezTo>
                    <a:pt x="263" y="34"/>
                    <a:pt x="263" y="34"/>
                    <a:pt x="263" y="34"/>
                  </a:cubicBezTo>
                  <a:cubicBezTo>
                    <a:pt x="244" y="45"/>
                    <a:pt x="244" y="45"/>
                    <a:pt x="244" y="45"/>
                  </a:cubicBezTo>
                  <a:cubicBezTo>
                    <a:pt x="247" y="49"/>
                    <a:pt x="249" y="53"/>
                    <a:pt x="252" y="57"/>
                  </a:cubicBezTo>
                  <a:cubicBezTo>
                    <a:pt x="263" y="50"/>
                    <a:pt x="263" y="50"/>
                    <a:pt x="263" y="50"/>
                  </a:cubicBezTo>
                  <a:cubicBezTo>
                    <a:pt x="263" y="71"/>
                    <a:pt x="263" y="71"/>
                    <a:pt x="263" y="71"/>
                  </a:cubicBezTo>
                  <a:cubicBezTo>
                    <a:pt x="261" y="72"/>
                    <a:pt x="261" y="72"/>
                    <a:pt x="261" y="72"/>
                  </a:cubicBezTo>
                  <a:cubicBezTo>
                    <a:pt x="263" y="76"/>
                    <a:pt x="263" y="76"/>
                    <a:pt x="263" y="76"/>
                  </a:cubicBezTo>
                  <a:cubicBezTo>
                    <a:pt x="263" y="108"/>
                    <a:pt x="263" y="108"/>
                    <a:pt x="263" y="108"/>
                  </a:cubicBezTo>
                  <a:cubicBezTo>
                    <a:pt x="237" y="124"/>
                    <a:pt x="237" y="124"/>
                    <a:pt x="237" y="124"/>
                  </a:cubicBezTo>
                  <a:cubicBezTo>
                    <a:pt x="237" y="104"/>
                    <a:pt x="237" y="104"/>
                    <a:pt x="237" y="104"/>
                  </a:cubicBezTo>
                  <a:cubicBezTo>
                    <a:pt x="255" y="93"/>
                    <a:pt x="255" y="93"/>
                    <a:pt x="255" y="93"/>
                  </a:cubicBezTo>
                  <a:cubicBezTo>
                    <a:pt x="253" y="88"/>
                    <a:pt x="250" y="84"/>
                    <a:pt x="248" y="80"/>
                  </a:cubicBezTo>
                  <a:cubicBezTo>
                    <a:pt x="237" y="87"/>
                    <a:pt x="237" y="87"/>
                    <a:pt x="237" y="87"/>
                  </a:cubicBezTo>
                  <a:lnTo>
                    <a:pt x="237" y="27"/>
                  </a:lnTo>
                  <a:close/>
                  <a:moveTo>
                    <a:pt x="237" y="239"/>
                  </a:moveTo>
                  <a:cubicBezTo>
                    <a:pt x="234" y="240"/>
                    <a:pt x="234" y="240"/>
                    <a:pt x="234" y="240"/>
                  </a:cubicBezTo>
                  <a:cubicBezTo>
                    <a:pt x="210" y="255"/>
                    <a:pt x="210" y="255"/>
                    <a:pt x="210" y="255"/>
                  </a:cubicBezTo>
                  <a:cubicBezTo>
                    <a:pt x="210" y="231"/>
                    <a:pt x="210" y="231"/>
                    <a:pt x="210" y="231"/>
                  </a:cubicBezTo>
                  <a:cubicBezTo>
                    <a:pt x="218" y="226"/>
                    <a:pt x="218" y="226"/>
                    <a:pt x="218" y="226"/>
                  </a:cubicBezTo>
                  <a:cubicBezTo>
                    <a:pt x="216" y="222"/>
                    <a:pt x="213" y="218"/>
                    <a:pt x="211" y="214"/>
                  </a:cubicBezTo>
                  <a:cubicBezTo>
                    <a:pt x="210" y="215"/>
                    <a:pt x="210" y="215"/>
                    <a:pt x="210" y="215"/>
                  </a:cubicBezTo>
                  <a:cubicBezTo>
                    <a:pt x="210" y="183"/>
                    <a:pt x="210" y="183"/>
                    <a:pt x="210" y="183"/>
                  </a:cubicBezTo>
                  <a:cubicBezTo>
                    <a:pt x="215" y="191"/>
                    <a:pt x="215" y="191"/>
                    <a:pt x="215" y="191"/>
                  </a:cubicBezTo>
                  <a:cubicBezTo>
                    <a:pt x="237" y="178"/>
                    <a:pt x="237" y="178"/>
                    <a:pt x="237" y="178"/>
                  </a:cubicBezTo>
                  <a:cubicBezTo>
                    <a:pt x="237" y="198"/>
                    <a:pt x="237" y="198"/>
                    <a:pt x="237" y="198"/>
                  </a:cubicBezTo>
                  <a:cubicBezTo>
                    <a:pt x="224" y="206"/>
                    <a:pt x="224" y="206"/>
                    <a:pt x="224" y="206"/>
                  </a:cubicBezTo>
                  <a:cubicBezTo>
                    <a:pt x="226" y="210"/>
                    <a:pt x="229" y="214"/>
                    <a:pt x="232" y="218"/>
                  </a:cubicBezTo>
                  <a:cubicBezTo>
                    <a:pt x="237" y="215"/>
                    <a:pt x="237" y="215"/>
                    <a:pt x="237" y="215"/>
                  </a:cubicBezTo>
                  <a:cubicBezTo>
                    <a:pt x="237" y="239"/>
                    <a:pt x="237" y="239"/>
                    <a:pt x="237" y="239"/>
                  </a:cubicBezTo>
                  <a:close/>
                  <a:moveTo>
                    <a:pt x="210" y="43"/>
                  </a:moveTo>
                  <a:cubicBezTo>
                    <a:pt x="237" y="27"/>
                    <a:pt x="237" y="27"/>
                    <a:pt x="237" y="27"/>
                  </a:cubicBezTo>
                  <a:cubicBezTo>
                    <a:pt x="237" y="87"/>
                    <a:pt x="237" y="87"/>
                    <a:pt x="237" y="87"/>
                  </a:cubicBezTo>
                  <a:cubicBezTo>
                    <a:pt x="218" y="98"/>
                    <a:pt x="218" y="98"/>
                    <a:pt x="218" y="98"/>
                  </a:cubicBezTo>
                  <a:cubicBezTo>
                    <a:pt x="220" y="102"/>
                    <a:pt x="223" y="106"/>
                    <a:pt x="225" y="111"/>
                  </a:cubicBezTo>
                  <a:cubicBezTo>
                    <a:pt x="237" y="104"/>
                    <a:pt x="237" y="104"/>
                    <a:pt x="237" y="104"/>
                  </a:cubicBezTo>
                  <a:cubicBezTo>
                    <a:pt x="237" y="124"/>
                    <a:pt x="237" y="124"/>
                    <a:pt x="237" y="124"/>
                  </a:cubicBezTo>
                  <a:cubicBezTo>
                    <a:pt x="234" y="125"/>
                    <a:pt x="234" y="125"/>
                    <a:pt x="234" y="125"/>
                  </a:cubicBezTo>
                  <a:cubicBezTo>
                    <a:pt x="237" y="129"/>
                    <a:pt x="237" y="129"/>
                    <a:pt x="237" y="129"/>
                  </a:cubicBezTo>
                  <a:cubicBezTo>
                    <a:pt x="237" y="161"/>
                    <a:pt x="237" y="161"/>
                    <a:pt x="237" y="161"/>
                  </a:cubicBezTo>
                  <a:cubicBezTo>
                    <a:pt x="210" y="178"/>
                    <a:pt x="210" y="178"/>
                    <a:pt x="210" y="178"/>
                  </a:cubicBezTo>
                  <a:cubicBezTo>
                    <a:pt x="210" y="157"/>
                    <a:pt x="210" y="157"/>
                    <a:pt x="210" y="157"/>
                  </a:cubicBezTo>
                  <a:cubicBezTo>
                    <a:pt x="229" y="146"/>
                    <a:pt x="229" y="146"/>
                    <a:pt x="229" y="146"/>
                  </a:cubicBezTo>
                  <a:cubicBezTo>
                    <a:pt x="226" y="141"/>
                    <a:pt x="224" y="137"/>
                    <a:pt x="221" y="133"/>
                  </a:cubicBezTo>
                  <a:cubicBezTo>
                    <a:pt x="210" y="140"/>
                    <a:pt x="210" y="140"/>
                    <a:pt x="210" y="140"/>
                  </a:cubicBezTo>
                  <a:cubicBezTo>
                    <a:pt x="210" y="120"/>
                    <a:pt x="210" y="120"/>
                    <a:pt x="210" y="120"/>
                  </a:cubicBezTo>
                  <a:cubicBezTo>
                    <a:pt x="212" y="119"/>
                    <a:pt x="212" y="119"/>
                    <a:pt x="212" y="119"/>
                  </a:cubicBezTo>
                  <a:cubicBezTo>
                    <a:pt x="210" y="115"/>
                    <a:pt x="210" y="115"/>
                    <a:pt x="210" y="115"/>
                  </a:cubicBezTo>
                  <a:lnTo>
                    <a:pt x="210" y="43"/>
                  </a:lnTo>
                  <a:close/>
                  <a:moveTo>
                    <a:pt x="210" y="255"/>
                  </a:moveTo>
                  <a:cubicBezTo>
                    <a:pt x="192" y="266"/>
                    <a:pt x="192" y="266"/>
                    <a:pt x="192" y="266"/>
                  </a:cubicBezTo>
                  <a:cubicBezTo>
                    <a:pt x="192" y="242"/>
                    <a:pt x="192" y="242"/>
                    <a:pt x="192" y="242"/>
                  </a:cubicBezTo>
                  <a:cubicBezTo>
                    <a:pt x="210" y="231"/>
                    <a:pt x="210" y="231"/>
                    <a:pt x="210" y="231"/>
                  </a:cubicBezTo>
                  <a:cubicBezTo>
                    <a:pt x="210" y="255"/>
                    <a:pt x="210" y="255"/>
                    <a:pt x="210" y="255"/>
                  </a:cubicBezTo>
                  <a:close/>
                  <a:moveTo>
                    <a:pt x="192" y="54"/>
                  </a:moveTo>
                  <a:cubicBezTo>
                    <a:pt x="210" y="43"/>
                    <a:pt x="210" y="43"/>
                    <a:pt x="210" y="43"/>
                  </a:cubicBezTo>
                  <a:cubicBezTo>
                    <a:pt x="210" y="115"/>
                    <a:pt x="210" y="115"/>
                    <a:pt x="210" y="115"/>
                  </a:cubicBezTo>
                  <a:cubicBezTo>
                    <a:pt x="205" y="106"/>
                    <a:pt x="205" y="106"/>
                    <a:pt x="205" y="106"/>
                  </a:cubicBezTo>
                  <a:cubicBezTo>
                    <a:pt x="192" y="114"/>
                    <a:pt x="192" y="114"/>
                    <a:pt x="192" y="114"/>
                  </a:cubicBezTo>
                  <a:cubicBezTo>
                    <a:pt x="192" y="94"/>
                    <a:pt x="192" y="94"/>
                    <a:pt x="192" y="94"/>
                  </a:cubicBezTo>
                  <a:cubicBezTo>
                    <a:pt x="196" y="91"/>
                    <a:pt x="196" y="91"/>
                    <a:pt x="196" y="91"/>
                  </a:cubicBezTo>
                  <a:cubicBezTo>
                    <a:pt x="192" y="84"/>
                    <a:pt x="192" y="84"/>
                    <a:pt x="192" y="84"/>
                  </a:cubicBezTo>
                  <a:cubicBezTo>
                    <a:pt x="192" y="54"/>
                    <a:pt x="192" y="54"/>
                    <a:pt x="192" y="54"/>
                  </a:cubicBezTo>
                  <a:close/>
                  <a:moveTo>
                    <a:pt x="210" y="120"/>
                  </a:moveTo>
                  <a:cubicBezTo>
                    <a:pt x="210" y="140"/>
                    <a:pt x="210" y="140"/>
                    <a:pt x="210" y="140"/>
                  </a:cubicBezTo>
                  <a:cubicBezTo>
                    <a:pt x="192" y="151"/>
                    <a:pt x="192" y="151"/>
                    <a:pt x="192" y="151"/>
                  </a:cubicBezTo>
                  <a:cubicBezTo>
                    <a:pt x="192" y="131"/>
                    <a:pt x="192" y="131"/>
                    <a:pt x="192" y="131"/>
                  </a:cubicBezTo>
                  <a:cubicBezTo>
                    <a:pt x="210" y="120"/>
                    <a:pt x="210" y="120"/>
                    <a:pt x="210" y="120"/>
                  </a:cubicBezTo>
                  <a:close/>
                  <a:moveTo>
                    <a:pt x="210" y="157"/>
                  </a:moveTo>
                  <a:cubicBezTo>
                    <a:pt x="210" y="178"/>
                    <a:pt x="210" y="178"/>
                    <a:pt x="210" y="178"/>
                  </a:cubicBezTo>
                  <a:cubicBezTo>
                    <a:pt x="208" y="179"/>
                    <a:pt x="208" y="179"/>
                    <a:pt x="208" y="179"/>
                  </a:cubicBezTo>
                  <a:cubicBezTo>
                    <a:pt x="210" y="183"/>
                    <a:pt x="210" y="183"/>
                    <a:pt x="210" y="183"/>
                  </a:cubicBezTo>
                  <a:cubicBezTo>
                    <a:pt x="210" y="215"/>
                    <a:pt x="210" y="215"/>
                    <a:pt x="210" y="215"/>
                  </a:cubicBezTo>
                  <a:cubicBezTo>
                    <a:pt x="192" y="226"/>
                    <a:pt x="192" y="226"/>
                    <a:pt x="192" y="226"/>
                  </a:cubicBezTo>
                  <a:cubicBezTo>
                    <a:pt x="192" y="205"/>
                    <a:pt x="192" y="205"/>
                    <a:pt x="192" y="205"/>
                  </a:cubicBezTo>
                  <a:cubicBezTo>
                    <a:pt x="202" y="199"/>
                    <a:pt x="202" y="199"/>
                    <a:pt x="202" y="199"/>
                  </a:cubicBezTo>
                  <a:cubicBezTo>
                    <a:pt x="199" y="195"/>
                    <a:pt x="197" y="191"/>
                    <a:pt x="195" y="187"/>
                  </a:cubicBezTo>
                  <a:cubicBezTo>
                    <a:pt x="192" y="189"/>
                    <a:pt x="192" y="189"/>
                    <a:pt x="192" y="189"/>
                  </a:cubicBezTo>
                  <a:cubicBezTo>
                    <a:pt x="192" y="152"/>
                    <a:pt x="192" y="152"/>
                    <a:pt x="192" y="152"/>
                  </a:cubicBezTo>
                  <a:cubicBezTo>
                    <a:pt x="199" y="164"/>
                    <a:pt x="199" y="164"/>
                    <a:pt x="199" y="164"/>
                  </a:cubicBezTo>
                  <a:lnTo>
                    <a:pt x="210" y="157"/>
                  </a:lnTo>
                  <a:close/>
                  <a:moveTo>
                    <a:pt x="192" y="266"/>
                  </a:moveTo>
                  <a:cubicBezTo>
                    <a:pt x="177" y="275"/>
                    <a:pt x="177" y="275"/>
                    <a:pt x="177" y="275"/>
                  </a:cubicBezTo>
                  <a:cubicBezTo>
                    <a:pt x="177" y="214"/>
                    <a:pt x="177" y="214"/>
                    <a:pt x="177" y="214"/>
                  </a:cubicBezTo>
                  <a:cubicBezTo>
                    <a:pt x="192" y="205"/>
                    <a:pt x="192" y="205"/>
                    <a:pt x="192" y="205"/>
                  </a:cubicBezTo>
                  <a:cubicBezTo>
                    <a:pt x="192" y="226"/>
                    <a:pt x="192" y="226"/>
                    <a:pt x="192" y="226"/>
                  </a:cubicBezTo>
                  <a:cubicBezTo>
                    <a:pt x="181" y="232"/>
                    <a:pt x="181" y="232"/>
                    <a:pt x="181" y="232"/>
                  </a:cubicBezTo>
                  <a:cubicBezTo>
                    <a:pt x="183" y="236"/>
                    <a:pt x="186" y="240"/>
                    <a:pt x="188" y="244"/>
                  </a:cubicBezTo>
                  <a:cubicBezTo>
                    <a:pt x="192" y="242"/>
                    <a:pt x="192" y="242"/>
                    <a:pt x="192" y="242"/>
                  </a:cubicBezTo>
                  <a:cubicBezTo>
                    <a:pt x="192" y="266"/>
                    <a:pt x="192" y="266"/>
                    <a:pt x="192" y="266"/>
                  </a:cubicBezTo>
                  <a:close/>
                  <a:moveTo>
                    <a:pt x="177" y="63"/>
                  </a:moveTo>
                  <a:cubicBezTo>
                    <a:pt x="192" y="54"/>
                    <a:pt x="192" y="54"/>
                    <a:pt x="192" y="54"/>
                  </a:cubicBezTo>
                  <a:cubicBezTo>
                    <a:pt x="192" y="84"/>
                    <a:pt x="192" y="84"/>
                    <a:pt x="192" y="84"/>
                  </a:cubicBezTo>
                  <a:cubicBezTo>
                    <a:pt x="188" y="79"/>
                    <a:pt x="188" y="79"/>
                    <a:pt x="188" y="79"/>
                  </a:cubicBezTo>
                  <a:cubicBezTo>
                    <a:pt x="177" y="86"/>
                    <a:pt x="177" y="86"/>
                    <a:pt x="177" y="86"/>
                  </a:cubicBezTo>
                  <a:cubicBezTo>
                    <a:pt x="177" y="63"/>
                    <a:pt x="177" y="63"/>
                    <a:pt x="177" y="63"/>
                  </a:cubicBezTo>
                  <a:close/>
                  <a:moveTo>
                    <a:pt x="192" y="94"/>
                  </a:moveTo>
                  <a:cubicBezTo>
                    <a:pt x="192" y="114"/>
                    <a:pt x="192" y="114"/>
                    <a:pt x="192" y="114"/>
                  </a:cubicBezTo>
                  <a:cubicBezTo>
                    <a:pt x="177" y="123"/>
                    <a:pt x="177" y="123"/>
                    <a:pt x="177" y="123"/>
                  </a:cubicBezTo>
                  <a:cubicBezTo>
                    <a:pt x="177" y="103"/>
                    <a:pt x="177" y="103"/>
                    <a:pt x="177" y="103"/>
                  </a:cubicBezTo>
                  <a:cubicBezTo>
                    <a:pt x="192" y="94"/>
                    <a:pt x="192" y="94"/>
                    <a:pt x="192" y="94"/>
                  </a:cubicBezTo>
                  <a:close/>
                  <a:moveTo>
                    <a:pt x="192" y="131"/>
                  </a:moveTo>
                  <a:cubicBezTo>
                    <a:pt x="192" y="151"/>
                    <a:pt x="192" y="151"/>
                    <a:pt x="192" y="151"/>
                  </a:cubicBezTo>
                  <a:cubicBezTo>
                    <a:pt x="191" y="152"/>
                    <a:pt x="191" y="152"/>
                    <a:pt x="191" y="152"/>
                  </a:cubicBezTo>
                  <a:cubicBezTo>
                    <a:pt x="192" y="152"/>
                    <a:pt x="192" y="152"/>
                    <a:pt x="192" y="152"/>
                  </a:cubicBezTo>
                  <a:cubicBezTo>
                    <a:pt x="192" y="189"/>
                    <a:pt x="192" y="189"/>
                    <a:pt x="192" y="189"/>
                  </a:cubicBezTo>
                  <a:cubicBezTo>
                    <a:pt x="177" y="197"/>
                    <a:pt x="177" y="197"/>
                    <a:pt x="177" y="197"/>
                  </a:cubicBezTo>
                  <a:cubicBezTo>
                    <a:pt x="177" y="177"/>
                    <a:pt x="177" y="177"/>
                    <a:pt x="177" y="177"/>
                  </a:cubicBezTo>
                  <a:cubicBezTo>
                    <a:pt x="186" y="172"/>
                    <a:pt x="186" y="172"/>
                    <a:pt x="186" y="172"/>
                  </a:cubicBezTo>
                  <a:cubicBezTo>
                    <a:pt x="183" y="167"/>
                    <a:pt x="181" y="163"/>
                    <a:pt x="178" y="159"/>
                  </a:cubicBezTo>
                  <a:cubicBezTo>
                    <a:pt x="177" y="160"/>
                    <a:pt x="177" y="160"/>
                    <a:pt x="177" y="160"/>
                  </a:cubicBezTo>
                  <a:cubicBezTo>
                    <a:pt x="177" y="128"/>
                    <a:pt x="177" y="128"/>
                    <a:pt x="177" y="128"/>
                  </a:cubicBezTo>
                  <a:cubicBezTo>
                    <a:pt x="182" y="137"/>
                    <a:pt x="182" y="137"/>
                    <a:pt x="182" y="137"/>
                  </a:cubicBezTo>
                  <a:lnTo>
                    <a:pt x="192" y="131"/>
                  </a:lnTo>
                  <a:close/>
                  <a:moveTo>
                    <a:pt x="177" y="275"/>
                  </a:moveTo>
                  <a:cubicBezTo>
                    <a:pt x="124" y="307"/>
                    <a:pt x="124" y="307"/>
                    <a:pt x="124" y="307"/>
                  </a:cubicBezTo>
                  <a:cubicBezTo>
                    <a:pt x="124" y="283"/>
                    <a:pt x="124" y="283"/>
                    <a:pt x="124" y="283"/>
                  </a:cubicBezTo>
                  <a:cubicBezTo>
                    <a:pt x="132" y="278"/>
                    <a:pt x="132" y="278"/>
                    <a:pt x="132" y="278"/>
                  </a:cubicBezTo>
                  <a:cubicBezTo>
                    <a:pt x="130" y="274"/>
                    <a:pt x="127" y="270"/>
                    <a:pt x="125" y="266"/>
                  </a:cubicBezTo>
                  <a:cubicBezTo>
                    <a:pt x="124" y="267"/>
                    <a:pt x="124" y="267"/>
                    <a:pt x="124" y="267"/>
                  </a:cubicBezTo>
                  <a:cubicBezTo>
                    <a:pt x="124" y="235"/>
                    <a:pt x="124" y="235"/>
                    <a:pt x="124" y="235"/>
                  </a:cubicBezTo>
                  <a:cubicBezTo>
                    <a:pt x="129" y="243"/>
                    <a:pt x="129" y="243"/>
                    <a:pt x="129" y="243"/>
                  </a:cubicBezTo>
                  <a:cubicBezTo>
                    <a:pt x="139" y="237"/>
                    <a:pt x="149" y="231"/>
                    <a:pt x="159" y="225"/>
                  </a:cubicBezTo>
                  <a:cubicBezTo>
                    <a:pt x="156" y="221"/>
                    <a:pt x="154" y="217"/>
                    <a:pt x="152" y="213"/>
                  </a:cubicBezTo>
                  <a:cubicBezTo>
                    <a:pt x="124" y="230"/>
                    <a:pt x="124" y="230"/>
                    <a:pt x="124" y="230"/>
                  </a:cubicBezTo>
                  <a:cubicBezTo>
                    <a:pt x="124" y="209"/>
                    <a:pt x="124" y="209"/>
                    <a:pt x="124" y="209"/>
                  </a:cubicBezTo>
                  <a:cubicBezTo>
                    <a:pt x="142" y="198"/>
                    <a:pt x="142" y="198"/>
                    <a:pt x="142" y="198"/>
                  </a:cubicBezTo>
                  <a:cubicBezTo>
                    <a:pt x="140" y="193"/>
                    <a:pt x="137" y="189"/>
                    <a:pt x="135" y="185"/>
                  </a:cubicBezTo>
                  <a:cubicBezTo>
                    <a:pt x="124" y="192"/>
                    <a:pt x="124" y="192"/>
                    <a:pt x="124" y="192"/>
                  </a:cubicBezTo>
                  <a:cubicBezTo>
                    <a:pt x="124" y="95"/>
                    <a:pt x="124" y="95"/>
                    <a:pt x="124" y="95"/>
                  </a:cubicBezTo>
                  <a:cubicBezTo>
                    <a:pt x="140" y="85"/>
                    <a:pt x="140" y="85"/>
                    <a:pt x="140" y="85"/>
                  </a:cubicBezTo>
                  <a:cubicBezTo>
                    <a:pt x="177" y="63"/>
                    <a:pt x="177" y="63"/>
                    <a:pt x="177" y="63"/>
                  </a:cubicBezTo>
                  <a:cubicBezTo>
                    <a:pt x="177" y="86"/>
                    <a:pt x="177" y="86"/>
                    <a:pt x="177" y="86"/>
                  </a:cubicBezTo>
                  <a:cubicBezTo>
                    <a:pt x="158" y="97"/>
                    <a:pt x="158" y="97"/>
                    <a:pt x="158" y="97"/>
                  </a:cubicBezTo>
                  <a:cubicBezTo>
                    <a:pt x="161" y="101"/>
                    <a:pt x="163" y="105"/>
                    <a:pt x="166" y="109"/>
                  </a:cubicBezTo>
                  <a:cubicBezTo>
                    <a:pt x="177" y="103"/>
                    <a:pt x="177" y="103"/>
                    <a:pt x="177" y="103"/>
                  </a:cubicBezTo>
                  <a:cubicBezTo>
                    <a:pt x="177" y="123"/>
                    <a:pt x="177" y="123"/>
                    <a:pt x="177" y="123"/>
                  </a:cubicBezTo>
                  <a:cubicBezTo>
                    <a:pt x="175" y="124"/>
                    <a:pt x="175" y="124"/>
                    <a:pt x="175" y="124"/>
                  </a:cubicBezTo>
                  <a:cubicBezTo>
                    <a:pt x="177" y="128"/>
                    <a:pt x="177" y="128"/>
                    <a:pt x="177" y="128"/>
                  </a:cubicBezTo>
                  <a:cubicBezTo>
                    <a:pt x="177" y="160"/>
                    <a:pt x="177" y="160"/>
                    <a:pt x="177" y="160"/>
                  </a:cubicBezTo>
                  <a:cubicBezTo>
                    <a:pt x="148" y="178"/>
                    <a:pt x="148" y="178"/>
                    <a:pt x="148" y="178"/>
                  </a:cubicBezTo>
                  <a:cubicBezTo>
                    <a:pt x="151" y="182"/>
                    <a:pt x="153" y="186"/>
                    <a:pt x="156" y="190"/>
                  </a:cubicBezTo>
                  <a:cubicBezTo>
                    <a:pt x="177" y="177"/>
                    <a:pt x="177" y="177"/>
                    <a:pt x="177" y="177"/>
                  </a:cubicBezTo>
                  <a:cubicBezTo>
                    <a:pt x="177" y="197"/>
                    <a:pt x="177" y="197"/>
                    <a:pt x="177" y="197"/>
                  </a:cubicBezTo>
                  <a:cubicBezTo>
                    <a:pt x="165" y="205"/>
                    <a:pt x="165" y="205"/>
                    <a:pt x="165" y="205"/>
                  </a:cubicBezTo>
                  <a:cubicBezTo>
                    <a:pt x="167" y="209"/>
                    <a:pt x="169" y="213"/>
                    <a:pt x="172" y="217"/>
                  </a:cubicBezTo>
                  <a:cubicBezTo>
                    <a:pt x="177" y="214"/>
                    <a:pt x="177" y="214"/>
                    <a:pt x="177" y="214"/>
                  </a:cubicBezTo>
                  <a:lnTo>
                    <a:pt x="177" y="275"/>
                  </a:lnTo>
                  <a:close/>
                  <a:moveTo>
                    <a:pt x="124" y="307"/>
                  </a:moveTo>
                  <a:cubicBezTo>
                    <a:pt x="105" y="318"/>
                    <a:pt x="105" y="318"/>
                    <a:pt x="105" y="318"/>
                  </a:cubicBezTo>
                  <a:cubicBezTo>
                    <a:pt x="105" y="294"/>
                    <a:pt x="105" y="294"/>
                    <a:pt x="105" y="294"/>
                  </a:cubicBezTo>
                  <a:cubicBezTo>
                    <a:pt x="124" y="283"/>
                    <a:pt x="124" y="283"/>
                    <a:pt x="124" y="283"/>
                  </a:cubicBezTo>
                  <a:cubicBezTo>
                    <a:pt x="124" y="307"/>
                    <a:pt x="124" y="307"/>
                    <a:pt x="124" y="307"/>
                  </a:cubicBezTo>
                  <a:close/>
                  <a:moveTo>
                    <a:pt x="105" y="106"/>
                  </a:moveTo>
                  <a:cubicBezTo>
                    <a:pt x="124" y="95"/>
                    <a:pt x="124" y="95"/>
                    <a:pt x="124" y="95"/>
                  </a:cubicBezTo>
                  <a:cubicBezTo>
                    <a:pt x="124" y="192"/>
                    <a:pt x="124" y="192"/>
                    <a:pt x="124" y="192"/>
                  </a:cubicBezTo>
                  <a:cubicBezTo>
                    <a:pt x="105" y="203"/>
                    <a:pt x="105" y="203"/>
                    <a:pt x="105" y="203"/>
                  </a:cubicBezTo>
                  <a:cubicBezTo>
                    <a:pt x="105" y="146"/>
                    <a:pt x="105" y="146"/>
                    <a:pt x="105" y="146"/>
                  </a:cubicBezTo>
                  <a:cubicBezTo>
                    <a:pt x="110" y="143"/>
                    <a:pt x="110" y="143"/>
                    <a:pt x="110" y="143"/>
                  </a:cubicBezTo>
                  <a:cubicBezTo>
                    <a:pt x="105" y="136"/>
                    <a:pt x="105" y="136"/>
                    <a:pt x="105" y="136"/>
                  </a:cubicBezTo>
                  <a:cubicBezTo>
                    <a:pt x="105" y="106"/>
                    <a:pt x="105" y="106"/>
                    <a:pt x="105" y="106"/>
                  </a:cubicBezTo>
                  <a:close/>
                  <a:moveTo>
                    <a:pt x="124" y="209"/>
                  </a:moveTo>
                  <a:cubicBezTo>
                    <a:pt x="124" y="230"/>
                    <a:pt x="124" y="230"/>
                    <a:pt x="124" y="230"/>
                  </a:cubicBezTo>
                  <a:cubicBezTo>
                    <a:pt x="122" y="231"/>
                    <a:pt x="122" y="231"/>
                    <a:pt x="122" y="231"/>
                  </a:cubicBezTo>
                  <a:cubicBezTo>
                    <a:pt x="124" y="235"/>
                    <a:pt x="124" y="235"/>
                    <a:pt x="124" y="235"/>
                  </a:cubicBezTo>
                  <a:cubicBezTo>
                    <a:pt x="124" y="267"/>
                    <a:pt x="124" y="267"/>
                    <a:pt x="124" y="267"/>
                  </a:cubicBezTo>
                  <a:cubicBezTo>
                    <a:pt x="105" y="278"/>
                    <a:pt x="105" y="278"/>
                    <a:pt x="105" y="278"/>
                  </a:cubicBezTo>
                  <a:cubicBezTo>
                    <a:pt x="105" y="257"/>
                    <a:pt x="105" y="257"/>
                    <a:pt x="105" y="257"/>
                  </a:cubicBezTo>
                  <a:cubicBezTo>
                    <a:pt x="116" y="251"/>
                    <a:pt x="116" y="251"/>
                    <a:pt x="116" y="251"/>
                  </a:cubicBezTo>
                  <a:cubicBezTo>
                    <a:pt x="113" y="247"/>
                    <a:pt x="111" y="243"/>
                    <a:pt x="108" y="239"/>
                  </a:cubicBezTo>
                  <a:cubicBezTo>
                    <a:pt x="105" y="241"/>
                    <a:pt x="105" y="241"/>
                    <a:pt x="105" y="241"/>
                  </a:cubicBezTo>
                  <a:cubicBezTo>
                    <a:pt x="105" y="204"/>
                    <a:pt x="105" y="204"/>
                    <a:pt x="105" y="204"/>
                  </a:cubicBezTo>
                  <a:cubicBezTo>
                    <a:pt x="112" y="216"/>
                    <a:pt x="112" y="216"/>
                    <a:pt x="112" y="216"/>
                  </a:cubicBezTo>
                  <a:lnTo>
                    <a:pt x="124" y="209"/>
                  </a:lnTo>
                  <a:close/>
                  <a:moveTo>
                    <a:pt x="105" y="318"/>
                  </a:moveTo>
                  <a:cubicBezTo>
                    <a:pt x="94" y="325"/>
                    <a:pt x="94" y="325"/>
                    <a:pt x="94" y="325"/>
                  </a:cubicBezTo>
                  <a:cubicBezTo>
                    <a:pt x="91" y="320"/>
                    <a:pt x="91" y="320"/>
                    <a:pt x="91" y="320"/>
                  </a:cubicBezTo>
                  <a:cubicBezTo>
                    <a:pt x="91" y="266"/>
                    <a:pt x="91" y="266"/>
                    <a:pt x="91" y="266"/>
                  </a:cubicBezTo>
                  <a:cubicBezTo>
                    <a:pt x="105" y="257"/>
                    <a:pt x="105" y="257"/>
                    <a:pt x="105" y="257"/>
                  </a:cubicBezTo>
                  <a:cubicBezTo>
                    <a:pt x="105" y="278"/>
                    <a:pt x="105" y="278"/>
                    <a:pt x="105" y="278"/>
                  </a:cubicBezTo>
                  <a:cubicBezTo>
                    <a:pt x="95" y="284"/>
                    <a:pt x="95" y="284"/>
                    <a:pt x="95" y="284"/>
                  </a:cubicBezTo>
                  <a:cubicBezTo>
                    <a:pt x="97" y="288"/>
                    <a:pt x="100" y="292"/>
                    <a:pt x="102" y="296"/>
                  </a:cubicBezTo>
                  <a:cubicBezTo>
                    <a:pt x="105" y="294"/>
                    <a:pt x="105" y="294"/>
                    <a:pt x="105" y="294"/>
                  </a:cubicBezTo>
                  <a:cubicBezTo>
                    <a:pt x="105" y="318"/>
                    <a:pt x="105" y="318"/>
                    <a:pt x="105" y="318"/>
                  </a:cubicBezTo>
                  <a:close/>
                  <a:moveTo>
                    <a:pt x="91" y="115"/>
                  </a:moveTo>
                  <a:cubicBezTo>
                    <a:pt x="105" y="106"/>
                    <a:pt x="105" y="106"/>
                    <a:pt x="105" y="106"/>
                  </a:cubicBezTo>
                  <a:cubicBezTo>
                    <a:pt x="105" y="136"/>
                    <a:pt x="105" y="136"/>
                    <a:pt x="105" y="136"/>
                  </a:cubicBezTo>
                  <a:cubicBezTo>
                    <a:pt x="102" y="131"/>
                    <a:pt x="102" y="131"/>
                    <a:pt x="102" y="131"/>
                  </a:cubicBezTo>
                  <a:cubicBezTo>
                    <a:pt x="91" y="138"/>
                    <a:pt x="91" y="138"/>
                    <a:pt x="91" y="138"/>
                  </a:cubicBezTo>
                  <a:cubicBezTo>
                    <a:pt x="91" y="115"/>
                    <a:pt x="91" y="115"/>
                    <a:pt x="91" y="115"/>
                  </a:cubicBezTo>
                  <a:close/>
                  <a:moveTo>
                    <a:pt x="105" y="146"/>
                  </a:moveTo>
                  <a:cubicBezTo>
                    <a:pt x="105" y="203"/>
                    <a:pt x="105" y="203"/>
                    <a:pt x="105" y="203"/>
                  </a:cubicBezTo>
                  <a:cubicBezTo>
                    <a:pt x="105" y="204"/>
                    <a:pt x="105" y="204"/>
                    <a:pt x="105" y="204"/>
                  </a:cubicBezTo>
                  <a:cubicBezTo>
                    <a:pt x="105" y="204"/>
                    <a:pt x="105" y="204"/>
                    <a:pt x="105" y="204"/>
                  </a:cubicBezTo>
                  <a:cubicBezTo>
                    <a:pt x="105" y="241"/>
                    <a:pt x="105" y="241"/>
                    <a:pt x="105" y="241"/>
                  </a:cubicBezTo>
                  <a:cubicBezTo>
                    <a:pt x="91" y="249"/>
                    <a:pt x="91" y="249"/>
                    <a:pt x="91" y="249"/>
                  </a:cubicBezTo>
                  <a:cubicBezTo>
                    <a:pt x="91" y="229"/>
                    <a:pt x="91" y="229"/>
                    <a:pt x="91" y="229"/>
                  </a:cubicBezTo>
                  <a:cubicBezTo>
                    <a:pt x="99" y="224"/>
                    <a:pt x="99" y="224"/>
                    <a:pt x="99" y="224"/>
                  </a:cubicBezTo>
                  <a:cubicBezTo>
                    <a:pt x="97" y="220"/>
                    <a:pt x="94" y="215"/>
                    <a:pt x="92" y="211"/>
                  </a:cubicBezTo>
                  <a:cubicBezTo>
                    <a:pt x="91" y="212"/>
                    <a:pt x="91" y="212"/>
                    <a:pt x="91" y="212"/>
                  </a:cubicBezTo>
                  <a:cubicBezTo>
                    <a:pt x="91" y="155"/>
                    <a:pt x="91" y="155"/>
                    <a:pt x="91" y="155"/>
                  </a:cubicBezTo>
                  <a:lnTo>
                    <a:pt x="105" y="146"/>
                  </a:lnTo>
                  <a:close/>
                  <a:moveTo>
                    <a:pt x="91" y="320"/>
                  </a:moveTo>
                  <a:cubicBezTo>
                    <a:pt x="48" y="249"/>
                    <a:pt x="48" y="249"/>
                    <a:pt x="48" y="249"/>
                  </a:cubicBezTo>
                  <a:cubicBezTo>
                    <a:pt x="48" y="181"/>
                    <a:pt x="48" y="181"/>
                    <a:pt x="48" y="181"/>
                  </a:cubicBezTo>
                  <a:cubicBezTo>
                    <a:pt x="66" y="169"/>
                    <a:pt x="66" y="169"/>
                    <a:pt x="66" y="169"/>
                  </a:cubicBezTo>
                  <a:cubicBezTo>
                    <a:pt x="64" y="165"/>
                    <a:pt x="61" y="161"/>
                    <a:pt x="59" y="157"/>
                  </a:cubicBezTo>
                  <a:cubicBezTo>
                    <a:pt x="48" y="164"/>
                    <a:pt x="48" y="164"/>
                    <a:pt x="48" y="164"/>
                  </a:cubicBezTo>
                  <a:cubicBezTo>
                    <a:pt x="48" y="141"/>
                    <a:pt x="48" y="141"/>
                    <a:pt x="48" y="141"/>
                  </a:cubicBezTo>
                  <a:cubicBezTo>
                    <a:pt x="91" y="115"/>
                    <a:pt x="91" y="115"/>
                    <a:pt x="91" y="115"/>
                  </a:cubicBezTo>
                  <a:cubicBezTo>
                    <a:pt x="91" y="138"/>
                    <a:pt x="91" y="138"/>
                    <a:pt x="91" y="138"/>
                  </a:cubicBezTo>
                  <a:cubicBezTo>
                    <a:pt x="72" y="149"/>
                    <a:pt x="72" y="149"/>
                    <a:pt x="72" y="149"/>
                  </a:cubicBezTo>
                  <a:cubicBezTo>
                    <a:pt x="75" y="153"/>
                    <a:pt x="77" y="157"/>
                    <a:pt x="80" y="161"/>
                  </a:cubicBezTo>
                  <a:cubicBezTo>
                    <a:pt x="91" y="155"/>
                    <a:pt x="91" y="155"/>
                    <a:pt x="91" y="155"/>
                  </a:cubicBezTo>
                  <a:cubicBezTo>
                    <a:pt x="91" y="212"/>
                    <a:pt x="91" y="212"/>
                    <a:pt x="91" y="212"/>
                  </a:cubicBezTo>
                  <a:cubicBezTo>
                    <a:pt x="62" y="230"/>
                    <a:pt x="62" y="230"/>
                    <a:pt x="62" y="230"/>
                  </a:cubicBezTo>
                  <a:cubicBezTo>
                    <a:pt x="64" y="234"/>
                    <a:pt x="67" y="238"/>
                    <a:pt x="69" y="242"/>
                  </a:cubicBezTo>
                  <a:cubicBezTo>
                    <a:pt x="91" y="229"/>
                    <a:pt x="91" y="229"/>
                    <a:pt x="91" y="229"/>
                  </a:cubicBezTo>
                  <a:cubicBezTo>
                    <a:pt x="91" y="249"/>
                    <a:pt x="91" y="249"/>
                    <a:pt x="91" y="249"/>
                  </a:cubicBezTo>
                  <a:cubicBezTo>
                    <a:pt x="78" y="257"/>
                    <a:pt x="78" y="257"/>
                    <a:pt x="78" y="257"/>
                  </a:cubicBezTo>
                  <a:cubicBezTo>
                    <a:pt x="81" y="261"/>
                    <a:pt x="83" y="265"/>
                    <a:pt x="86" y="269"/>
                  </a:cubicBezTo>
                  <a:cubicBezTo>
                    <a:pt x="91" y="266"/>
                    <a:pt x="91" y="266"/>
                    <a:pt x="91" y="266"/>
                  </a:cubicBezTo>
                  <a:lnTo>
                    <a:pt x="91" y="320"/>
                  </a:lnTo>
                  <a:close/>
                  <a:moveTo>
                    <a:pt x="48" y="249"/>
                  </a:moveTo>
                  <a:cubicBezTo>
                    <a:pt x="0" y="169"/>
                    <a:pt x="0" y="169"/>
                    <a:pt x="0" y="169"/>
                  </a:cubicBezTo>
                  <a:cubicBezTo>
                    <a:pt x="48" y="141"/>
                    <a:pt x="48" y="141"/>
                    <a:pt x="48" y="141"/>
                  </a:cubicBezTo>
                  <a:cubicBezTo>
                    <a:pt x="48" y="164"/>
                    <a:pt x="48" y="164"/>
                    <a:pt x="48" y="164"/>
                  </a:cubicBezTo>
                  <a:cubicBezTo>
                    <a:pt x="29" y="175"/>
                    <a:pt x="29" y="175"/>
                    <a:pt x="29" y="175"/>
                  </a:cubicBezTo>
                  <a:cubicBezTo>
                    <a:pt x="31" y="179"/>
                    <a:pt x="34" y="183"/>
                    <a:pt x="36" y="187"/>
                  </a:cubicBezTo>
                  <a:cubicBezTo>
                    <a:pt x="48" y="181"/>
                    <a:pt x="48" y="181"/>
                    <a:pt x="48" y="181"/>
                  </a:cubicBezTo>
                  <a:lnTo>
                    <a:pt x="48" y="249"/>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6" name="i$1îḍê">
              <a:extLst>
                <a:ext uri="{FF2B5EF4-FFF2-40B4-BE49-F238E27FC236}">
                  <a16:creationId xmlns:a16="http://schemas.microsoft.com/office/drawing/2014/main" id="{F952D3B4-C35F-40E5-97CF-9B6D09E072E5}"/>
                </a:ext>
              </a:extLst>
            </p:cNvPr>
            <p:cNvSpPr/>
            <p:nvPr/>
          </p:nvSpPr>
          <p:spPr bwMode="auto">
            <a:xfrm flipH="1">
              <a:off x="4153465" y="2419713"/>
              <a:ext cx="508755" cy="530990"/>
            </a:xfrm>
            <a:custGeom>
              <a:avLst/>
              <a:gdLst>
                <a:gd name="T0" fmla="*/ 263 w 304"/>
                <a:gd name="T1" fmla="*/ 163 h 325"/>
                <a:gd name="T2" fmla="*/ 250 w 304"/>
                <a:gd name="T3" fmla="*/ 236 h 325"/>
                <a:gd name="T4" fmla="*/ 239 w 304"/>
                <a:gd name="T5" fmla="*/ 129 h 325"/>
                <a:gd name="T6" fmla="*/ 250 w 304"/>
                <a:gd name="T7" fmla="*/ 204 h 325"/>
                <a:gd name="T8" fmla="*/ 237 w 304"/>
                <a:gd name="T9" fmla="*/ 160 h 325"/>
                <a:gd name="T10" fmla="*/ 239 w 304"/>
                <a:gd name="T11" fmla="*/ 266 h 325"/>
                <a:gd name="T12" fmla="*/ 224 w 304"/>
                <a:gd name="T13" fmla="*/ 142 h 325"/>
                <a:gd name="T14" fmla="*/ 223 w 304"/>
                <a:gd name="T15" fmla="*/ 220 h 325"/>
                <a:gd name="T16" fmla="*/ 213 w 304"/>
                <a:gd name="T17" fmla="*/ 126 h 325"/>
                <a:gd name="T18" fmla="*/ 215 w 304"/>
                <a:gd name="T19" fmla="*/ 261 h 325"/>
                <a:gd name="T20" fmla="*/ 215 w 304"/>
                <a:gd name="T21" fmla="*/ 154 h 325"/>
                <a:gd name="T22" fmla="*/ 198 w 304"/>
                <a:gd name="T23" fmla="*/ 270 h 325"/>
                <a:gd name="T24" fmla="*/ 198 w 304"/>
                <a:gd name="T25" fmla="*/ 121 h 325"/>
                <a:gd name="T26" fmla="*/ 191 w 304"/>
                <a:gd name="T27" fmla="*/ 61 h 325"/>
                <a:gd name="T28" fmla="*/ 198 w 304"/>
                <a:gd name="T29" fmla="*/ 121 h 325"/>
                <a:gd name="T30" fmla="*/ 192 w 304"/>
                <a:gd name="T31" fmla="*/ 176 h 325"/>
                <a:gd name="T32" fmla="*/ 178 w 304"/>
                <a:gd name="T33" fmla="*/ 42 h 325"/>
                <a:gd name="T34" fmla="*/ 178 w 304"/>
                <a:gd name="T35" fmla="*/ 309 h 325"/>
                <a:gd name="T36" fmla="*/ 180 w 304"/>
                <a:gd name="T37" fmla="*/ 134 h 325"/>
                <a:gd name="T38" fmla="*/ 191 w 304"/>
                <a:gd name="T39" fmla="*/ 227 h 325"/>
                <a:gd name="T40" fmla="*/ 176 w 304"/>
                <a:gd name="T41" fmla="*/ 73 h 325"/>
                <a:gd name="T42" fmla="*/ 178 w 304"/>
                <a:gd name="T43" fmla="*/ 102 h 325"/>
                <a:gd name="T44" fmla="*/ 178 w 304"/>
                <a:gd name="T45" fmla="*/ 157 h 325"/>
                <a:gd name="T46" fmla="*/ 176 w 304"/>
                <a:gd name="T47" fmla="*/ 253 h 325"/>
                <a:gd name="T48" fmla="*/ 167 w 304"/>
                <a:gd name="T49" fmla="*/ 193 h 325"/>
                <a:gd name="T50" fmla="*/ 176 w 304"/>
                <a:gd name="T51" fmla="*/ 129 h 325"/>
                <a:gd name="T52" fmla="*/ 167 w 304"/>
                <a:gd name="T53" fmla="*/ 172 h 325"/>
                <a:gd name="T54" fmla="*/ 158 w 304"/>
                <a:gd name="T55" fmla="*/ 47 h 325"/>
                <a:gd name="T56" fmla="*/ 167 w 304"/>
                <a:gd name="T57" fmla="*/ 86 h 325"/>
                <a:gd name="T58" fmla="*/ 154 w 304"/>
                <a:gd name="T59" fmla="*/ 68 h 325"/>
                <a:gd name="T60" fmla="*/ 151 w 304"/>
                <a:gd name="T61" fmla="*/ 204 h 325"/>
                <a:gd name="T62" fmla="*/ 150 w 304"/>
                <a:gd name="T63" fmla="*/ 92 h 325"/>
                <a:gd name="T64" fmla="*/ 154 w 304"/>
                <a:gd name="T65" fmla="*/ 100 h 325"/>
                <a:gd name="T66" fmla="*/ 149 w 304"/>
                <a:gd name="T67" fmla="*/ 257 h 325"/>
                <a:gd name="T68" fmla="*/ 150 w 304"/>
                <a:gd name="T69" fmla="*/ 53 h 325"/>
                <a:gd name="T70" fmla="*/ 150 w 304"/>
                <a:gd name="T71" fmla="*/ 172 h 325"/>
                <a:gd name="T72" fmla="*/ 144 w 304"/>
                <a:gd name="T73" fmla="*/ 52 h 325"/>
                <a:gd name="T74" fmla="*/ 144 w 304"/>
                <a:gd name="T75" fmla="*/ 308 h 325"/>
                <a:gd name="T76" fmla="*/ 144 w 304"/>
                <a:gd name="T77" fmla="*/ 159 h 325"/>
                <a:gd name="T78" fmla="*/ 128 w 304"/>
                <a:gd name="T79" fmla="*/ 236 h 325"/>
                <a:gd name="T80" fmla="*/ 124 w 304"/>
                <a:gd name="T81" fmla="*/ 110 h 325"/>
                <a:gd name="T82" fmla="*/ 128 w 304"/>
                <a:gd name="T83" fmla="*/ 141 h 325"/>
                <a:gd name="T84" fmla="*/ 124 w 304"/>
                <a:gd name="T85" fmla="*/ 221 h 325"/>
                <a:gd name="T86" fmla="*/ 115 w 304"/>
                <a:gd name="T87" fmla="*/ 229 h 325"/>
                <a:gd name="T88" fmla="*/ 124 w 304"/>
                <a:gd name="T89" fmla="*/ 221 h 325"/>
                <a:gd name="T90" fmla="*/ 102 w 304"/>
                <a:gd name="T91" fmla="*/ 86 h 325"/>
                <a:gd name="T92" fmla="*/ 115 w 304"/>
                <a:gd name="T93" fmla="*/ 123 h 325"/>
                <a:gd name="T94" fmla="*/ 102 w 304"/>
                <a:gd name="T95" fmla="*/ 32 h 325"/>
                <a:gd name="T96" fmla="*/ 92 w 304"/>
                <a:gd name="T97" fmla="*/ 144 h 325"/>
                <a:gd name="T98" fmla="*/ 102 w 304"/>
                <a:gd name="T99" fmla="*/ 134 h 325"/>
                <a:gd name="T100" fmla="*/ 78 w 304"/>
                <a:gd name="T101" fmla="*/ 49 h 325"/>
                <a:gd name="T102" fmla="*/ 78 w 304"/>
                <a:gd name="T103" fmla="*/ 118 h 325"/>
                <a:gd name="T104" fmla="*/ 78 w 304"/>
                <a:gd name="T105" fmla="*/ 126 h 325"/>
                <a:gd name="T106" fmla="*/ 78 w 304"/>
                <a:gd name="T107" fmla="*/ 215 h 325"/>
                <a:gd name="T108" fmla="*/ 73 w 304"/>
                <a:gd name="T109" fmla="*/ 173 h 325"/>
                <a:gd name="T110" fmla="*/ 52 w 304"/>
                <a:gd name="T111" fmla="*/ 178 h 325"/>
                <a:gd name="T112" fmla="*/ 51 w 304"/>
                <a:gd name="T113" fmla="*/ 87 h 325"/>
                <a:gd name="T114" fmla="*/ 52 w 304"/>
                <a:gd name="T115" fmla="*/ 178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4" h="325">
                  <a:moveTo>
                    <a:pt x="263" y="163"/>
                  </a:moveTo>
                  <a:cubicBezTo>
                    <a:pt x="304" y="221"/>
                    <a:pt x="304" y="221"/>
                    <a:pt x="304" y="221"/>
                  </a:cubicBezTo>
                  <a:cubicBezTo>
                    <a:pt x="263" y="250"/>
                    <a:pt x="263" y="250"/>
                    <a:pt x="263" y="250"/>
                  </a:cubicBezTo>
                  <a:cubicBezTo>
                    <a:pt x="263" y="222"/>
                    <a:pt x="263" y="222"/>
                    <a:pt x="263" y="222"/>
                  </a:cubicBezTo>
                  <a:cubicBezTo>
                    <a:pt x="265" y="226"/>
                    <a:pt x="265" y="226"/>
                    <a:pt x="265" y="226"/>
                  </a:cubicBezTo>
                  <a:cubicBezTo>
                    <a:pt x="269" y="223"/>
                    <a:pt x="273" y="220"/>
                    <a:pt x="277" y="217"/>
                  </a:cubicBezTo>
                  <a:cubicBezTo>
                    <a:pt x="263" y="197"/>
                    <a:pt x="263" y="197"/>
                    <a:pt x="263" y="197"/>
                  </a:cubicBezTo>
                  <a:lnTo>
                    <a:pt x="263" y="163"/>
                  </a:lnTo>
                  <a:close/>
                  <a:moveTo>
                    <a:pt x="250" y="144"/>
                  </a:moveTo>
                  <a:cubicBezTo>
                    <a:pt x="263" y="163"/>
                    <a:pt x="263" y="163"/>
                    <a:pt x="263" y="163"/>
                  </a:cubicBezTo>
                  <a:cubicBezTo>
                    <a:pt x="263" y="197"/>
                    <a:pt x="263" y="197"/>
                    <a:pt x="263" y="197"/>
                  </a:cubicBezTo>
                  <a:cubicBezTo>
                    <a:pt x="261" y="194"/>
                    <a:pt x="261" y="194"/>
                    <a:pt x="261" y="194"/>
                  </a:cubicBezTo>
                  <a:cubicBezTo>
                    <a:pt x="250" y="201"/>
                    <a:pt x="250" y="201"/>
                    <a:pt x="250" y="201"/>
                  </a:cubicBezTo>
                  <a:cubicBezTo>
                    <a:pt x="250" y="186"/>
                    <a:pt x="250" y="186"/>
                    <a:pt x="250" y="186"/>
                  </a:cubicBezTo>
                  <a:cubicBezTo>
                    <a:pt x="253" y="183"/>
                    <a:pt x="253" y="183"/>
                    <a:pt x="253" y="183"/>
                  </a:cubicBezTo>
                  <a:cubicBezTo>
                    <a:pt x="250" y="179"/>
                    <a:pt x="250" y="179"/>
                    <a:pt x="250" y="179"/>
                  </a:cubicBezTo>
                  <a:cubicBezTo>
                    <a:pt x="250" y="144"/>
                    <a:pt x="250" y="144"/>
                    <a:pt x="250" y="144"/>
                  </a:cubicBezTo>
                  <a:close/>
                  <a:moveTo>
                    <a:pt x="263" y="250"/>
                  </a:moveTo>
                  <a:cubicBezTo>
                    <a:pt x="250" y="259"/>
                    <a:pt x="250" y="259"/>
                    <a:pt x="250" y="259"/>
                  </a:cubicBezTo>
                  <a:cubicBezTo>
                    <a:pt x="250" y="236"/>
                    <a:pt x="250" y="236"/>
                    <a:pt x="250" y="236"/>
                  </a:cubicBezTo>
                  <a:cubicBezTo>
                    <a:pt x="251" y="236"/>
                    <a:pt x="251" y="236"/>
                    <a:pt x="251" y="236"/>
                  </a:cubicBezTo>
                  <a:cubicBezTo>
                    <a:pt x="250" y="234"/>
                    <a:pt x="250" y="234"/>
                    <a:pt x="250" y="234"/>
                  </a:cubicBezTo>
                  <a:cubicBezTo>
                    <a:pt x="250" y="204"/>
                    <a:pt x="250" y="204"/>
                    <a:pt x="250" y="204"/>
                  </a:cubicBezTo>
                  <a:cubicBezTo>
                    <a:pt x="263" y="222"/>
                    <a:pt x="263" y="222"/>
                    <a:pt x="263" y="222"/>
                  </a:cubicBezTo>
                  <a:lnTo>
                    <a:pt x="263" y="250"/>
                  </a:lnTo>
                  <a:close/>
                  <a:moveTo>
                    <a:pt x="239" y="129"/>
                  </a:moveTo>
                  <a:cubicBezTo>
                    <a:pt x="250" y="144"/>
                    <a:pt x="250" y="144"/>
                    <a:pt x="250" y="144"/>
                  </a:cubicBezTo>
                  <a:cubicBezTo>
                    <a:pt x="250" y="179"/>
                    <a:pt x="250" y="179"/>
                    <a:pt x="250" y="179"/>
                  </a:cubicBezTo>
                  <a:cubicBezTo>
                    <a:pt x="239" y="163"/>
                    <a:pt x="239" y="163"/>
                    <a:pt x="239" y="163"/>
                  </a:cubicBezTo>
                  <a:cubicBezTo>
                    <a:pt x="239" y="129"/>
                    <a:pt x="239" y="129"/>
                    <a:pt x="239" y="129"/>
                  </a:cubicBezTo>
                  <a:close/>
                  <a:moveTo>
                    <a:pt x="250" y="259"/>
                  </a:moveTo>
                  <a:cubicBezTo>
                    <a:pt x="239" y="266"/>
                    <a:pt x="239" y="266"/>
                    <a:pt x="239" y="266"/>
                  </a:cubicBezTo>
                  <a:cubicBezTo>
                    <a:pt x="239" y="243"/>
                    <a:pt x="239" y="243"/>
                    <a:pt x="239" y="243"/>
                  </a:cubicBezTo>
                  <a:cubicBezTo>
                    <a:pt x="240" y="244"/>
                    <a:pt x="240" y="244"/>
                    <a:pt x="240" y="244"/>
                  </a:cubicBezTo>
                  <a:cubicBezTo>
                    <a:pt x="250" y="236"/>
                    <a:pt x="250" y="236"/>
                    <a:pt x="250" y="236"/>
                  </a:cubicBezTo>
                  <a:cubicBezTo>
                    <a:pt x="250" y="259"/>
                    <a:pt x="250" y="259"/>
                    <a:pt x="250" y="259"/>
                  </a:cubicBezTo>
                  <a:close/>
                  <a:moveTo>
                    <a:pt x="250" y="186"/>
                  </a:moveTo>
                  <a:cubicBezTo>
                    <a:pt x="250" y="201"/>
                    <a:pt x="250" y="201"/>
                    <a:pt x="250" y="201"/>
                  </a:cubicBezTo>
                  <a:cubicBezTo>
                    <a:pt x="249" y="202"/>
                    <a:pt x="249" y="202"/>
                    <a:pt x="249" y="202"/>
                  </a:cubicBezTo>
                  <a:cubicBezTo>
                    <a:pt x="250" y="204"/>
                    <a:pt x="250" y="204"/>
                    <a:pt x="250" y="204"/>
                  </a:cubicBezTo>
                  <a:cubicBezTo>
                    <a:pt x="250" y="234"/>
                    <a:pt x="250" y="234"/>
                    <a:pt x="250" y="234"/>
                  </a:cubicBezTo>
                  <a:cubicBezTo>
                    <a:pt x="239" y="218"/>
                    <a:pt x="239" y="218"/>
                    <a:pt x="239" y="218"/>
                  </a:cubicBezTo>
                  <a:cubicBezTo>
                    <a:pt x="239" y="188"/>
                    <a:pt x="239" y="188"/>
                    <a:pt x="239" y="188"/>
                  </a:cubicBezTo>
                  <a:cubicBezTo>
                    <a:pt x="242" y="192"/>
                    <a:pt x="242" y="192"/>
                    <a:pt x="242" y="192"/>
                  </a:cubicBezTo>
                  <a:lnTo>
                    <a:pt x="250" y="186"/>
                  </a:lnTo>
                  <a:close/>
                  <a:moveTo>
                    <a:pt x="224" y="107"/>
                  </a:moveTo>
                  <a:cubicBezTo>
                    <a:pt x="226" y="110"/>
                    <a:pt x="226" y="110"/>
                    <a:pt x="226" y="110"/>
                  </a:cubicBezTo>
                  <a:cubicBezTo>
                    <a:pt x="239" y="129"/>
                    <a:pt x="239" y="129"/>
                    <a:pt x="239" y="129"/>
                  </a:cubicBezTo>
                  <a:cubicBezTo>
                    <a:pt x="239" y="163"/>
                    <a:pt x="239" y="163"/>
                    <a:pt x="239" y="163"/>
                  </a:cubicBezTo>
                  <a:cubicBezTo>
                    <a:pt x="237" y="160"/>
                    <a:pt x="237" y="160"/>
                    <a:pt x="237" y="160"/>
                  </a:cubicBezTo>
                  <a:cubicBezTo>
                    <a:pt x="233" y="162"/>
                    <a:pt x="229" y="165"/>
                    <a:pt x="225" y="168"/>
                  </a:cubicBezTo>
                  <a:cubicBezTo>
                    <a:pt x="239" y="188"/>
                    <a:pt x="239" y="188"/>
                    <a:pt x="239" y="188"/>
                  </a:cubicBezTo>
                  <a:cubicBezTo>
                    <a:pt x="239" y="218"/>
                    <a:pt x="239" y="218"/>
                    <a:pt x="239" y="218"/>
                  </a:cubicBezTo>
                  <a:cubicBezTo>
                    <a:pt x="235" y="212"/>
                    <a:pt x="235" y="212"/>
                    <a:pt x="235" y="212"/>
                  </a:cubicBezTo>
                  <a:cubicBezTo>
                    <a:pt x="224" y="219"/>
                    <a:pt x="224" y="219"/>
                    <a:pt x="224" y="219"/>
                  </a:cubicBezTo>
                  <a:cubicBezTo>
                    <a:pt x="224" y="153"/>
                    <a:pt x="224" y="153"/>
                    <a:pt x="224" y="153"/>
                  </a:cubicBezTo>
                  <a:cubicBezTo>
                    <a:pt x="229" y="149"/>
                    <a:pt x="229" y="149"/>
                    <a:pt x="229" y="149"/>
                  </a:cubicBezTo>
                  <a:cubicBezTo>
                    <a:pt x="224" y="142"/>
                    <a:pt x="224" y="142"/>
                    <a:pt x="224" y="142"/>
                  </a:cubicBezTo>
                  <a:cubicBezTo>
                    <a:pt x="224" y="107"/>
                    <a:pt x="224" y="107"/>
                    <a:pt x="224" y="107"/>
                  </a:cubicBezTo>
                  <a:close/>
                  <a:moveTo>
                    <a:pt x="239" y="266"/>
                  </a:moveTo>
                  <a:cubicBezTo>
                    <a:pt x="224" y="277"/>
                    <a:pt x="224" y="277"/>
                    <a:pt x="224" y="277"/>
                  </a:cubicBezTo>
                  <a:cubicBezTo>
                    <a:pt x="224" y="255"/>
                    <a:pt x="224" y="255"/>
                    <a:pt x="224" y="255"/>
                  </a:cubicBezTo>
                  <a:cubicBezTo>
                    <a:pt x="225" y="254"/>
                    <a:pt x="225" y="254"/>
                    <a:pt x="225" y="254"/>
                  </a:cubicBezTo>
                  <a:cubicBezTo>
                    <a:pt x="224" y="252"/>
                    <a:pt x="224" y="252"/>
                    <a:pt x="224" y="252"/>
                  </a:cubicBezTo>
                  <a:cubicBezTo>
                    <a:pt x="224" y="222"/>
                    <a:pt x="224" y="222"/>
                    <a:pt x="224" y="222"/>
                  </a:cubicBezTo>
                  <a:cubicBezTo>
                    <a:pt x="239" y="243"/>
                    <a:pt x="239" y="243"/>
                    <a:pt x="239" y="243"/>
                  </a:cubicBezTo>
                  <a:lnTo>
                    <a:pt x="239" y="266"/>
                  </a:lnTo>
                  <a:close/>
                  <a:moveTo>
                    <a:pt x="215" y="95"/>
                  </a:moveTo>
                  <a:cubicBezTo>
                    <a:pt x="224" y="107"/>
                    <a:pt x="224" y="107"/>
                    <a:pt x="224" y="107"/>
                  </a:cubicBezTo>
                  <a:cubicBezTo>
                    <a:pt x="224" y="142"/>
                    <a:pt x="224" y="142"/>
                    <a:pt x="224" y="142"/>
                  </a:cubicBezTo>
                  <a:cubicBezTo>
                    <a:pt x="215" y="129"/>
                    <a:pt x="215" y="129"/>
                    <a:pt x="215" y="129"/>
                  </a:cubicBezTo>
                  <a:cubicBezTo>
                    <a:pt x="215" y="95"/>
                    <a:pt x="215" y="95"/>
                    <a:pt x="215" y="95"/>
                  </a:cubicBezTo>
                  <a:close/>
                  <a:moveTo>
                    <a:pt x="224" y="277"/>
                  </a:moveTo>
                  <a:cubicBezTo>
                    <a:pt x="215" y="283"/>
                    <a:pt x="215" y="283"/>
                    <a:pt x="215" y="283"/>
                  </a:cubicBezTo>
                  <a:cubicBezTo>
                    <a:pt x="215" y="261"/>
                    <a:pt x="215" y="261"/>
                    <a:pt x="215" y="261"/>
                  </a:cubicBezTo>
                  <a:cubicBezTo>
                    <a:pt x="224" y="255"/>
                    <a:pt x="224" y="255"/>
                    <a:pt x="224" y="255"/>
                  </a:cubicBezTo>
                  <a:cubicBezTo>
                    <a:pt x="224" y="277"/>
                    <a:pt x="224" y="277"/>
                    <a:pt x="224" y="277"/>
                  </a:cubicBezTo>
                  <a:close/>
                  <a:moveTo>
                    <a:pt x="224" y="153"/>
                  </a:moveTo>
                  <a:cubicBezTo>
                    <a:pt x="224" y="219"/>
                    <a:pt x="224" y="219"/>
                    <a:pt x="224" y="219"/>
                  </a:cubicBezTo>
                  <a:cubicBezTo>
                    <a:pt x="223" y="220"/>
                    <a:pt x="223" y="220"/>
                    <a:pt x="223" y="220"/>
                  </a:cubicBezTo>
                  <a:cubicBezTo>
                    <a:pt x="224" y="222"/>
                    <a:pt x="224" y="222"/>
                    <a:pt x="224" y="222"/>
                  </a:cubicBezTo>
                  <a:cubicBezTo>
                    <a:pt x="224" y="252"/>
                    <a:pt x="224" y="252"/>
                    <a:pt x="224" y="252"/>
                  </a:cubicBezTo>
                  <a:cubicBezTo>
                    <a:pt x="215" y="240"/>
                    <a:pt x="215" y="240"/>
                    <a:pt x="215" y="240"/>
                  </a:cubicBezTo>
                  <a:cubicBezTo>
                    <a:pt x="215" y="154"/>
                    <a:pt x="215" y="154"/>
                    <a:pt x="215" y="154"/>
                  </a:cubicBezTo>
                  <a:cubicBezTo>
                    <a:pt x="218" y="158"/>
                    <a:pt x="218" y="158"/>
                    <a:pt x="218" y="158"/>
                  </a:cubicBezTo>
                  <a:lnTo>
                    <a:pt x="224" y="153"/>
                  </a:lnTo>
                  <a:close/>
                  <a:moveTo>
                    <a:pt x="202" y="76"/>
                  </a:moveTo>
                  <a:cubicBezTo>
                    <a:pt x="215" y="95"/>
                    <a:pt x="215" y="95"/>
                    <a:pt x="215" y="95"/>
                  </a:cubicBezTo>
                  <a:cubicBezTo>
                    <a:pt x="215" y="129"/>
                    <a:pt x="215" y="129"/>
                    <a:pt x="215" y="129"/>
                  </a:cubicBezTo>
                  <a:cubicBezTo>
                    <a:pt x="213" y="126"/>
                    <a:pt x="213" y="126"/>
                    <a:pt x="213" y="126"/>
                  </a:cubicBezTo>
                  <a:cubicBezTo>
                    <a:pt x="202" y="133"/>
                    <a:pt x="202" y="133"/>
                    <a:pt x="202" y="133"/>
                  </a:cubicBezTo>
                  <a:cubicBezTo>
                    <a:pt x="202" y="118"/>
                    <a:pt x="202" y="118"/>
                    <a:pt x="202" y="118"/>
                  </a:cubicBezTo>
                  <a:cubicBezTo>
                    <a:pt x="206" y="115"/>
                    <a:pt x="206" y="115"/>
                    <a:pt x="206" y="115"/>
                  </a:cubicBezTo>
                  <a:cubicBezTo>
                    <a:pt x="202" y="111"/>
                    <a:pt x="202" y="111"/>
                    <a:pt x="202" y="111"/>
                  </a:cubicBezTo>
                  <a:cubicBezTo>
                    <a:pt x="202" y="76"/>
                    <a:pt x="202" y="76"/>
                    <a:pt x="202" y="76"/>
                  </a:cubicBezTo>
                  <a:close/>
                  <a:moveTo>
                    <a:pt x="215" y="283"/>
                  </a:moveTo>
                  <a:cubicBezTo>
                    <a:pt x="202" y="292"/>
                    <a:pt x="202" y="292"/>
                    <a:pt x="202" y="292"/>
                  </a:cubicBezTo>
                  <a:cubicBezTo>
                    <a:pt x="202" y="246"/>
                    <a:pt x="202" y="246"/>
                    <a:pt x="202" y="246"/>
                  </a:cubicBezTo>
                  <a:cubicBezTo>
                    <a:pt x="213" y="262"/>
                    <a:pt x="213" y="262"/>
                    <a:pt x="213" y="262"/>
                  </a:cubicBezTo>
                  <a:cubicBezTo>
                    <a:pt x="215" y="261"/>
                    <a:pt x="215" y="261"/>
                    <a:pt x="215" y="261"/>
                  </a:cubicBezTo>
                  <a:cubicBezTo>
                    <a:pt x="215" y="283"/>
                    <a:pt x="215" y="283"/>
                    <a:pt x="215" y="283"/>
                  </a:cubicBezTo>
                  <a:close/>
                  <a:moveTo>
                    <a:pt x="215" y="154"/>
                  </a:moveTo>
                  <a:cubicBezTo>
                    <a:pt x="215" y="240"/>
                    <a:pt x="215" y="240"/>
                    <a:pt x="215" y="240"/>
                  </a:cubicBezTo>
                  <a:cubicBezTo>
                    <a:pt x="209" y="230"/>
                    <a:pt x="209" y="230"/>
                    <a:pt x="209" y="230"/>
                  </a:cubicBezTo>
                  <a:cubicBezTo>
                    <a:pt x="202" y="235"/>
                    <a:pt x="202" y="235"/>
                    <a:pt x="202" y="235"/>
                  </a:cubicBezTo>
                  <a:cubicBezTo>
                    <a:pt x="202" y="168"/>
                    <a:pt x="202" y="168"/>
                    <a:pt x="202" y="168"/>
                  </a:cubicBezTo>
                  <a:cubicBezTo>
                    <a:pt x="203" y="168"/>
                    <a:pt x="203" y="168"/>
                    <a:pt x="203" y="168"/>
                  </a:cubicBezTo>
                  <a:cubicBezTo>
                    <a:pt x="202" y="166"/>
                    <a:pt x="202" y="166"/>
                    <a:pt x="202" y="166"/>
                  </a:cubicBezTo>
                  <a:cubicBezTo>
                    <a:pt x="202" y="136"/>
                    <a:pt x="202" y="136"/>
                    <a:pt x="202" y="136"/>
                  </a:cubicBezTo>
                  <a:lnTo>
                    <a:pt x="215" y="154"/>
                  </a:lnTo>
                  <a:close/>
                  <a:moveTo>
                    <a:pt x="198" y="70"/>
                  </a:moveTo>
                  <a:cubicBezTo>
                    <a:pt x="202" y="76"/>
                    <a:pt x="202" y="76"/>
                    <a:pt x="202" y="76"/>
                  </a:cubicBezTo>
                  <a:cubicBezTo>
                    <a:pt x="202" y="111"/>
                    <a:pt x="202" y="111"/>
                    <a:pt x="202" y="111"/>
                  </a:cubicBezTo>
                  <a:cubicBezTo>
                    <a:pt x="198" y="104"/>
                    <a:pt x="198" y="104"/>
                    <a:pt x="198" y="104"/>
                  </a:cubicBezTo>
                  <a:cubicBezTo>
                    <a:pt x="198" y="70"/>
                    <a:pt x="198" y="70"/>
                    <a:pt x="198" y="70"/>
                  </a:cubicBezTo>
                  <a:close/>
                  <a:moveTo>
                    <a:pt x="202" y="292"/>
                  </a:moveTo>
                  <a:cubicBezTo>
                    <a:pt x="198" y="295"/>
                    <a:pt x="198" y="295"/>
                    <a:pt x="198" y="295"/>
                  </a:cubicBezTo>
                  <a:cubicBezTo>
                    <a:pt x="198" y="273"/>
                    <a:pt x="198" y="273"/>
                    <a:pt x="198" y="273"/>
                  </a:cubicBezTo>
                  <a:cubicBezTo>
                    <a:pt x="199" y="272"/>
                    <a:pt x="199" y="272"/>
                    <a:pt x="199" y="272"/>
                  </a:cubicBezTo>
                  <a:cubicBezTo>
                    <a:pt x="198" y="270"/>
                    <a:pt x="198" y="270"/>
                    <a:pt x="198" y="270"/>
                  </a:cubicBezTo>
                  <a:cubicBezTo>
                    <a:pt x="198" y="240"/>
                    <a:pt x="198" y="240"/>
                    <a:pt x="198" y="240"/>
                  </a:cubicBezTo>
                  <a:cubicBezTo>
                    <a:pt x="202" y="246"/>
                    <a:pt x="202" y="246"/>
                    <a:pt x="202" y="246"/>
                  </a:cubicBezTo>
                  <a:cubicBezTo>
                    <a:pt x="202" y="292"/>
                    <a:pt x="202" y="292"/>
                    <a:pt x="202" y="292"/>
                  </a:cubicBezTo>
                  <a:close/>
                  <a:moveTo>
                    <a:pt x="202" y="118"/>
                  </a:moveTo>
                  <a:cubicBezTo>
                    <a:pt x="202" y="133"/>
                    <a:pt x="202" y="133"/>
                    <a:pt x="202" y="133"/>
                  </a:cubicBezTo>
                  <a:cubicBezTo>
                    <a:pt x="201" y="134"/>
                    <a:pt x="201" y="134"/>
                    <a:pt x="201" y="134"/>
                  </a:cubicBezTo>
                  <a:cubicBezTo>
                    <a:pt x="202" y="136"/>
                    <a:pt x="202" y="136"/>
                    <a:pt x="202" y="136"/>
                  </a:cubicBezTo>
                  <a:cubicBezTo>
                    <a:pt x="202" y="166"/>
                    <a:pt x="202" y="166"/>
                    <a:pt x="202" y="166"/>
                  </a:cubicBezTo>
                  <a:cubicBezTo>
                    <a:pt x="198" y="160"/>
                    <a:pt x="198" y="160"/>
                    <a:pt x="198" y="160"/>
                  </a:cubicBezTo>
                  <a:cubicBezTo>
                    <a:pt x="198" y="121"/>
                    <a:pt x="198" y="121"/>
                    <a:pt x="198" y="121"/>
                  </a:cubicBezTo>
                  <a:cubicBezTo>
                    <a:pt x="202" y="118"/>
                    <a:pt x="202" y="118"/>
                    <a:pt x="202" y="118"/>
                  </a:cubicBezTo>
                  <a:close/>
                  <a:moveTo>
                    <a:pt x="202" y="168"/>
                  </a:moveTo>
                  <a:cubicBezTo>
                    <a:pt x="202" y="235"/>
                    <a:pt x="202" y="235"/>
                    <a:pt x="202" y="235"/>
                  </a:cubicBezTo>
                  <a:cubicBezTo>
                    <a:pt x="198" y="238"/>
                    <a:pt x="198" y="238"/>
                    <a:pt x="198" y="238"/>
                  </a:cubicBezTo>
                  <a:cubicBezTo>
                    <a:pt x="198" y="222"/>
                    <a:pt x="198" y="222"/>
                    <a:pt x="198" y="222"/>
                  </a:cubicBezTo>
                  <a:cubicBezTo>
                    <a:pt x="201" y="220"/>
                    <a:pt x="201" y="220"/>
                    <a:pt x="201" y="220"/>
                  </a:cubicBezTo>
                  <a:cubicBezTo>
                    <a:pt x="198" y="215"/>
                    <a:pt x="198" y="215"/>
                    <a:pt x="198" y="215"/>
                  </a:cubicBezTo>
                  <a:cubicBezTo>
                    <a:pt x="198" y="171"/>
                    <a:pt x="198" y="171"/>
                    <a:pt x="198" y="171"/>
                  </a:cubicBezTo>
                  <a:lnTo>
                    <a:pt x="202" y="168"/>
                  </a:lnTo>
                  <a:close/>
                  <a:moveTo>
                    <a:pt x="191" y="61"/>
                  </a:moveTo>
                  <a:cubicBezTo>
                    <a:pt x="198" y="70"/>
                    <a:pt x="198" y="70"/>
                    <a:pt x="198" y="70"/>
                  </a:cubicBezTo>
                  <a:cubicBezTo>
                    <a:pt x="198" y="104"/>
                    <a:pt x="198" y="104"/>
                    <a:pt x="198" y="104"/>
                  </a:cubicBezTo>
                  <a:cubicBezTo>
                    <a:pt x="191" y="95"/>
                    <a:pt x="191" y="95"/>
                    <a:pt x="191" y="95"/>
                  </a:cubicBezTo>
                  <a:cubicBezTo>
                    <a:pt x="191" y="61"/>
                    <a:pt x="191" y="61"/>
                    <a:pt x="191" y="61"/>
                  </a:cubicBezTo>
                  <a:close/>
                  <a:moveTo>
                    <a:pt x="198" y="295"/>
                  </a:moveTo>
                  <a:cubicBezTo>
                    <a:pt x="191" y="300"/>
                    <a:pt x="191" y="300"/>
                    <a:pt x="191" y="300"/>
                  </a:cubicBezTo>
                  <a:cubicBezTo>
                    <a:pt x="191" y="278"/>
                    <a:pt x="191" y="278"/>
                    <a:pt x="191" y="278"/>
                  </a:cubicBezTo>
                  <a:cubicBezTo>
                    <a:pt x="198" y="273"/>
                    <a:pt x="198" y="273"/>
                    <a:pt x="198" y="273"/>
                  </a:cubicBezTo>
                  <a:cubicBezTo>
                    <a:pt x="198" y="295"/>
                    <a:pt x="198" y="295"/>
                    <a:pt x="198" y="295"/>
                  </a:cubicBezTo>
                  <a:close/>
                  <a:moveTo>
                    <a:pt x="198" y="121"/>
                  </a:moveTo>
                  <a:cubicBezTo>
                    <a:pt x="198" y="160"/>
                    <a:pt x="198" y="160"/>
                    <a:pt x="198" y="160"/>
                  </a:cubicBezTo>
                  <a:cubicBezTo>
                    <a:pt x="191" y="150"/>
                    <a:pt x="191" y="150"/>
                    <a:pt x="191" y="150"/>
                  </a:cubicBezTo>
                  <a:cubicBezTo>
                    <a:pt x="191" y="120"/>
                    <a:pt x="191" y="120"/>
                    <a:pt x="191" y="120"/>
                  </a:cubicBezTo>
                  <a:cubicBezTo>
                    <a:pt x="194" y="124"/>
                    <a:pt x="194" y="124"/>
                    <a:pt x="194" y="124"/>
                  </a:cubicBezTo>
                  <a:cubicBezTo>
                    <a:pt x="198" y="121"/>
                    <a:pt x="198" y="121"/>
                    <a:pt x="198" y="121"/>
                  </a:cubicBezTo>
                  <a:close/>
                  <a:moveTo>
                    <a:pt x="198" y="171"/>
                  </a:moveTo>
                  <a:cubicBezTo>
                    <a:pt x="198" y="215"/>
                    <a:pt x="198" y="215"/>
                    <a:pt x="198" y="215"/>
                  </a:cubicBezTo>
                  <a:cubicBezTo>
                    <a:pt x="191" y="206"/>
                    <a:pt x="191" y="206"/>
                    <a:pt x="191" y="206"/>
                  </a:cubicBezTo>
                  <a:cubicBezTo>
                    <a:pt x="191" y="175"/>
                    <a:pt x="191" y="175"/>
                    <a:pt x="191" y="175"/>
                  </a:cubicBezTo>
                  <a:cubicBezTo>
                    <a:pt x="192" y="176"/>
                    <a:pt x="192" y="176"/>
                    <a:pt x="192" y="176"/>
                  </a:cubicBezTo>
                  <a:cubicBezTo>
                    <a:pt x="198" y="171"/>
                    <a:pt x="198" y="171"/>
                    <a:pt x="198" y="171"/>
                  </a:cubicBezTo>
                  <a:close/>
                  <a:moveTo>
                    <a:pt x="198" y="222"/>
                  </a:moveTo>
                  <a:cubicBezTo>
                    <a:pt x="198" y="238"/>
                    <a:pt x="198" y="238"/>
                    <a:pt x="198" y="238"/>
                  </a:cubicBezTo>
                  <a:cubicBezTo>
                    <a:pt x="197" y="239"/>
                    <a:pt x="197" y="239"/>
                    <a:pt x="197" y="239"/>
                  </a:cubicBezTo>
                  <a:cubicBezTo>
                    <a:pt x="198" y="240"/>
                    <a:pt x="198" y="240"/>
                    <a:pt x="198" y="240"/>
                  </a:cubicBezTo>
                  <a:cubicBezTo>
                    <a:pt x="198" y="270"/>
                    <a:pt x="198" y="270"/>
                    <a:pt x="198" y="270"/>
                  </a:cubicBezTo>
                  <a:cubicBezTo>
                    <a:pt x="191" y="261"/>
                    <a:pt x="191" y="261"/>
                    <a:pt x="191" y="261"/>
                  </a:cubicBezTo>
                  <a:cubicBezTo>
                    <a:pt x="191" y="227"/>
                    <a:pt x="191" y="227"/>
                    <a:pt x="191" y="227"/>
                  </a:cubicBezTo>
                  <a:lnTo>
                    <a:pt x="198" y="222"/>
                  </a:lnTo>
                  <a:close/>
                  <a:moveTo>
                    <a:pt x="178" y="42"/>
                  </a:moveTo>
                  <a:cubicBezTo>
                    <a:pt x="191" y="61"/>
                    <a:pt x="191" y="61"/>
                    <a:pt x="191" y="61"/>
                  </a:cubicBezTo>
                  <a:cubicBezTo>
                    <a:pt x="191" y="95"/>
                    <a:pt x="191" y="95"/>
                    <a:pt x="191" y="95"/>
                  </a:cubicBezTo>
                  <a:cubicBezTo>
                    <a:pt x="189" y="92"/>
                    <a:pt x="189" y="92"/>
                    <a:pt x="189" y="92"/>
                  </a:cubicBezTo>
                  <a:cubicBezTo>
                    <a:pt x="178" y="99"/>
                    <a:pt x="178" y="99"/>
                    <a:pt x="178" y="99"/>
                  </a:cubicBezTo>
                  <a:cubicBezTo>
                    <a:pt x="178" y="84"/>
                    <a:pt x="178" y="84"/>
                    <a:pt x="178" y="84"/>
                  </a:cubicBezTo>
                  <a:cubicBezTo>
                    <a:pt x="182" y="81"/>
                    <a:pt x="182" y="81"/>
                    <a:pt x="182" y="81"/>
                  </a:cubicBezTo>
                  <a:cubicBezTo>
                    <a:pt x="178" y="77"/>
                    <a:pt x="178" y="77"/>
                    <a:pt x="178" y="77"/>
                  </a:cubicBezTo>
                  <a:cubicBezTo>
                    <a:pt x="178" y="42"/>
                    <a:pt x="178" y="42"/>
                    <a:pt x="178" y="42"/>
                  </a:cubicBezTo>
                  <a:close/>
                  <a:moveTo>
                    <a:pt x="191" y="300"/>
                  </a:moveTo>
                  <a:cubicBezTo>
                    <a:pt x="178" y="309"/>
                    <a:pt x="178" y="309"/>
                    <a:pt x="178" y="309"/>
                  </a:cubicBezTo>
                  <a:cubicBezTo>
                    <a:pt x="178" y="268"/>
                    <a:pt x="178" y="268"/>
                    <a:pt x="178" y="268"/>
                  </a:cubicBezTo>
                  <a:cubicBezTo>
                    <a:pt x="187" y="281"/>
                    <a:pt x="187" y="281"/>
                    <a:pt x="187" y="281"/>
                  </a:cubicBezTo>
                  <a:cubicBezTo>
                    <a:pt x="191" y="278"/>
                    <a:pt x="191" y="278"/>
                    <a:pt x="191" y="278"/>
                  </a:cubicBezTo>
                  <a:cubicBezTo>
                    <a:pt x="191" y="300"/>
                    <a:pt x="191" y="300"/>
                    <a:pt x="191" y="300"/>
                  </a:cubicBezTo>
                  <a:close/>
                  <a:moveTo>
                    <a:pt x="191" y="120"/>
                  </a:moveTo>
                  <a:cubicBezTo>
                    <a:pt x="191" y="150"/>
                    <a:pt x="191" y="150"/>
                    <a:pt x="191" y="150"/>
                  </a:cubicBezTo>
                  <a:cubicBezTo>
                    <a:pt x="187" y="144"/>
                    <a:pt x="187" y="144"/>
                    <a:pt x="187" y="144"/>
                  </a:cubicBezTo>
                  <a:cubicBezTo>
                    <a:pt x="178" y="150"/>
                    <a:pt x="178" y="150"/>
                    <a:pt x="178" y="150"/>
                  </a:cubicBezTo>
                  <a:cubicBezTo>
                    <a:pt x="178" y="134"/>
                    <a:pt x="178" y="134"/>
                    <a:pt x="178" y="134"/>
                  </a:cubicBezTo>
                  <a:cubicBezTo>
                    <a:pt x="180" y="134"/>
                    <a:pt x="180" y="134"/>
                    <a:pt x="180" y="134"/>
                  </a:cubicBezTo>
                  <a:cubicBezTo>
                    <a:pt x="178" y="132"/>
                    <a:pt x="178" y="132"/>
                    <a:pt x="178" y="132"/>
                  </a:cubicBezTo>
                  <a:cubicBezTo>
                    <a:pt x="178" y="102"/>
                    <a:pt x="178" y="102"/>
                    <a:pt x="178" y="102"/>
                  </a:cubicBezTo>
                  <a:cubicBezTo>
                    <a:pt x="191" y="120"/>
                    <a:pt x="191" y="120"/>
                    <a:pt x="191" y="120"/>
                  </a:cubicBezTo>
                  <a:close/>
                  <a:moveTo>
                    <a:pt x="191" y="175"/>
                  </a:moveTo>
                  <a:cubicBezTo>
                    <a:pt x="191" y="206"/>
                    <a:pt x="191" y="206"/>
                    <a:pt x="191" y="206"/>
                  </a:cubicBezTo>
                  <a:cubicBezTo>
                    <a:pt x="185" y="196"/>
                    <a:pt x="185" y="196"/>
                    <a:pt x="185" y="196"/>
                  </a:cubicBezTo>
                  <a:cubicBezTo>
                    <a:pt x="178" y="201"/>
                    <a:pt x="178" y="201"/>
                    <a:pt x="178" y="201"/>
                  </a:cubicBezTo>
                  <a:cubicBezTo>
                    <a:pt x="178" y="157"/>
                    <a:pt x="178" y="157"/>
                    <a:pt x="178" y="157"/>
                  </a:cubicBezTo>
                  <a:cubicBezTo>
                    <a:pt x="191" y="175"/>
                    <a:pt x="191" y="175"/>
                    <a:pt x="191" y="175"/>
                  </a:cubicBezTo>
                  <a:close/>
                  <a:moveTo>
                    <a:pt x="191" y="227"/>
                  </a:moveTo>
                  <a:cubicBezTo>
                    <a:pt x="191" y="261"/>
                    <a:pt x="191" y="261"/>
                    <a:pt x="191" y="261"/>
                  </a:cubicBezTo>
                  <a:cubicBezTo>
                    <a:pt x="183" y="249"/>
                    <a:pt x="183" y="249"/>
                    <a:pt x="183" y="249"/>
                  </a:cubicBezTo>
                  <a:cubicBezTo>
                    <a:pt x="178" y="251"/>
                    <a:pt x="178" y="251"/>
                    <a:pt x="178" y="251"/>
                  </a:cubicBezTo>
                  <a:cubicBezTo>
                    <a:pt x="178" y="212"/>
                    <a:pt x="178" y="212"/>
                    <a:pt x="178" y="212"/>
                  </a:cubicBezTo>
                  <a:cubicBezTo>
                    <a:pt x="189" y="228"/>
                    <a:pt x="189" y="228"/>
                    <a:pt x="189" y="228"/>
                  </a:cubicBezTo>
                  <a:lnTo>
                    <a:pt x="191" y="227"/>
                  </a:lnTo>
                  <a:close/>
                  <a:moveTo>
                    <a:pt x="176" y="39"/>
                  </a:moveTo>
                  <a:cubicBezTo>
                    <a:pt x="178" y="42"/>
                    <a:pt x="178" y="42"/>
                    <a:pt x="178" y="42"/>
                  </a:cubicBezTo>
                  <a:cubicBezTo>
                    <a:pt x="178" y="77"/>
                    <a:pt x="178" y="77"/>
                    <a:pt x="178" y="77"/>
                  </a:cubicBezTo>
                  <a:cubicBezTo>
                    <a:pt x="176" y="73"/>
                    <a:pt x="176" y="73"/>
                    <a:pt x="176" y="73"/>
                  </a:cubicBezTo>
                  <a:cubicBezTo>
                    <a:pt x="176" y="39"/>
                    <a:pt x="176" y="39"/>
                    <a:pt x="176" y="39"/>
                  </a:cubicBezTo>
                  <a:close/>
                  <a:moveTo>
                    <a:pt x="178" y="309"/>
                  </a:moveTo>
                  <a:cubicBezTo>
                    <a:pt x="176" y="311"/>
                    <a:pt x="176" y="311"/>
                    <a:pt x="176" y="311"/>
                  </a:cubicBezTo>
                  <a:cubicBezTo>
                    <a:pt x="176" y="265"/>
                    <a:pt x="176" y="265"/>
                    <a:pt x="176" y="265"/>
                  </a:cubicBezTo>
                  <a:cubicBezTo>
                    <a:pt x="178" y="268"/>
                    <a:pt x="178" y="268"/>
                    <a:pt x="178" y="268"/>
                  </a:cubicBezTo>
                  <a:cubicBezTo>
                    <a:pt x="178" y="309"/>
                    <a:pt x="178" y="309"/>
                    <a:pt x="178" y="309"/>
                  </a:cubicBezTo>
                  <a:close/>
                  <a:moveTo>
                    <a:pt x="178" y="84"/>
                  </a:moveTo>
                  <a:cubicBezTo>
                    <a:pt x="178" y="99"/>
                    <a:pt x="178" y="99"/>
                    <a:pt x="178" y="99"/>
                  </a:cubicBezTo>
                  <a:cubicBezTo>
                    <a:pt x="177" y="100"/>
                    <a:pt x="177" y="100"/>
                    <a:pt x="177" y="100"/>
                  </a:cubicBezTo>
                  <a:cubicBezTo>
                    <a:pt x="178" y="102"/>
                    <a:pt x="178" y="102"/>
                    <a:pt x="178" y="102"/>
                  </a:cubicBezTo>
                  <a:cubicBezTo>
                    <a:pt x="178" y="132"/>
                    <a:pt x="178" y="132"/>
                    <a:pt x="178" y="132"/>
                  </a:cubicBezTo>
                  <a:cubicBezTo>
                    <a:pt x="176" y="129"/>
                    <a:pt x="176" y="129"/>
                    <a:pt x="176" y="129"/>
                  </a:cubicBezTo>
                  <a:cubicBezTo>
                    <a:pt x="176" y="85"/>
                    <a:pt x="176" y="85"/>
                    <a:pt x="176" y="85"/>
                  </a:cubicBezTo>
                  <a:cubicBezTo>
                    <a:pt x="178" y="84"/>
                    <a:pt x="178" y="84"/>
                    <a:pt x="178" y="84"/>
                  </a:cubicBezTo>
                  <a:close/>
                  <a:moveTo>
                    <a:pt x="178" y="134"/>
                  </a:moveTo>
                  <a:cubicBezTo>
                    <a:pt x="178" y="150"/>
                    <a:pt x="178" y="150"/>
                    <a:pt x="178" y="150"/>
                  </a:cubicBezTo>
                  <a:cubicBezTo>
                    <a:pt x="176" y="151"/>
                    <a:pt x="176" y="151"/>
                    <a:pt x="176" y="151"/>
                  </a:cubicBezTo>
                  <a:cubicBezTo>
                    <a:pt x="176" y="136"/>
                    <a:pt x="176" y="136"/>
                    <a:pt x="176" y="136"/>
                  </a:cubicBezTo>
                  <a:cubicBezTo>
                    <a:pt x="178" y="134"/>
                    <a:pt x="178" y="134"/>
                    <a:pt x="178" y="134"/>
                  </a:cubicBezTo>
                  <a:close/>
                  <a:moveTo>
                    <a:pt x="178" y="157"/>
                  </a:moveTo>
                  <a:cubicBezTo>
                    <a:pt x="178" y="201"/>
                    <a:pt x="178" y="201"/>
                    <a:pt x="178" y="201"/>
                  </a:cubicBezTo>
                  <a:cubicBezTo>
                    <a:pt x="176" y="202"/>
                    <a:pt x="176" y="202"/>
                    <a:pt x="176" y="202"/>
                  </a:cubicBezTo>
                  <a:cubicBezTo>
                    <a:pt x="176" y="187"/>
                    <a:pt x="176" y="187"/>
                    <a:pt x="176" y="187"/>
                  </a:cubicBezTo>
                  <a:cubicBezTo>
                    <a:pt x="177" y="186"/>
                    <a:pt x="177" y="186"/>
                    <a:pt x="177" y="186"/>
                  </a:cubicBezTo>
                  <a:cubicBezTo>
                    <a:pt x="176" y="184"/>
                    <a:pt x="176" y="184"/>
                    <a:pt x="176" y="184"/>
                  </a:cubicBezTo>
                  <a:cubicBezTo>
                    <a:pt x="176" y="154"/>
                    <a:pt x="176" y="154"/>
                    <a:pt x="176" y="154"/>
                  </a:cubicBezTo>
                  <a:cubicBezTo>
                    <a:pt x="178" y="157"/>
                    <a:pt x="178" y="157"/>
                    <a:pt x="178" y="157"/>
                  </a:cubicBezTo>
                  <a:close/>
                  <a:moveTo>
                    <a:pt x="178" y="212"/>
                  </a:moveTo>
                  <a:cubicBezTo>
                    <a:pt x="178" y="251"/>
                    <a:pt x="178" y="251"/>
                    <a:pt x="178" y="251"/>
                  </a:cubicBezTo>
                  <a:cubicBezTo>
                    <a:pt x="176" y="253"/>
                    <a:pt x="176" y="253"/>
                    <a:pt x="176" y="253"/>
                  </a:cubicBezTo>
                  <a:cubicBezTo>
                    <a:pt x="176" y="209"/>
                    <a:pt x="176" y="209"/>
                    <a:pt x="176" y="209"/>
                  </a:cubicBezTo>
                  <a:lnTo>
                    <a:pt x="178" y="212"/>
                  </a:lnTo>
                  <a:close/>
                  <a:moveTo>
                    <a:pt x="167" y="27"/>
                  </a:moveTo>
                  <a:cubicBezTo>
                    <a:pt x="176" y="39"/>
                    <a:pt x="176" y="39"/>
                    <a:pt x="176" y="39"/>
                  </a:cubicBezTo>
                  <a:cubicBezTo>
                    <a:pt x="176" y="73"/>
                    <a:pt x="176" y="73"/>
                    <a:pt x="176" y="73"/>
                  </a:cubicBezTo>
                  <a:cubicBezTo>
                    <a:pt x="167" y="61"/>
                    <a:pt x="167" y="61"/>
                    <a:pt x="167" y="61"/>
                  </a:cubicBezTo>
                  <a:cubicBezTo>
                    <a:pt x="167" y="27"/>
                    <a:pt x="167" y="27"/>
                    <a:pt x="167" y="27"/>
                  </a:cubicBezTo>
                  <a:close/>
                  <a:moveTo>
                    <a:pt x="176" y="311"/>
                  </a:moveTo>
                  <a:cubicBezTo>
                    <a:pt x="167" y="317"/>
                    <a:pt x="167" y="317"/>
                    <a:pt x="167" y="317"/>
                  </a:cubicBezTo>
                  <a:cubicBezTo>
                    <a:pt x="167" y="193"/>
                    <a:pt x="167" y="193"/>
                    <a:pt x="167" y="193"/>
                  </a:cubicBezTo>
                  <a:cubicBezTo>
                    <a:pt x="176" y="187"/>
                    <a:pt x="176" y="187"/>
                    <a:pt x="176" y="187"/>
                  </a:cubicBezTo>
                  <a:cubicBezTo>
                    <a:pt x="176" y="202"/>
                    <a:pt x="176" y="202"/>
                    <a:pt x="176" y="202"/>
                  </a:cubicBezTo>
                  <a:cubicBezTo>
                    <a:pt x="173" y="204"/>
                    <a:pt x="173" y="204"/>
                    <a:pt x="173" y="204"/>
                  </a:cubicBezTo>
                  <a:cubicBezTo>
                    <a:pt x="176" y="209"/>
                    <a:pt x="176" y="209"/>
                    <a:pt x="176" y="209"/>
                  </a:cubicBezTo>
                  <a:cubicBezTo>
                    <a:pt x="176" y="253"/>
                    <a:pt x="176" y="253"/>
                    <a:pt x="176" y="253"/>
                  </a:cubicBezTo>
                  <a:cubicBezTo>
                    <a:pt x="171" y="257"/>
                    <a:pt x="171" y="257"/>
                    <a:pt x="171" y="257"/>
                  </a:cubicBezTo>
                  <a:cubicBezTo>
                    <a:pt x="176" y="265"/>
                    <a:pt x="176" y="265"/>
                    <a:pt x="176" y="265"/>
                  </a:cubicBezTo>
                  <a:cubicBezTo>
                    <a:pt x="176" y="311"/>
                    <a:pt x="176" y="311"/>
                    <a:pt x="176" y="311"/>
                  </a:cubicBezTo>
                  <a:close/>
                  <a:moveTo>
                    <a:pt x="176" y="85"/>
                  </a:moveTo>
                  <a:cubicBezTo>
                    <a:pt x="176" y="129"/>
                    <a:pt x="176" y="129"/>
                    <a:pt x="176" y="129"/>
                  </a:cubicBezTo>
                  <a:cubicBezTo>
                    <a:pt x="167" y="116"/>
                    <a:pt x="167" y="116"/>
                    <a:pt x="167" y="116"/>
                  </a:cubicBezTo>
                  <a:cubicBezTo>
                    <a:pt x="167" y="86"/>
                    <a:pt x="167" y="86"/>
                    <a:pt x="167" y="86"/>
                  </a:cubicBezTo>
                  <a:cubicBezTo>
                    <a:pt x="170" y="90"/>
                    <a:pt x="170" y="90"/>
                    <a:pt x="170" y="90"/>
                  </a:cubicBezTo>
                  <a:cubicBezTo>
                    <a:pt x="176" y="85"/>
                    <a:pt x="176" y="85"/>
                    <a:pt x="176" y="85"/>
                  </a:cubicBezTo>
                  <a:close/>
                  <a:moveTo>
                    <a:pt x="176" y="136"/>
                  </a:moveTo>
                  <a:cubicBezTo>
                    <a:pt x="176" y="151"/>
                    <a:pt x="176" y="151"/>
                    <a:pt x="176" y="151"/>
                  </a:cubicBezTo>
                  <a:cubicBezTo>
                    <a:pt x="175" y="152"/>
                    <a:pt x="175" y="152"/>
                    <a:pt x="175" y="152"/>
                  </a:cubicBezTo>
                  <a:cubicBezTo>
                    <a:pt x="176" y="154"/>
                    <a:pt x="176" y="154"/>
                    <a:pt x="176" y="154"/>
                  </a:cubicBezTo>
                  <a:cubicBezTo>
                    <a:pt x="176" y="184"/>
                    <a:pt x="176" y="184"/>
                    <a:pt x="176" y="184"/>
                  </a:cubicBezTo>
                  <a:cubicBezTo>
                    <a:pt x="167" y="172"/>
                    <a:pt x="167" y="172"/>
                    <a:pt x="167" y="172"/>
                  </a:cubicBezTo>
                  <a:cubicBezTo>
                    <a:pt x="167" y="141"/>
                    <a:pt x="167" y="141"/>
                    <a:pt x="167" y="141"/>
                  </a:cubicBezTo>
                  <a:cubicBezTo>
                    <a:pt x="168" y="141"/>
                    <a:pt x="168" y="142"/>
                    <a:pt x="168" y="142"/>
                  </a:cubicBezTo>
                  <a:lnTo>
                    <a:pt x="176" y="136"/>
                  </a:lnTo>
                  <a:close/>
                  <a:moveTo>
                    <a:pt x="154" y="8"/>
                  </a:moveTo>
                  <a:cubicBezTo>
                    <a:pt x="167" y="27"/>
                    <a:pt x="167" y="27"/>
                    <a:pt x="167" y="27"/>
                  </a:cubicBezTo>
                  <a:cubicBezTo>
                    <a:pt x="167" y="61"/>
                    <a:pt x="167" y="61"/>
                    <a:pt x="167" y="61"/>
                  </a:cubicBezTo>
                  <a:cubicBezTo>
                    <a:pt x="165" y="58"/>
                    <a:pt x="165" y="58"/>
                    <a:pt x="165" y="58"/>
                  </a:cubicBezTo>
                  <a:cubicBezTo>
                    <a:pt x="154" y="65"/>
                    <a:pt x="154" y="65"/>
                    <a:pt x="154" y="65"/>
                  </a:cubicBezTo>
                  <a:cubicBezTo>
                    <a:pt x="154" y="50"/>
                    <a:pt x="154" y="50"/>
                    <a:pt x="154" y="50"/>
                  </a:cubicBezTo>
                  <a:cubicBezTo>
                    <a:pt x="158" y="47"/>
                    <a:pt x="158" y="47"/>
                    <a:pt x="158" y="47"/>
                  </a:cubicBezTo>
                  <a:cubicBezTo>
                    <a:pt x="154" y="43"/>
                    <a:pt x="154" y="43"/>
                    <a:pt x="154" y="43"/>
                  </a:cubicBezTo>
                  <a:cubicBezTo>
                    <a:pt x="154" y="8"/>
                    <a:pt x="154" y="8"/>
                    <a:pt x="154" y="8"/>
                  </a:cubicBezTo>
                  <a:close/>
                  <a:moveTo>
                    <a:pt x="167" y="317"/>
                  </a:moveTo>
                  <a:cubicBezTo>
                    <a:pt x="156" y="325"/>
                    <a:pt x="156" y="325"/>
                    <a:pt x="156" y="325"/>
                  </a:cubicBezTo>
                  <a:cubicBezTo>
                    <a:pt x="154" y="324"/>
                    <a:pt x="154" y="324"/>
                    <a:pt x="154" y="324"/>
                  </a:cubicBezTo>
                  <a:cubicBezTo>
                    <a:pt x="154" y="178"/>
                    <a:pt x="154" y="178"/>
                    <a:pt x="154" y="178"/>
                  </a:cubicBezTo>
                  <a:cubicBezTo>
                    <a:pt x="166" y="194"/>
                    <a:pt x="166" y="194"/>
                    <a:pt x="166" y="194"/>
                  </a:cubicBezTo>
                  <a:cubicBezTo>
                    <a:pt x="167" y="193"/>
                    <a:pt x="167" y="193"/>
                    <a:pt x="167" y="193"/>
                  </a:cubicBezTo>
                  <a:cubicBezTo>
                    <a:pt x="167" y="317"/>
                    <a:pt x="167" y="317"/>
                    <a:pt x="167" y="317"/>
                  </a:cubicBezTo>
                  <a:close/>
                  <a:moveTo>
                    <a:pt x="167" y="86"/>
                  </a:moveTo>
                  <a:cubicBezTo>
                    <a:pt x="167" y="116"/>
                    <a:pt x="167" y="116"/>
                    <a:pt x="167" y="116"/>
                  </a:cubicBezTo>
                  <a:cubicBezTo>
                    <a:pt x="163" y="110"/>
                    <a:pt x="163" y="110"/>
                    <a:pt x="163" y="110"/>
                  </a:cubicBezTo>
                  <a:cubicBezTo>
                    <a:pt x="159" y="113"/>
                    <a:pt x="162" y="133"/>
                    <a:pt x="167" y="141"/>
                  </a:cubicBezTo>
                  <a:cubicBezTo>
                    <a:pt x="167" y="172"/>
                    <a:pt x="167" y="172"/>
                    <a:pt x="167" y="172"/>
                  </a:cubicBezTo>
                  <a:cubicBezTo>
                    <a:pt x="161" y="162"/>
                    <a:pt x="161" y="162"/>
                    <a:pt x="161" y="162"/>
                  </a:cubicBezTo>
                  <a:cubicBezTo>
                    <a:pt x="154" y="167"/>
                    <a:pt x="154" y="167"/>
                    <a:pt x="154" y="167"/>
                  </a:cubicBezTo>
                  <a:cubicBezTo>
                    <a:pt x="154" y="100"/>
                    <a:pt x="154" y="100"/>
                    <a:pt x="154" y="100"/>
                  </a:cubicBezTo>
                  <a:cubicBezTo>
                    <a:pt x="156" y="99"/>
                    <a:pt x="156" y="99"/>
                    <a:pt x="156" y="99"/>
                  </a:cubicBezTo>
                  <a:cubicBezTo>
                    <a:pt x="154" y="98"/>
                    <a:pt x="154" y="98"/>
                    <a:pt x="154" y="98"/>
                  </a:cubicBezTo>
                  <a:cubicBezTo>
                    <a:pt x="154" y="68"/>
                    <a:pt x="154" y="68"/>
                    <a:pt x="154" y="68"/>
                  </a:cubicBezTo>
                  <a:lnTo>
                    <a:pt x="167" y="86"/>
                  </a:lnTo>
                  <a:close/>
                  <a:moveTo>
                    <a:pt x="150" y="2"/>
                  </a:moveTo>
                  <a:cubicBezTo>
                    <a:pt x="154" y="8"/>
                    <a:pt x="154" y="8"/>
                    <a:pt x="154" y="8"/>
                  </a:cubicBezTo>
                  <a:cubicBezTo>
                    <a:pt x="154" y="43"/>
                    <a:pt x="154" y="43"/>
                    <a:pt x="154" y="43"/>
                  </a:cubicBezTo>
                  <a:cubicBezTo>
                    <a:pt x="150" y="36"/>
                    <a:pt x="150" y="36"/>
                    <a:pt x="150" y="36"/>
                  </a:cubicBezTo>
                  <a:cubicBezTo>
                    <a:pt x="150" y="2"/>
                    <a:pt x="150" y="2"/>
                    <a:pt x="150" y="2"/>
                  </a:cubicBezTo>
                  <a:close/>
                  <a:moveTo>
                    <a:pt x="154" y="324"/>
                  </a:moveTo>
                  <a:cubicBezTo>
                    <a:pt x="150" y="317"/>
                    <a:pt x="150" y="317"/>
                    <a:pt x="150" y="317"/>
                  </a:cubicBezTo>
                  <a:cubicBezTo>
                    <a:pt x="150" y="205"/>
                    <a:pt x="150" y="205"/>
                    <a:pt x="150" y="205"/>
                  </a:cubicBezTo>
                  <a:cubicBezTo>
                    <a:pt x="151" y="204"/>
                    <a:pt x="151" y="204"/>
                    <a:pt x="151" y="204"/>
                  </a:cubicBezTo>
                  <a:cubicBezTo>
                    <a:pt x="150" y="202"/>
                    <a:pt x="150" y="202"/>
                    <a:pt x="150" y="202"/>
                  </a:cubicBezTo>
                  <a:cubicBezTo>
                    <a:pt x="150" y="172"/>
                    <a:pt x="150" y="172"/>
                    <a:pt x="150" y="172"/>
                  </a:cubicBezTo>
                  <a:cubicBezTo>
                    <a:pt x="154" y="178"/>
                    <a:pt x="154" y="178"/>
                    <a:pt x="154" y="178"/>
                  </a:cubicBezTo>
                  <a:cubicBezTo>
                    <a:pt x="154" y="324"/>
                    <a:pt x="154" y="324"/>
                    <a:pt x="154" y="324"/>
                  </a:cubicBezTo>
                  <a:close/>
                  <a:moveTo>
                    <a:pt x="154" y="50"/>
                  </a:moveTo>
                  <a:cubicBezTo>
                    <a:pt x="154" y="65"/>
                    <a:pt x="154" y="65"/>
                    <a:pt x="154" y="65"/>
                  </a:cubicBezTo>
                  <a:cubicBezTo>
                    <a:pt x="153" y="66"/>
                    <a:pt x="153" y="66"/>
                    <a:pt x="153" y="66"/>
                  </a:cubicBezTo>
                  <a:cubicBezTo>
                    <a:pt x="154" y="68"/>
                    <a:pt x="154" y="68"/>
                    <a:pt x="154" y="68"/>
                  </a:cubicBezTo>
                  <a:cubicBezTo>
                    <a:pt x="154" y="98"/>
                    <a:pt x="154" y="98"/>
                    <a:pt x="154" y="98"/>
                  </a:cubicBezTo>
                  <a:cubicBezTo>
                    <a:pt x="150" y="92"/>
                    <a:pt x="150" y="92"/>
                    <a:pt x="150" y="92"/>
                  </a:cubicBezTo>
                  <a:cubicBezTo>
                    <a:pt x="150" y="53"/>
                    <a:pt x="150" y="53"/>
                    <a:pt x="150" y="53"/>
                  </a:cubicBezTo>
                  <a:cubicBezTo>
                    <a:pt x="154" y="50"/>
                    <a:pt x="154" y="50"/>
                    <a:pt x="154" y="50"/>
                  </a:cubicBezTo>
                  <a:close/>
                  <a:moveTo>
                    <a:pt x="154" y="100"/>
                  </a:moveTo>
                  <a:cubicBezTo>
                    <a:pt x="154" y="167"/>
                    <a:pt x="154" y="167"/>
                    <a:pt x="154" y="167"/>
                  </a:cubicBezTo>
                  <a:cubicBezTo>
                    <a:pt x="150" y="170"/>
                    <a:pt x="150" y="170"/>
                    <a:pt x="150" y="170"/>
                  </a:cubicBezTo>
                  <a:cubicBezTo>
                    <a:pt x="150" y="154"/>
                    <a:pt x="150" y="154"/>
                    <a:pt x="150" y="154"/>
                  </a:cubicBezTo>
                  <a:cubicBezTo>
                    <a:pt x="153" y="152"/>
                    <a:pt x="153" y="152"/>
                    <a:pt x="153" y="152"/>
                  </a:cubicBezTo>
                  <a:cubicBezTo>
                    <a:pt x="150" y="147"/>
                    <a:pt x="150" y="147"/>
                    <a:pt x="150" y="147"/>
                  </a:cubicBezTo>
                  <a:cubicBezTo>
                    <a:pt x="150" y="103"/>
                    <a:pt x="150" y="103"/>
                    <a:pt x="150" y="103"/>
                  </a:cubicBezTo>
                  <a:lnTo>
                    <a:pt x="154" y="100"/>
                  </a:lnTo>
                  <a:close/>
                  <a:moveTo>
                    <a:pt x="144" y="3"/>
                  </a:moveTo>
                  <a:cubicBezTo>
                    <a:pt x="149" y="0"/>
                    <a:pt x="149" y="0"/>
                    <a:pt x="149" y="0"/>
                  </a:cubicBezTo>
                  <a:cubicBezTo>
                    <a:pt x="150" y="2"/>
                    <a:pt x="150" y="2"/>
                    <a:pt x="150" y="2"/>
                  </a:cubicBezTo>
                  <a:cubicBezTo>
                    <a:pt x="150" y="36"/>
                    <a:pt x="150" y="36"/>
                    <a:pt x="150" y="36"/>
                  </a:cubicBezTo>
                  <a:cubicBezTo>
                    <a:pt x="144" y="27"/>
                    <a:pt x="144" y="27"/>
                    <a:pt x="144" y="27"/>
                  </a:cubicBezTo>
                  <a:cubicBezTo>
                    <a:pt x="144" y="3"/>
                    <a:pt x="144" y="3"/>
                    <a:pt x="144" y="3"/>
                  </a:cubicBezTo>
                  <a:close/>
                  <a:moveTo>
                    <a:pt x="150" y="317"/>
                  </a:moveTo>
                  <a:cubicBezTo>
                    <a:pt x="144" y="308"/>
                    <a:pt x="144" y="308"/>
                    <a:pt x="144" y="308"/>
                  </a:cubicBezTo>
                  <a:cubicBezTo>
                    <a:pt x="144" y="260"/>
                    <a:pt x="144" y="260"/>
                    <a:pt x="144" y="260"/>
                  </a:cubicBezTo>
                  <a:cubicBezTo>
                    <a:pt x="149" y="257"/>
                    <a:pt x="149" y="257"/>
                    <a:pt x="149" y="257"/>
                  </a:cubicBezTo>
                  <a:cubicBezTo>
                    <a:pt x="144" y="249"/>
                    <a:pt x="144" y="249"/>
                    <a:pt x="144" y="249"/>
                  </a:cubicBezTo>
                  <a:cubicBezTo>
                    <a:pt x="144" y="210"/>
                    <a:pt x="144" y="210"/>
                    <a:pt x="144" y="210"/>
                  </a:cubicBezTo>
                  <a:cubicBezTo>
                    <a:pt x="150" y="205"/>
                    <a:pt x="150" y="205"/>
                    <a:pt x="150" y="205"/>
                  </a:cubicBezTo>
                  <a:cubicBezTo>
                    <a:pt x="150" y="317"/>
                    <a:pt x="150" y="317"/>
                    <a:pt x="150" y="317"/>
                  </a:cubicBezTo>
                  <a:close/>
                  <a:moveTo>
                    <a:pt x="150" y="53"/>
                  </a:moveTo>
                  <a:cubicBezTo>
                    <a:pt x="150" y="92"/>
                    <a:pt x="150" y="92"/>
                    <a:pt x="150" y="92"/>
                  </a:cubicBezTo>
                  <a:cubicBezTo>
                    <a:pt x="144" y="82"/>
                    <a:pt x="144" y="82"/>
                    <a:pt x="144" y="82"/>
                  </a:cubicBezTo>
                  <a:cubicBezTo>
                    <a:pt x="144" y="52"/>
                    <a:pt x="144" y="52"/>
                    <a:pt x="144" y="52"/>
                  </a:cubicBezTo>
                  <a:cubicBezTo>
                    <a:pt x="146" y="56"/>
                    <a:pt x="146" y="56"/>
                    <a:pt x="146" y="56"/>
                  </a:cubicBezTo>
                  <a:cubicBezTo>
                    <a:pt x="150" y="53"/>
                    <a:pt x="150" y="53"/>
                    <a:pt x="150" y="53"/>
                  </a:cubicBezTo>
                  <a:close/>
                  <a:moveTo>
                    <a:pt x="150" y="103"/>
                  </a:moveTo>
                  <a:cubicBezTo>
                    <a:pt x="150" y="147"/>
                    <a:pt x="150" y="147"/>
                    <a:pt x="150" y="147"/>
                  </a:cubicBezTo>
                  <a:cubicBezTo>
                    <a:pt x="144" y="138"/>
                    <a:pt x="144" y="138"/>
                    <a:pt x="144" y="138"/>
                  </a:cubicBezTo>
                  <a:cubicBezTo>
                    <a:pt x="144" y="107"/>
                    <a:pt x="144" y="107"/>
                    <a:pt x="144" y="107"/>
                  </a:cubicBezTo>
                  <a:cubicBezTo>
                    <a:pt x="144" y="108"/>
                    <a:pt x="144" y="108"/>
                    <a:pt x="144" y="108"/>
                  </a:cubicBezTo>
                  <a:cubicBezTo>
                    <a:pt x="150" y="103"/>
                    <a:pt x="150" y="103"/>
                    <a:pt x="150" y="103"/>
                  </a:cubicBezTo>
                  <a:close/>
                  <a:moveTo>
                    <a:pt x="150" y="154"/>
                  </a:moveTo>
                  <a:cubicBezTo>
                    <a:pt x="150" y="170"/>
                    <a:pt x="150" y="170"/>
                    <a:pt x="150" y="170"/>
                  </a:cubicBezTo>
                  <a:cubicBezTo>
                    <a:pt x="149" y="170"/>
                    <a:pt x="149" y="170"/>
                    <a:pt x="149" y="170"/>
                  </a:cubicBezTo>
                  <a:cubicBezTo>
                    <a:pt x="150" y="172"/>
                    <a:pt x="150" y="172"/>
                    <a:pt x="150" y="172"/>
                  </a:cubicBezTo>
                  <a:cubicBezTo>
                    <a:pt x="150" y="202"/>
                    <a:pt x="150" y="202"/>
                    <a:pt x="150" y="202"/>
                  </a:cubicBezTo>
                  <a:cubicBezTo>
                    <a:pt x="144" y="193"/>
                    <a:pt x="144" y="193"/>
                    <a:pt x="144" y="193"/>
                  </a:cubicBezTo>
                  <a:cubicBezTo>
                    <a:pt x="144" y="159"/>
                    <a:pt x="144" y="159"/>
                    <a:pt x="144" y="159"/>
                  </a:cubicBezTo>
                  <a:lnTo>
                    <a:pt x="150" y="154"/>
                  </a:lnTo>
                  <a:close/>
                  <a:moveTo>
                    <a:pt x="128" y="14"/>
                  </a:moveTo>
                  <a:cubicBezTo>
                    <a:pt x="144" y="3"/>
                    <a:pt x="144" y="3"/>
                    <a:pt x="144" y="3"/>
                  </a:cubicBezTo>
                  <a:cubicBezTo>
                    <a:pt x="144" y="27"/>
                    <a:pt x="144" y="27"/>
                    <a:pt x="144" y="27"/>
                  </a:cubicBezTo>
                  <a:cubicBezTo>
                    <a:pt x="141" y="24"/>
                    <a:pt x="141" y="24"/>
                    <a:pt x="141" y="24"/>
                  </a:cubicBezTo>
                  <a:cubicBezTo>
                    <a:pt x="137" y="26"/>
                    <a:pt x="133" y="29"/>
                    <a:pt x="129" y="32"/>
                  </a:cubicBezTo>
                  <a:cubicBezTo>
                    <a:pt x="144" y="52"/>
                    <a:pt x="144" y="52"/>
                    <a:pt x="144" y="52"/>
                  </a:cubicBezTo>
                  <a:cubicBezTo>
                    <a:pt x="144" y="82"/>
                    <a:pt x="144" y="82"/>
                    <a:pt x="144" y="82"/>
                  </a:cubicBezTo>
                  <a:cubicBezTo>
                    <a:pt x="139" y="76"/>
                    <a:pt x="139" y="76"/>
                    <a:pt x="139" y="76"/>
                  </a:cubicBezTo>
                  <a:cubicBezTo>
                    <a:pt x="128" y="83"/>
                    <a:pt x="128" y="83"/>
                    <a:pt x="128" y="83"/>
                  </a:cubicBezTo>
                  <a:cubicBezTo>
                    <a:pt x="128" y="14"/>
                    <a:pt x="128" y="14"/>
                    <a:pt x="128" y="14"/>
                  </a:cubicBezTo>
                  <a:close/>
                  <a:moveTo>
                    <a:pt x="144" y="308"/>
                  </a:moveTo>
                  <a:cubicBezTo>
                    <a:pt x="128" y="287"/>
                    <a:pt x="128" y="287"/>
                    <a:pt x="128" y="287"/>
                  </a:cubicBezTo>
                  <a:cubicBezTo>
                    <a:pt x="128" y="252"/>
                    <a:pt x="128" y="252"/>
                    <a:pt x="128" y="252"/>
                  </a:cubicBezTo>
                  <a:cubicBezTo>
                    <a:pt x="137" y="265"/>
                    <a:pt x="137" y="265"/>
                    <a:pt x="137" y="265"/>
                  </a:cubicBezTo>
                  <a:cubicBezTo>
                    <a:pt x="144" y="260"/>
                    <a:pt x="144" y="260"/>
                    <a:pt x="144" y="260"/>
                  </a:cubicBezTo>
                  <a:cubicBezTo>
                    <a:pt x="144" y="308"/>
                    <a:pt x="144" y="308"/>
                    <a:pt x="144" y="308"/>
                  </a:cubicBezTo>
                  <a:close/>
                  <a:moveTo>
                    <a:pt x="144" y="107"/>
                  </a:moveTo>
                  <a:cubicBezTo>
                    <a:pt x="144" y="138"/>
                    <a:pt x="144" y="138"/>
                    <a:pt x="144" y="138"/>
                  </a:cubicBezTo>
                  <a:cubicBezTo>
                    <a:pt x="137" y="128"/>
                    <a:pt x="137" y="128"/>
                    <a:pt x="137" y="128"/>
                  </a:cubicBezTo>
                  <a:cubicBezTo>
                    <a:pt x="128" y="134"/>
                    <a:pt x="128" y="134"/>
                    <a:pt x="128" y="134"/>
                  </a:cubicBezTo>
                  <a:cubicBezTo>
                    <a:pt x="128" y="119"/>
                    <a:pt x="128" y="119"/>
                    <a:pt x="128" y="119"/>
                  </a:cubicBezTo>
                  <a:cubicBezTo>
                    <a:pt x="130" y="118"/>
                    <a:pt x="130" y="118"/>
                    <a:pt x="130" y="118"/>
                  </a:cubicBezTo>
                  <a:cubicBezTo>
                    <a:pt x="128" y="116"/>
                    <a:pt x="128" y="116"/>
                    <a:pt x="128" y="116"/>
                  </a:cubicBezTo>
                  <a:cubicBezTo>
                    <a:pt x="128" y="86"/>
                    <a:pt x="128" y="86"/>
                    <a:pt x="128" y="86"/>
                  </a:cubicBezTo>
                  <a:cubicBezTo>
                    <a:pt x="144" y="107"/>
                    <a:pt x="144" y="107"/>
                    <a:pt x="144" y="107"/>
                  </a:cubicBezTo>
                  <a:close/>
                  <a:moveTo>
                    <a:pt x="144" y="159"/>
                  </a:moveTo>
                  <a:cubicBezTo>
                    <a:pt x="144" y="193"/>
                    <a:pt x="144" y="193"/>
                    <a:pt x="144" y="193"/>
                  </a:cubicBezTo>
                  <a:cubicBezTo>
                    <a:pt x="135" y="180"/>
                    <a:pt x="135" y="180"/>
                    <a:pt x="135" y="180"/>
                  </a:cubicBezTo>
                  <a:cubicBezTo>
                    <a:pt x="128" y="185"/>
                    <a:pt x="128" y="185"/>
                    <a:pt x="128" y="185"/>
                  </a:cubicBezTo>
                  <a:cubicBezTo>
                    <a:pt x="128" y="141"/>
                    <a:pt x="128" y="141"/>
                    <a:pt x="128" y="141"/>
                  </a:cubicBezTo>
                  <a:cubicBezTo>
                    <a:pt x="142" y="160"/>
                    <a:pt x="142" y="160"/>
                    <a:pt x="142" y="160"/>
                  </a:cubicBezTo>
                  <a:cubicBezTo>
                    <a:pt x="144" y="159"/>
                    <a:pt x="144" y="159"/>
                    <a:pt x="144" y="159"/>
                  </a:cubicBezTo>
                  <a:close/>
                  <a:moveTo>
                    <a:pt x="144" y="210"/>
                  </a:moveTo>
                  <a:cubicBezTo>
                    <a:pt x="144" y="249"/>
                    <a:pt x="144" y="249"/>
                    <a:pt x="144" y="249"/>
                  </a:cubicBezTo>
                  <a:cubicBezTo>
                    <a:pt x="132" y="233"/>
                    <a:pt x="132" y="233"/>
                    <a:pt x="132" y="233"/>
                  </a:cubicBezTo>
                  <a:cubicBezTo>
                    <a:pt x="128" y="236"/>
                    <a:pt x="128" y="236"/>
                    <a:pt x="128" y="236"/>
                  </a:cubicBezTo>
                  <a:cubicBezTo>
                    <a:pt x="128" y="197"/>
                    <a:pt x="128" y="197"/>
                    <a:pt x="128" y="197"/>
                  </a:cubicBezTo>
                  <a:cubicBezTo>
                    <a:pt x="139" y="213"/>
                    <a:pt x="139" y="213"/>
                    <a:pt x="139" y="213"/>
                  </a:cubicBezTo>
                  <a:lnTo>
                    <a:pt x="144" y="210"/>
                  </a:lnTo>
                  <a:close/>
                  <a:moveTo>
                    <a:pt x="124" y="17"/>
                  </a:moveTo>
                  <a:cubicBezTo>
                    <a:pt x="128" y="14"/>
                    <a:pt x="128" y="14"/>
                    <a:pt x="128" y="14"/>
                  </a:cubicBezTo>
                  <a:cubicBezTo>
                    <a:pt x="128" y="83"/>
                    <a:pt x="128" y="83"/>
                    <a:pt x="128" y="83"/>
                  </a:cubicBezTo>
                  <a:cubicBezTo>
                    <a:pt x="127" y="84"/>
                    <a:pt x="127" y="84"/>
                    <a:pt x="127" y="84"/>
                  </a:cubicBezTo>
                  <a:cubicBezTo>
                    <a:pt x="128" y="86"/>
                    <a:pt x="128" y="86"/>
                    <a:pt x="128" y="86"/>
                  </a:cubicBezTo>
                  <a:cubicBezTo>
                    <a:pt x="128" y="116"/>
                    <a:pt x="128" y="116"/>
                    <a:pt x="128" y="116"/>
                  </a:cubicBezTo>
                  <a:cubicBezTo>
                    <a:pt x="124" y="110"/>
                    <a:pt x="124" y="110"/>
                    <a:pt x="124" y="110"/>
                  </a:cubicBezTo>
                  <a:cubicBezTo>
                    <a:pt x="124" y="17"/>
                    <a:pt x="124" y="17"/>
                    <a:pt x="124" y="17"/>
                  </a:cubicBezTo>
                  <a:close/>
                  <a:moveTo>
                    <a:pt x="128" y="287"/>
                  </a:moveTo>
                  <a:cubicBezTo>
                    <a:pt x="124" y="280"/>
                    <a:pt x="124" y="280"/>
                    <a:pt x="124" y="280"/>
                  </a:cubicBezTo>
                  <a:cubicBezTo>
                    <a:pt x="124" y="246"/>
                    <a:pt x="124" y="246"/>
                    <a:pt x="124" y="246"/>
                  </a:cubicBezTo>
                  <a:cubicBezTo>
                    <a:pt x="128" y="252"/>
                    <a:pt x="128" y="252"/>
                    <a:pt x="128" y="252"/>
                  </a:cubicBezTo>
                  <a:cubicBezTo>
                    <a:pt x="128" y="287"/>
                    <a:pt x="128" y="287"/>
                    <a:pt x="128" y="287"/>
                  </a:cubicBezTo>
                  <a:close/>
                  <a:moveTo>
                    <a:pt x="128" y="119"/>
                  </a:moveTo>
                  <a:cubicBezTo>
                    <a:pt x="128" y="134"/>
                    <a:pt x="128" y="134"/>
                    <a:pt x="128" y="134"/>
                  </a:cubicBezTo>
                  <a:cubicBezTo>
                    <a:pt x="125" y="136"/>
                    <a:pt x="125" y="136"/>
                    <a:pt x="125" y="136"/>
                  </a:cubicBezTo>
                  <a:cubicBezTo>
                    <a:pt x="128" y="141"/>
                    <a:pt x="128" y="141"/>
                    <a:pt x="128" y="141"/>
                  </a:cubicBezTo>
                  <a:cubicBezTo>
                    <a:pt x="128" y="185"/>
                    <a:pt x="128" y="185"/>
                    <a:pt x="128" y="185"/>
                  </a:cubicBezTo>
                  <a:cubicBezTo>
                    <a:pt x="124" y="188"/>
                    <a:pt x="124" y="188"/>
                    <a:pt x="124" y="188"/>
                  </a:cubicBezTo>
                  <a:cubicBezTo>
                    <a:pt x="124" y="122"/>
                    <a:pt x="124" y="122"/>
                    <a:pt x="124" y="122"/>
                  </a:cubicBezTo>
                  <a:cubicBezTo>
                    <a:pt x="128" y="119"/>
                    <a:pt x="128" y="119"/>
                    <a:pt x="128" y="119"/>
                  </a:cubicBezTo>
                  <a:close/>
                  <a:moveTo>
                    <a:pt x="128" y="197"/>
                  </a:moveTo>
                  <a:cubicBezTo>
                    <a:pt x="128" y="236"/>
                    <a:pt x="128" y="236"/>
                    <a:pt x="128" y="236"/>
                  </a:cubicBezTo>
                  <a:cubicBezTo>
                    <a:pt x="124" y="239"/>
                    <a:pt x="124" y="239"/>
                    <a:pt x="124" y="239"/>
                  </a:cubicBezTo>
                  <a:cubicBezTo>
                    <a:pt x="124" y="223"/>
                    <a:pt x="124" y="223"/>
                    <a:pt x="124" y="223"/>
                  </a:cubicBezTo>
                  <a:cubicBezTo>
                    <a:pt x="125" y="222"/>
                    <a:pt x="125" y="222"/>
                    <a:pt x="125" y="222"/>
                  </a:cubicBezTo>
                  <a:cubicBezTo>
                    <a:pt x="124" y="221"/>
                    <a:pt x="124" y="221"/>
                    <a:pt x="124" y="221"/>
                  </a:cubicBezTo>
                  <a:cubicBezTo>
                    <a:pt x="124" y="191"/>
                    <a:pt x="124" y="191"/>
                    <a:pt x="124" y="191"/>
                  </a:cubicBezTo>
                  <a:lnTo>
                    <a:pt x="128" y="197"/>
                  </a:lnTo>
                  <a:close/>
                  <a:moveTo>
                    <a:pt x="115" y="23"/>
                  </a:moveTo>
                  <a:cubicBezTo>
                    <a:pt x="124" y="17"/>
                    <a:pt x="124" y="17"/>
                    <a:pt x="124" y="17"/>
                  </a:cubicBezTo>
                  <a:cubicBezTo>
                    <a:pt x="124" y="110"/>
                    <a:pt x="124" y="110"/>
                    <a:pt x="124" y="110"/>
                  </a:cubicBezTo>
                  <a:cubicBezTo>
                    <a:pt x="115" y="98"/>
                    <a:pt x="115" y="98"/>
                    <a:pt x="115" y="98"/>
                  </a:cubicBezTo>
                  <a:cubicBezTo>
                    <a:pt x="115" y="23"/>
                    <a:pt x="115" y="23"/>
                    <a:pt x="115" y="23"/>
                  </a:cubicBezTo>
                  <a:close/>
                  <a:moveTo>
                    <a:pt x="124" y="280"/>
                  </a:moveTo>
                  <a:cubicBezTo>
                    <a:pt x="115" y="268"/>
                    <a:pt x="115" y="268"/>
                    <a:pt x="115" y="268"/>
                  </a:cubicBezTo>
                  <a:cubicBezTo>
                    <a:pt x="115" y="229"/>
                    <a:pt x="115" y="229"/>
                    <a:pt x="115" y="229"/>
                  </a:cubicBezTo>
                  <a:cubicBezTo>
                    <a:pt x="124" y="223"/>
                    <a:pt x="124" y="223"/>
                    <a:pt x="124" y="223"/>
                  </a:cubicBezTo>
                  <a:cubicBezTo>
                    <a:pt x="124" y="239"/>
                    <a:pt x="124" y="239"/>
                    <a:pt x="124" y="239"/>
                  </a:cubicBezTo>
                  <a:cubicBezTo>
                    <a:pt x="121" y="241"/>
                    <a:pt x="121" y="241"/>
                    <a:pt x="121" y="241"/>
                  </a:cubicBezTo>
                  <a:cubicBezTo>
                    <a:pt x="124" y="246"/>
                    <a:pt x="124" y="246"/>
                    <a:pt x="124" y="246"/>
                  </a:cubicBezTo>
                  <a:cubicBezTo>
                    <a:pt x="124" y="280"/>
                    <a:pt x="124" y="280"/>
                    <a:pt x="124" y="280"/>
                  </a:cubicBezTo>
                  <a:close/>
                  <a:moveTo>
                    <a:pt x="124" y="122"/>
                  </a:moveTo>
                  <a:cubicBezTo>
                    <a:pt x="124" y="188"/>
                    <a:pt x="124" y="188"/>
                    <a:pt x="124" y="188"/>
                  </a:cubicBezTo>
                  <a:cubicBezTo>
                    <a:pt x="123" y="189"/>
                    <a:pt x="123" y="189"/>
                    <a:pt x="123" y="189"/>
                  </a:cubicBezTo>
                  <a:cubicBezTo>
                    <a:pt x="124" y="191"/>
                    <a:pt x="124" y="191"/>
                    <a:pt x="124" y="191"/>
                  </a:cubicBezTo>
                  <a:cubicBezTo>
                    <a:pt x="124" y="221"/>
                    <a:pt x="124" y="221"/>
                    <a:pt x="124" y="221"/>
                  </a:cubicBezTo>
                  <a:cubicBezTo>
                    <a:pt x="115" y="208"/>
                    <a:pt x="115" y="208"/>
                    <a:pt x="115" y="208"/>
                  </a:cubicBezTo>
                  <a:cubicBezTo>
                    <a:pt x="115" y="123"/>
                    <a:pt x="115" y="123"/>
                    <a:pt x="115" y="123"/>
                  </a:cubicBezTo>
                  <a:cubicBezTo>
                    <a:pt x="118" y="126"/>
                    <a:pt x="118" y="126"/>
                    <a:pt x="118" y="126"/>
                  </a:cubicBezTo>
                  <a:lnTo>
                    <a:pt x="124" y="122"/>
                  </a:lnTo>
                  <a:close/>
                  <a:moveTo>
                    <a:pt x="102" y="32"/>
                  </a:moveTo>
                  <a:cubicBezTo>
                    <a:pt x="115" y="23"/>
                    <a:pt x="115" y="23"/>
                    <a:pt x="115" y="23"/>
                  </a:cubicBezTo>
                  <a:cubicBezTo>
                    <a:pt x="115" y="98"/>
                    <a:pt x="115" y="98"/>
                    <a:pt x="115" y="98"/>
                  </a:cubicBezTo>
                  <a:cubicBezTo>
                    <a:pt x="113" y="94"/>
                    <a:pt x="113" y="94"/>
                    <a:pt x="113" y="94"/>
                  </a:cubicBezTo>
                  <a:cubicBezTo>
                    <a:pt x="102" y="102"/>
                    <a:pt x="102" y="102"/>
                    <a:pt x="102" y="102"/>
                  </a:cubicBezTo>
                  <a:cubicBezTo>
                    <a:pt x="102" y="86"/>
                    <a:pt x="102" y="86"/>
                    <a:pt x="102" y="86"/>
                  </a:cubicBezTo>
                  <a:cubicBezTo>
                    <a:pt x="106" y="84"/>
                    <a:pt x="106" y="84"/>
                    <a:pt x="106" y="84"/>
                  </a:cubicBezTo>
                  <a:cubicBezTo>
                    <a:pt x="102" y="79"/>
                    <a:pt x="102" y="79"/>
                    <a:pt x="102" y="79"/>
                  </a:cubicBezTo>
                  <a:cubicBezTo>
                    <a:pt x="102" y="32"/>
                    <a:pt x="102" y="32"/>
                    <a:pt x="102" y="32"/>
                  </a:cubicBezTo>
                  <a:close/>
                  <a:moveTo>
                    <a:pt x="115" y="268"/>
                  </a:moveTo>
                  <a:cubicBezTo>
                    <a:pt x="102" y="249"/>
                    <a:pt x="102" y="249"/>
                    <a:pt x="102" y="249"/>
                  </a:cubicBezTo>
                  <a:cubicBezTo>
                    <a:pt x="102" y="215"/>
                    <a:pt x="102" y="215"/>
                    <a:pt x="102" y="215"/>
                  </a:cubicBezTo>
                  <a:cubicBezTo>
                    <a:pt x="113" y="231"/>
                    <a:pt x="113" y="231"/>
                    <a:pt x="113" y="231"/>
                  </a:cubicBezTo>
                  <a:cubicBezTo>
                    <a:pt x="115" y="229"/>
                    <a:pt x="115" y="229"/>
                    <a:pt x="115" y="229"/>
                  </a:cubicBezTo>
                  <a:cubicBezTo>
                    <a:pt x="115" y="268"/>
                    <a:pt x="115" y="268"/>
                    <a:pt x="115" y="268"/>
                  </a:cubicBezTo>
                  <a:close/>
                  <a:moveTo>
                    <a:pt x="115" y="123"/>
                  </a:moveTo>
                  <a:cubicBezTo>
                    <a:pt x="115" y="208"/>
                    <a:pt x="115" y="208"/>
                    <a:pt x="115" y="208"/>
                  </a:cubicBezTo>
                  <a:cubicBezTo>
                    <a:pt x="109" y="199"/>
                    <a:pt x="109" y="199"/>
                    <a:pt x="109" y="199"/>
                  </a:cubicBezTo>
                  <a:cubicBezTo>
                    <a:pt x="102" y="203"/>
                    <a:pt x="102" y="203"/>
                    <a:pt x="102" y="203"/>
                  </a:cubicBezTo>
                  <a:cubicBezTo>
                    <a:pt x="102" y="137"/>
                    <a:pt x="102" y="137"/>
                    <a:pt x="102" y="137"/>
                  </a:cubicBezTo>
                  <a:cubicBezTo>
                    <a:pt x="104" y="136"/>
                    <a:pt x="104" y="136"/>
                    <a:pt x="104" y="136"/>
                  </a:cubicBezTo>
                  <a:cubicBezTo>
                    <a:pt x="102" y="134"/>
                    <a:pt x="102" y="134"/>
                    <a:pt x="102" y="134"/>
                  </a:cubicBezTo>
                  <a:cubicBezTo>
                    <a:pt x="102" y="104"/>
                    <a:pt x="102" y="104"/>
                    <a:pt x="102" y="104"/>
                  </a:cubicBezTo>
                  <a:lnTo>
                    <a:pt x="115" y="123"/>
                  </a:lnTo>
                  <a:close/>
                  <a:moveTo>
                    <a:pt x="91" y="40"/>
                  </a:moveTo>
                  <a:cubicBezTo>
                    <a:pt x="102" y="32"/>
                    <a:pt x="102" y="32"/>
                    <a:pt x="102" y="32"/>
                  </a:cubicBezTo>
                  <a:cubicBezTo>
                    <a:pt x="102" y="79"/>
                    <a:pt x="102" y="79"/>
                    <a:pt x="102" y="79"/>
                  </a:cubicBezTo>
                  <a:cubicBezTo>
                    <a:pt x="91" y="64"/>
                    <a:pt x="91" y="64"/>
                    <a:pt x="91" y="64"/>
                  </a:cubicBezTo>
                  <a:cubicBezTo>
                    <a:pt x="91" y="40"/>
                    <a:pt x="91" y="40"/>
                    <a:pt x="91" y="40"/>
                  </a:cubicBezTo>
                  <a:close/>
                  <a:moveTo>
                    <a:pt x="102" y="249"/>
                  </a:moveTo>
                  <a:cubicBezTo>
                    <a:pt x="91" y="234"/>
                    <a:pt x="91" y="234"/>
                    <a:pt x="91" y="234"/>
                  </a:cubicBezTo>
                  <a:cubicBezTo>
                    <a:pt x="91" y="195"/>
                    <a:pt x="91" y="195"/>
                    <a:pt x="91" y="195"/>
                  </a:cubicBezTo>
                  <a:cubicBezTo>
                    <a:pt x="101" y="188"/>
                    <a:pt x="101" y="188"/>
                    <a:pt x="101" y="188"/>
                  </a:cubicBezTo>
                  <a:cubicBezTo>
                    <a:pt x="91" y="174"/>
                    <a:pt x="91" y="174"/>
                    <a:pt x="91" y="174"/>
                  </a:cubicBezTo>
                  <a:cubicBezTo>
                    <a:pt x="91" y="144"/>
                    <a:pt x="91" y="144"/>
                    <a:pt x="91" y="144"/>
                  </a:cubicBezTo>
                  <a:cubicBezTo>
                    <a:pt x="92" y="144"/>
                    <a:pt x="92" y="144"/>
                    <a:pt x="92" y="144"/>
                  </a:cubicBezTo>
                  <a:cubicBezTo>
                    <a:pt x="102" y="137"/>
                    <a:pt x="102" y="137"/>
                    <a:pt x="102" y="137"/>
                  </a:cubicBezTo>
                  <a:cubicBezTo>
                    <a:pt x="102" y="203"/>
                    <a:pt x="102" y="203"/>
                    <a:pt x="102" y="203"/>
                  </a:cubicBezTo>
                  <a:cubicBezTo>
                    <a:pt x="97" y="207"/>
                    <a:pt x="97" y="207"/>
                    <a:pt x="97" y="207"/>
                  </a:cubicBezTo>
                  <a:cubicBezTo>
                    <a:pt x="102" y="215"/>
                    <a:pt x="102" y="215"/>
                    <a:pt x="102" y="215"/>
                  </a:cubicBezTo>
                  <a:cubicBezTo>
                    <a:pt x="102" y="249"/>
                    <a:pt x="102" y="249"/>
                    <a:pt x="102" y="249"/>
                  </a:cubicBezTo>
                  <a:close/>
                  <a:moveTo>
                    <a:pt x="102" y="86"/>
                  </a:moveTo>
                  <a:cubicBezTo>
                    <a:pt x="102" y="102"/>
                    <a:pt x="102" y="102"/>
                    <a:pt x="102" y="102"/>
                  </a:cubicBezTo>
                  <a:cubicBezTo>
                    <a:pt x="101" y="102"/>
                    <a:pt x="101" y="102"/>
                    <a:pt x="101" y="102"/>
                  </a:cubicBezTo>
                  <a:cubicBezTo>
                    <a:pt x="102" y="104"/>
                    <a:pt x="102" y="104"/>
                    <a:pt x="102" y="104"/>
                  </a:cubicBezTo>
                  <a:cubicBezTo>
                    <a:pt x="102" y="134"/>
                    <a:pt x="102" y="134"/>
                    <a:pt x="102" y="134"/>
                  </a:cubicBezTo>
                  <a:cubicBezTo>
                    <a:pt x="91" y="119"/>
                    <a:pt x="91" y="119"/>
                    <a:pt x="91" y="119"/>
                  </a:cubicBezTo>
                  <a:cubicBezTo>
                    <a:pt x="91" y="89"/>
                    <a:pt x="91" y="89"/>
                    <a:pt x="91" y="89"/>
                  </a:cubicBezTo>
                  <a:cubicBezTo>
                    <a:pt x="94" y="92"/>
                    <a:pt x="94" y="92"/>
                    <a:pt x="94" y="92"/>
                  </a:cubicBezTo>
                  <a:lnTo>
                    <a:pt x="102" y="86"/>
                  </a:lnTo>
                  <a:close/>
                  <a:moveTo>
                    <a:pt x="78" y="49"/>
                  </a:moveTo>
                  <a:cubicBezTo>
                    <a:pt x="91" y="40"/>
                    <a:pt x="91" y="40"/>
                    <a:pt x="91" y="40"/>
                  </a:cubicBezTo>
                  <a:cubicBezTo>
                    <a:pt x="91" y="64"/>
                    <a:pt x="91" y="64"/>
                    <a:pt x="91" y="64"/>
                  </a:cubicBezTo>
                  <a:cubicBezTo>
                    <a:pt x="89" y="60"/>
                    <a:pt x="89" y="60"/>
                    <a:pt x="89" y="60"/>
                  </a:cubicBezTo>
                  <a:cubicBezTo>
                    <a:pt x="78" y="68"/>
                    <a:pt x="78" y="68"/>
                    <a:pt x="78" y="68"/>
                  </a:cubicBezTo>
                  <a:cubicBezTo>
                    <a:pt x="78" y="49"/>
                    <a:pt x="78" y="49"/>
                    <a:pt x="78" y="49"/>
                  </a:cubicBezTo>
                  <a:close/>
                  <a:moveTo>
                    <a:pt x="91" y="234"/>
                  </a:moveTo>
                  <a:cubicBezTo>
                    <a:pt x="78" y="215"/>
                    <a:pt x="78" y="215"/>
                    <a:pt x="78" y="215"/>
                  </a:cubicBezTo>
                  <a:cubicBezTo>
                    <a:pt x="78" y="181"/>
                    <a:pt x="78" y="181"/>
                    <a:pt x="78" y="181"/>
                  </a:cubicBezTo>
                  <a:cubicBezTo>
                    <a:pt x="90" y="197"/>
                    <a:pt x="90" y="197"/>
                    <a:pt x="90" y="197"/>
                  </a:cubicBezTo>
                  <a:cubicBezTo>
                    <a:pt x="91" y="195"/>
                    <a:pt x="91" y="195"/>
                    <a:pt x="91" y="195"/>
                  </a:cubicBezTo>
                  <a:cubicBezTo>
                    <a:pt x="91" y="234"/>
                    <a:pt x="91" y="234"/>
                    <a:pt x="91" y="234"/>
                  </a:cubicBezTo>
                  <a:close/>
                  <a:moveTo>
                    <a:pt x="91" y="89"/>
                  </a:moveTo>
                  <a:cubicBezTo>
                    <a:pt x="91" y="119"/>
                    <a:pt x="91" y="119"/>
                    <a:pt x="91" y="119"/>
                  </a:cubicBezTo>
                  <a:cubicBezTo>
                    <a:pt x="87" y="112"/>
                    <a:pt x="87" y="112"/>
                    <a:pt x="87" y="112"/>
                  </a:cubicBezTo>
                  <a:cubicBezTo>
                    <a:pt x="78" y="118"/>
                    <a:pt x="78" y="118"/>
                    <a:pt x="78" y="118"/>
                  </a:cubicBezTo>
                  <a:cubicBezTo>
                    <a:pt x="78" y="103"/>
                    <a:pt x="78" y="103"/>
                    <a:pt x="78" y="103"/>
                  </a:cubicBezTo>
                  <a:cubicBezTo>
                    <a:pt x="80" y="102"/>
                    <a:pt x="80" y="102"/>
                    <a:pt x="80" y="102"/>
                  </a:cubicBezTo>
                  <a:cubicBezTo>
                    <a:pt x="78" y="100"/>
                    <a:pt x="78" y="100"/>
                    <a:pt x="78" y="100"/>
                  </a:cubicBezTo>
                  <a:cubicBezTo>
                    <a:pt x="78" y="70"/>
                    <a:pt x="78" y="70"/>
                    <a:pt x="78" y="70"/>
                  </a:cubicBezTo>
                  <a:cubicBezTo>
                    <a:pt x="91" y="89"/>
                    <a:pt x="91" y="89"/>
                    <a:pt x="91" y="89"/>
                  </a:cubicBezTo>
                  <a:close/>
                  <a:moveTo>
                    <a:pt x="91" y="144"/>
                  </a:moveTo>
                  <a:cubicBezTo>
                    <a:pt x="91" y="174"/>
                    <a:pt x="91" y="174"/>
                    <a:pt x="91" y="174"/>
                  </a:cubicBezTo>
                  <a:cubicBezTo>
                    <a:pt x="85" y="165"/>
                    <a:pt x="85" y="165"/>
                    <a:pt x="85" y="165"/>
                  </a:cubicBezTo>
                  <a:cubicBezTo>
                    <a:pt x="78" y="169"/>
                    <a:pt x="78" y="169"/>
                    <a:pt x="78" y="169"/>
                  </a:cubicBezTo>
                  <a:cubicBezTo>
                    <a:pt x="78" y="126"/>
                    <a:pt x="78" y="126"/>
                    <a:pt x="78" y="126"/>
                  </a:cubicBezTo>
                  <a:lnTo>
                    <a:pt x="91" y="144"/>
                  </a:lnTo>
                  <a:close/>
                  <a:moveTo>
                    <a:pt x="65" y="58"/>
                  </a:moveTo>
                  <a:cubicBezTo>
                    <a:pt x="78" y="49"/>
                    <a:pt x="78" y="49"/>
                    <a:pt x="78" y="49"/>
                  </a:cubicBezTo>
                  <a:cubicBezTo>
                    <a:pt x="78" y="68"/>
                    <a:pt x="78" y="68"/>
                    <a:pt x="78" y="68"/>
                  </a:cubicBezTo>
                  <a:cubicBezTo>
                    <a:pt x="77" y="68"/>
                    <a:pt x="77" y="68"/>
                    <a:pt x="77" y="68"/>
                  </a:cubicBezTo>
                  <a:cubicBezTo>
                    <a:pt x="78" y="70"/>
                    <a:pt x="78" y="70"/>
                    <a:pt x="78" y="70"/>
                  </a:cubicBezTo>
                  <a:cubicBezTo>
                    <a:pt x="78" y="100"/>
                    <a:pt x="78" y="100"/>
                    <a:pt x="78" y="100"/>
                  </a:cubicBezTo>
                  <a:cubicBezTo>
                    <a:pt x="65" y="82"/>
                    <a:pt x="65" y="82"/>
                    <a:pt x="65" y="82"/>
                  </a:cubicBezTo>
                  <a:cubicBezTo>
                    <a:pt x="65" y="58"/>
                    <a:pt x="65" y="58"/>
                    <a:pt x="65" y="58"/>
                  </a:cubicBezTo>
                  <a:close/>
                  <a:moveTo>
                    <a:pt x="78" y="215"/>
                  </a:moveTo>
                  <a:cubicBezTo>
                    <a:pt x="78" y="215"/>
                    <a:pt x="78" y="215"/>
                    <a:pt x="78" y="215"/>
                  </a:cubicBezTo>
                  <a:cubicBezTo>
                    <a:pt x="65" y="197"/>
                    <a:pt x="65" y="197"/>
                    <a:pt x="65" y="197"/>
                  </a:cubicBezTo>
                  <a:cubicBezTo>
                    <a:pt x="65" y="107"/>
                    <a:pt x="65" y="107"/>
                    <a:pt x="65" y="107"/>
                  </a:cubicBezTo>
                  <a:cubicBezTo>
                    <a:pt x="68" y="110"/>
                    <a:pt x="68" y="110"/>
                    <a:pt x="68" y="110"/>
                  </a:cubicBezTo>
                  <a:cubicBezTo>
                    <a:pt x="78" y="103"/>
                    <a:pt x="78" y="103"/>
                    <a:pt x="78" y="103"/>
                  </a:cubicBezTo>
                  <a:cubicBezTo>
                    <a:pt x="78" y="118"/>
                    <a:pt x="78" y="118"/>
                    <a:pt x="78" y="118"/>
                  </a:cubicBezTo>
                  <a:cubicBezTo>
                    <a:pt x="75" y="121"/>
                    <a:pt x="75" y="121"/>
                    <a:pt x="75" y="121"/>
                  </a:cubicBezTo>
                  <a:cubicBezTo>
                    <a:pt x="78" y="126"/>
                    <a:pt x="78" y="126"/>
                    <a:pt x="78" y="126"/>
                  </a:cubicBezTo>
                  <a:cubicBezTo>
                    <a:pt x="78" y="169"/>
                    <a:pt x="78" y="169"/>
                    <a:pt x="78" y="169"/>
                  </a:cubicBezTo>
                  <a:cubicBezTo>
                    <a:pt x="73" y="173"/>
                    <a:pt x="73" y="173"/>
                    <a:pt x="73" y="173"/>
                  </a:cubicBezTo>
                  <a:cubicBezTo>
                    <a:pt x="78" y="181"/>
                    <a:pt x="78" y="181"/>
                    <a:pt x="78" y="181"/>
                  </a:cubicBezTo>
                  <a:lnTo>
                    <a:pt x="78" y="215"/>
                  </a:lnTo>
                  <a:close/>
                  <a:moveTo>
                    <a:pt x="52" y="67"/>
                  </a:moveTo>
                  <a:cubicBezTo>
                    <a:pt x="65" y="58"/>
                    <a:pt x="65" y="58"/>
                    <a:pt x="65" y="58"/>
                  </a:cubicBezTo>
                  <a:cubicBezTo>
                    <a:pt x="65" y="82"/>
                    <a:pt x="65" y="82"/>
                    <a:pt x="65" y="82"/>
                  </a:cubicBezTo>
                  <a:cubicBezTo>
                    <a:pt x="63" y="78"/>
                    <a:pt x="63" y="78"/>
                    <a:pt x="63" y="78"/>
                  </a:cubicBezTo>
                  <a:cubicBezTo>
                    <a:pt x="52" y="86"/>
                    <a:pt x="52" y="86"/>
                    <a:pt x="52" y="86"/>
                  </a:cubicBezTo>
                  <a:cubicBezTo>
                    <a:pt x="52" y="67"/>
                    <a:pt x="52" y="67"/>
                    <a:pt x="52" y="67"/>
                  </a:cubicBezTo>
                  <a:close/>
                  <a:moveTo>
                    <a:pt x="65" y="197"/>
                  </a:moveTo>
                  <a:cubicBezTo>
                    <a:pt x="52" y="178"/>
                    <a:pt x="52" y="178"/>
                    <a:pt x="52" y="178"/>
                  </a:cubicBezTo>
                  <a:cubicBezTo>
                    <a:pt x="52" y="121"/>
                    <a:pt x="52" y="121"/>
                    <a:pt x="52" y="121"/>
                  </a:cubicBezTo>
                  <a:cubicBezTo>
                    <a:pt x="54" y="120"/>
                    <a:pt x="54" y="120"/>
                    <a:pt x="54" y="120"/>
                  </a:cubicBezTo>
                  <a:cubicBezTo>
                    <a:pt x="52" y="119"/>
                    <a:pt x="52" y="119"/>
                    <a:pt x="52" y="119"/>
                  </a:cubicBezTo>
                  <a:cubicBezTo>
                    <a:pt x="52" y="88"/>
                    <a:pt x="52" y="88"/>
                    <a:pt x="52" y="88"/>
                  </a:cubicBezTo>
                  <a:cubicBezTo>
                    <a:pt x="65" y="107"/>
                    <a:pt x="65" y="107"/>
                    <a:pt x="65" y="107"/>
                  </a:cubicBezTo>
                  <a:lnTo>
                    <a:pt x="65" y="197"/>
                  </a:lnTo>
                  <a:close/>
                  <a:moveTo>
                    <a:pt x="39" y="76"/>
                  </a:moveTo>
                  <a:cubicBezTo>
                    <a:pt x="52" y="67"/>
                    <a:pt x="52" y="67"/>
                    <a:pt x="52" y="67"/>
                  </a:cubicBezTo>
                  <a:cubicBezTo>
                    <a:pt x="52" y="86"/>
                    <a:pt x="52" y="86"/>
                    <a:pt x="52" y="86"/>
                  </a:cubicBezTo>
                  <a:cubicBezTo>
                    <a:pt x="51" y="87"/>
                    <a:pt x="51" y="87"/>
                    <a:pt x="51" y="87"/>
                  </a:cubicBezTo>
                  <a:cubicBezTo>
                    <a:pt x="52" y="88"/>
                    <a:pt x="52" y="88"/>
                    <a:pt x="52" y="88"/>
                  </a:cubicBezTo>
                  <a:cubicBezTo>
                    <a:pt x="52" y="119"/>
                    <a:pt x="52" y="119"/>
                    <a:pt x="52" y="119"/>
                  </a:cubicBezTo>
                  <a:cubicBezTo>
                    <a:pt x="39" y="100"/>
                    <a:pt x="39" y="100"/>
                    <a:pt x="39" y="100"/>
                  </a:cubicBezTo>
                  <a:cubicBezTo>
                    <a:pt x="39" y="76"/>
                    <a:pt x="39" y="76"/>
                    <a:pt x="39" y="76"/>
                  </a:cubicBezTo>
                  <a:close/>
                  <a:moveTo>
                    <a:pt x="52" y="178"/>
                  </a:moveTo>
                  <a:cubicBezTo>
                    <a:pt x="39" y="160"/>
                    <a:pt x="39" y="160"/>
                    <a:pt x="39" y="160"/>
                  </a:cubicBezTo>
                  <a:cubicBezTo>
                    <a:pt x="39" y="125"/>
                    <a:pt x="39" y="125"/>
                    <a:pt x="39" y="125"/>
                  </a:cubicBezTo>
                  <a:cubicBezTo>
                    <a:pt x="42" y="129"/>
                    <a:pt x="42" y="129"/>
                    <a:pt x="42" y="129"/>
                  </a:cubicBezTo>
                  <a:cubicBezTo>
                    <a:pt x="52" y="121"/>
                    <a:pt x="52" y="121"/>
                    <a:pt x="52" y="121"/>
                  </a:cubicBezTo>
                  <a:lnTo>
                    <a:pt x="52" y="178"/>
                  </a:lnTo>
                  <a:close/>
                  <a:moveTo>
                    <a:pt x="0" y="104"/>
                  </a:moveTo>
                  <a:cubicBezTo>
                    <a:pt x="39" y="76"/>
                    <a:pt x="39" y="76"/>
                    <a:pt x="39" y="76"/>
                  </a:cubicBezTo>
                  <a:cubicBezTo>
                    <a:pt x="39" y="100"/>
                    <a:pt x="39" y="100"/>
                    <a:pt x="39" y="100"/>
                  </a:cubicBezTo>
                  <a:cubicBezTo>
                    <a:pt x="37" y="97"/>
                    <a:pt x="37" y="97"/>
                    <a:pt x="37" y="97"/>
                  </a:cubicBezTo>
                  <a:cubicBezTo>
                    <a:pt x="33" y="100"/>
                    <a:pt x="29" y="102"/>
                    <a:pt x="25" y="105"/>
                  </a:cubicBezTo>
                  <a:cubicBezTo>
                    <a:pt x="39" y="125"/>
                    <a:pt x="39" y="125"/>
                    <a:pt x="39" y="125"/>
                  </a:cubicBezTo>
                  <a:cubicBezTo>
                    <a:pt x="39" y="160"/>
                    <a:pt x="39" y="160"/>
                    <a:pt x="39" y="160"/>
                  </a:cubicBezTo>
                  <a:lnTo>
                    <a:pt x="0" y="104"/>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7" name="ïŝľîḋè">
              <a:extLst>
                <a:ext uri="{FF2B5EF4-FFF2-40B4-BE49-F238E27FC236}">
                  <a16:creationId xmlns:a16="http://schemas.microsoft.com/office/drawing/2014/main" id="{AB94BC1B-7E93-4450-A56F-C200E2C920BE}"/>
                </a:ext>
              </a:extLst>
            </p:cNvPr>
            <p:cNvSpPr/>
            <p:nvPr/>
          </p:nvSpPr>
          <p:spPr bwMode="auto">
            <a:xfrm flipH="1">
              <a:off x="3977638" y="2203459"/>
              <a:ext cx="239292" cy="498501"/>
            </a:xfrm>
            <a:custGeom>
              <a:avLst/>
              <a:gdLst>
                <a:gd name="T0" fmla="*/ 129 w 143"/>
                <a:gd name="T1" fmla="*/ 305 h 305"/>
                <a:gd name="T2" fmla="*/ 143 w 143"/>
                <a:gd name="T3" fmla="*/ 301 h 305"/>
                <a:gd name="T4" fmla="*/ 109 w 143"/>
                <a:gd name="T5" fmla="*/ 199 h 305"/>
                <a:gd name="T6" fmla="*/ 78 w 143"/>
                <a:gd name="T7" fmla="*/ 105 h 305"/>
                <a:gd name="T8" fmla="*/ 87 w 143"/>
                <a:gd name="T9" fmla="*/ 73 h 305"/>
                <a:gd name="T10" fmla="*/ 86 w 143"/>
                <a:gd name="T11" fmla="*/ 71 h 305"/>
                <a:gd name="T12" fmla="*/ 100 w 143"/>
                <a:gd name="T13" fmla="*/ 43 h 305"/>
                <a:gd name="T14" fmla="*/ 83 w 143"/>
                <a:gd name="T15" fmla="*/ 28 h 305"/>
                <a:gd name="T16" fmla="*/ 82 w 143"/>
                <a:gd name="T17" fmla="*/ 24 h 305"/>
                <a:gd name="T18" fmla="*/ 45 w 143"/>
                <a:gd name="T19" fmla="*/ 5 h 305"/>
                <a:gd name="T20" fmla="*/ 27 w 143"/>
                <a:gd name="T21" fmla="*/ 21 h 305"/>
                <a:gd name="T22" fmla="*/ 24 w 143"/>
                <a:gd name="T23" fmla="*/ 22 h 305"/>
                <a:gd name="T24" fmla="*/ 5 w 143"/>
                <a:gd name="T25" fmla="*/ 59 h 305"/>
                <a:gd name="T26" fmla="*/ 29 w 143"/>
                <a:gd name="T27" fmla="*/ 79 h 305"/>
                <a:gd name="T28" fmla="*/ 31 w 143"/>
                <a:gd name="T29" fmla="*/ 92 h 305"/>
                <a:gd name="T30" fmla="*/ 65 w 143"/>
                <a:gd name="T31" fmla="*/ 111 h 305"/>
                <a:gd name="T32" fmla="*/ 95 w 143"/>
                <a:gd name="T33" fmla="*/ 203 h 305"/>
                <a:gd name="T34" fmla="*/ 129 w 143"/>
                <a:gd name="T35"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305">
                  <a:moveTo>
                    <a:pt x="129" y="305"/>
                  </a:moveTo>
                  <a:cubicBezTo>
                    <a:pt x="133" y="304"/>
                    <a:pt x="138" y="302"/>
                    <a:pt x="143" y="301"/>
                  </a:cubicBezTo>
                  <a:cubicBezTo>
                    <a:pt x="131" y="267"/>
                    <a:pt x="120" y="233"/>
                    <a:pt x="109" y="199"/>
                  </a:cubicBezTo>
                  <a:cubicBezTo>
                    <a:pt x="78" y="105"/>
                    <a:pt x="78" y="105"/>
                    <a:pt x="78" y="105"/>
                  </a:cubicBezTo>
                  <a:cubicBezTo>
                    <a:pt x="87" y="97"/>
                    <a:pt x="91" y="85"/>
                    <a:pt x="87" y="73"/>
                  </a:cubicBezTo>
                  <a:cubicBezTo>
                    <a:pt x="87" y="72"/>
                    <a:pt x="86" y="72"/>
                    <a:pt x="86" y="71"/>
                  </a:cubicBezTo>
                  <a:cubicBezTo>
                    <a:pt x="97" y="67"/>
                    <a:pt x="104" y="54"/>
                    <a:pt x="100" y="43"/>
                  </a:cubicBezTo>
                  <a:cubicBezTo>
                    <a:pt x="97" y="35"/>
                    <a:pt x="91" y="30"/>
                    <a:pt x="83" y="28"/>
                  </a:cubicBezTo>
                  <a:cubicBezTo>
                    <a:pt x="83" y="26"/>
                    <a:pt x="83" y="25"/>
                    <a:pt x="82" y="24"/>
                  </a:cubicBezTo>
                  <a:cubicBezTo>
                    <a:pt x="77" y="8"/>
                    <a:pt x="60" y="0"/>
                    <a:pt x="45" y="5"/>
                  </a:cubicBezTo>
                  <a:cubicBezTo>
                    <a:pt x="37" y="8"/>
                    <a:pt x="30" y="14"/>
                    <a:pt x="27" y="21"/>
                  </a:cubicBezTo>
                  <a:cubicBezTo>
                    <a:pt x="26" y="21"/>
                    <a:pt x="25" y="21"/>
                    <a:pt x="24" y="22"/>
                  </a:cubicBezTo>
                  <a:cubicBezTo>
                    <a:pt x="9" y="27"/>
                    <a:pt x="0" y="43"/>
                    <a:pt x="5" y="59"/>
                  </a:cubicBezTo>
                  <a:cubicBezTo>
                    <a:pt x="9" y="70"/>
                    <a:pt x="18" y="78"/>
                    <a:pt x="29" y="79"/>
                  </a:cubicBezTo>
                  <a:cubicBezTo>
                    <a:pt x="29" y="83"/>
                    <a:pt x="29" y="87"/>
                    <a:pt x="31" y="92"/>
                  </a:cubicBezTo>
                  <a:cubicBezTo>
                    <a:pt x="35" y="106"/>
                    <a:pt x="50" y="114"/>
                    <a:pt x="65" y="111"/>
                  </a:cubicBezTo>
                  <a:cubicBezTo>
                    <a:pt x="95" y="203"/>
                    <a:pt x="95" y="203"/>
                    <a:pt x="95" y="203"/>
                  </a:cubicBezTo>
                  <a:cubicBezTo>
                    <a:pt x="106" y="237"/>
                    <a:pt x="117" y="271"/>
                    <a:pt x="129" y="305"/>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8" name="îṥļîďé">
              <a:extLst>
                <a:ext uri="{FF2B5EF4-FFF2-40B4-BE49-F238E27FC236}">
                  <a16:creationId xmlns:a16="http://schemas.microsoft.com/office/drawing/2014/main" id="{BD64F7EA-F62D-4BBD-A66B-E92AC6753AD3}"/>
                </a:ext>
              </a:extLst>
            </p:cNvPr>
            <p:cNvSpPr/>
            <p:nvPr/>
          </p:nvSpPr>
          <p:spPr bwMode="auto">
            <a:xfrm flipH="1">
              <a:off x="3831983" y="2353720"/>
              <a:ext cx="204958" cy="312706"/>
            </a:xfrm>
            <a:custGeom>
              <a:avLst/>
              <a:gdLst>
                <a:gd name="T0" fmla="*/ 89 w 122"/>
                <a:gd name="T1" fmla="*/ 191 h 191"/>
                <a:gd name="T2" fmla="*/ 103 w 122"/>
                <a:gd name="T3" fmla="*/ 186 h 191"/>
                <a:gd name="T4" fmla="*/ 82 w 122"/>
                <a:gd name="T5" fmla="*/ 121 h 191"/>
                <a:gd name="T6" fmla="*/ 95 w 122"/>
                <a:gd name="T7" fmla="*/ 98 h 191"/>
                <a:gd name="T8" fmla="*/ 98 w 122"/>
                <a:gd name="T9" fmla="*/ 97 h 191"/>
                <a:gd name="T10" fmla="*/ 117 w 122"/>
                <a:gd name="T11" fmla="*/ 60 h 191"/>
                <a:gd name="T12" fmla="*/ 93 w 122"/>
                <a:gd name="T13" fmla="*/ 39 h 191"/>
                <a:gd name="T14" fmla="*/ 95 w 122"/>
                <a:gd name="T15" fmla="*/ 21 h 191"/>
                <a:gd name="T16" fmla="*/ 67 w 122"/>
                <a:gd name="T17" fmla="*/ 7 h 191"/>
                <a:gd name="T18" fmla="*/ 57 w 122"/>
                <a:gd name="T19" fmla="*/ 14 h 191"/>
                <a:gd name="T20" fmla="*/ 24 w 122"/>
                <a:gd name="T21" fmla="*/ 4 h 191"/>
                <a:gd name="T22" fmla="*/ 5 w 122"/>
                <a:gd name="T23" fmla="*/ 41 h 191"/>
                <a:gd name="T24" fmla="*/ 18 w 122"/>
                <a:gd name="T25" fmla="*/ 58 h 191"/>
                <a:gd name="T26" fmla="*/ 10 w 122"/>
                <a:gd name="T27" fmla="*/ 83 h 191"/>
                <a:gd name="T28" fmla="*/ 36 w 122"/>
                <a:gd name="T29" fmla="*/ 97 h 191"/>
                <a:gd name="T30" fmla="*/ 37 w 122"/>
                <a:gd name="T31" fmla="*/ 106 h 191"/>
                <a:gd name="T32" fmla="*/ 68 w 122"/>
                <a:gd name="T33" fmla="*/ 126 h 191"/>
                <a:gd name="T34" fmla="*/ 89 w 122"/>
                <a:gd name="T35"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91">
                  <a:moveTo>
                    <a:pt x="89" y="191"/>
                  </a:moveTo>
                  <a:cubicBezTo>
                    <a:pt x="94" y="189"/>
                    <a:pt x="98" y="188"/>
                    <a:pt x="103" y="186"/>
                  </a:cubicBezTo>
                  <a:cubicBezTo>
                    <a:pt x="82" y="121"/>
                    <a:pt x="82" y="121"/>
                    <a:pt x="82" y="121"/>
                  </a:cubicBezTo>
                  <a:cubicBezTo>
                    <a:pt x="90" y="116"/>
                    <a:pt x="94" y="107"/>
                    <a:pt x="95" y="98"/>
                  </a:cubicBezTo>
                  <a:cubicBezTo>
                    <a:pt x="96" y="98"/>
                    <a:pt x="97" y="97"/>
                    <a:pt x="98" y="97"/>
                  </a:cubicBezTo>
                  <a:cubicBezTo>
                    <a:pt x="114" y="92"/>
                    <a:pt x="122" y="75"/>
                    <a:pt x="117" y="60"/>
                  </a:cubicBezTo>
                  <a:cubicBezTo>
                    <a:pt x="113" y="48"/>
                    <a:pt x="104" y="41"/>
                    <a:pt x="93" y="39"/>
                  </a:cubicBezTo>
                  <a:cubicBezTo>
                    <a:pt x="96" y="34"/>
                    <a:pt x="97" y="27"/>
                    <a:pt x="95" y="21"/>
                  </a:cubicBezTo>
                  <a:cubicBezTo>
                    <a:pt x="91" y="9"/>
                    <a:pt x="79" y="3"/>
                    <a:pt x="67" y="7"/>
                  </a:cubicBezTo>
                  <a:cubicBezTo>
                    <a:pt x="63" y="8"/>
                    <a:pt x="59" y="11"/>
                    <a:pt x="57" y="14"/>
                  </a:cubicBezTo>
                  <a:cubicBezTo>
                    <a:pt x="49" y="4"/>
                    <a:pt x="36" y="0"/>
                    <a:pt x="24" y="4"/>
                  </a:cubicBezTo>
                  <a:cubicBezTo>
                    <a:pt x="8" y="9"/>
                    <a:pt x="0" y="26"/>
                    <a:pt x="5" y="41"/>
                  </a:cubicBezTo>
                  <a:cubicBezTo>
                    <a:pt x="7" y="48"/>
                    <a:pt x="12" y="54"/>
                    <a:pt x="18" y="58"/>
                  </a:cubicBezTo>
                  <a:cubicBezTo>
                    <a:pt x="10" y="63"/>
                    <a:pt x="7" y="73"/>
                    <a:pt x="10" y="83"/>
                  </a:cubicBezTo>
                  <a:cubicBezTo>
                    <a:pt x="14" y="94"/>
                    <a:pt x="25" y="100"/>
                    <a:pt x="36" y="97"/>
                  </a:cubicBezTo>
                  <a:cubicBezTo>
                    <a:pt x="36" y="100"/>
                    <a:pt x="36" y="103"/>
                    <a:pt x="37" y="106"/>
                  </a:cubicBezTo>
                  <a:cubicBezTo>
                    <a:pt x="42" y="119"/>
                    <a:pt x="54" y="127"/>
                    <a:pt x="68" y="126"/>
                  </a:cubicBezTo>
                  <a:lnTo>
                    <a:pt x="89" y="191"/>
                  </a:ln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9" name="í$ḻïďe">
              <a:extLst>
                <a:ext uri="{FF2B5EF4-FFF2-40B4-BE49-F238E27FC236}">
                  <a16:creationId xmlns:a16="http://schemas.microsoft.com/office/drawing/2014/main" id="{6F99713C-2615-4F56-A042-066D9CE2FCD4}"/>
                </a:ext>
              </a:extLst>
            </p:cNvPr>
            <p:cNvSpPr/>
            <p:nvPr/>
          </p:nvSpPr>
          <p:spPr bwMode="auto">
            <a:xfrm flipH="1">
              <a:off x="2792625" y="2208536"/>
              <a:ext cx="211201" cy="490379"/>
            </a:xfrm>
            <a:custGeom>
              <a:avLst/>
              <a:gdLst>
                <a:gd name="T0" fmla="*/ 8 w 126"/>
                <a:gd name="T1" fmla="*/ 297 h 300"/>
                <a:gd name="T2" fmla="*/ 22 w 126"/>
                <a:gd name="T3" fmla="*/ 300 h 300"/>
                <a:gd name="T4" fmla="*/ 44 w 126"/>
                <a:gd name="T5" fmla="*/ 198 h 300"/>
                <a:gd name="T6" fmla="*/ 61 w 126"/>
                <a:gd name="T7" fmla="*/ 118 h 300"/>
                <a:gd name="T8" fmla="*/ 68 w 126"/>
                <a:gd name="T9" fmla="*/ 122 h 300"/>
                <a:gd name="T10" fmla="*/ 95 w 126"/>
                <a:gd name="T11" fmla="*/ 107 h 300"/>
                <a:gd name="T12" fmla="*/ 94 w 126"/>
                <a:gd name="T13" fmla="*/ 90 h 300"/>
                <a:gd name="T14" fmla="*/ 122 w 126"/>
                <a:gd name="T15" fmla="*/ 68 h 300"/>
                <a:gd name="T16" fmla="*/ 101 w 126"/>
                <a:gd name="T17" fmla="*/ 32 h 300"/>
                <a:gd name="T18" fmla="*/ 91 w 126"/>
                <a:gd name="T19" fmla="*/ 31 h 300"/>
                <a:gd name="T20" fmla="*/ 69 w 126"/>
                <a:gd name="T21" fmla="*/ 4 h 300"/>
                <a:gd name="T22" fmla="*/ 33 w 126"/>
                <a:gd name="T23" fmla="*/ 25 h 300"/>
                <a:gd name="T24" fmla="*/ 43 w 126"/>
                <a:gd name="T25" fmla="*/ 56 h 300"/>
                <a:gd name="T26" fmla="*/ 28 w 126"/>
                <a:gd name="T27" fmla="*/ 70 h 300"/>
                <a:gd name="T28" fmla="*/ 4 w 126"/>
                <a:gd name="T29" fmla="*/ 91 h 300"/>
                <a:gd name="T30" fmla="*/ 25 w 126"/>
                <a:gd name="T31" fmla="*/ 127 h 300"/>
                <a:gd name="T32" fmla="*/ 44 w 126"/>
                <a:gd name="T33" fmla="*/ 126 h 300"/>
                <a:gd name="T34" fmla="*/ 30 w 126"/>
                <a:gd name="T35" fmla="*/ 194 h 300"/>
                <a:gd name="T36" fmla="*/ 8 w 126"/>
                <a:gd name="T37" fmla="*/ 29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300">
                  <a:moveTo>
                    <a:pt x="8" y="297"/>
                  </a:moveTo>
                  <a:cubicBezTo>
                    <a:pt x="13" y="298"/>
                    <a:pt x="18" y="299"/>
                    <a:pt x="22" y="300"/>
                  </a:cubicBezTo>
                  <a:cubicBezTo>
                    <a:pt x="30" y="266"/>
                    <a:pt x="37" y="232"/>
                    <a:pt x="44" y="198"/>
                  </a:cubicBezTo>
                  <a:cubicBezTo>
                    <a:pt x="61" y="118"/>
                    <a:pt x="61" y="118"/>
                    <a:pt x="61" y="118"/>
                  </a:cubicBezTo>
                  <a:cubicBezTo>
                    <a:pt x="63" y="120"/>
                    <a:pt x="66" y="121"/>
                    <a:pt x="68" y="122"/>
                  </a:cubicBezTo>
                  <a:cubicBezTo>
                    <a:pt x="80" y="125"/>
                    <a:pt x="92" y="118"/>
                    <a:pt x="95" y="107"/>
                  </a:cubicBezTo>
                  <a:cubicBezTo>
                    <a:pt x="97" y="101"/>
                    <a:pt x="96" y="95"/>
                    <a:pt x="94" y="90"/>
                  </a:cubicBezTo>
                  <a:cubicBezTo>
                    <a:pt x="107" y="90"/>
                    <a:pt x="118" y="82"/>
                    <a:pt x="122" y="68"/>
                  </a:cubicBezTo>
                  <a:cubicBezTo>
                    <a:pt x="126" y="53"/>
                    <a:pt x="117" y="36"/>
                    <a:pt x="101" y="32"/>
                  </a:cubicBezTo>
                  <a:cubicBezTo>
                    <a:pt x="98" y="31"/>
                    <a:pt x="95" y="31"/>
                    <a:pt x="91" y="31"/>
                  </a:cubicBezTo>
                  <a:cubicBezTo>
                    <a:pt x="91" y="19"/>
                    <a:pt x="82" y="7"/>
                    <a:pt x="69" y="4"/>
                  </a:cubicBezTo>
                  <a:cubicBezTo>
                    <a:pt x="54" y="0"/>
                    <a:pt x="37" y="9"/>
                    <a:pt x="33" y="25"/>
                  </a:cubicBezTo>
                  <a:cubicBezTo>
                    <a:pt x="30" y="36"/>
                    <a:pt x="34" y="48"/>
                    <a:pt x="43" y="56"/>
                  </a:cubicBezTo>
                  <a:cubicBezTo>
                    <a:pt x="37" y="58"/>
                    <a:pt x="31" y="63"/>
                    <a:pt x="28" y="70"/>
                  </a:cubicBezTo>
                  <a:cubicBezTo>
                    <a:pt x="17" y="71"/>
                    <a:pt x="7" y="80"/>
                    <a:pt x="4" y="91"/>
                  </a:cubicBezTo>
                  <a:cubicBezTo>
                    <a:pt x="0" y="107"/>
                    <a:pt x="9" y="123"/>
                    <a:pt x="25" y="127"/>
                  </a:cubicBezTo>
                  <a:cubicBezTo>
                    <a:pt x="32" y="129"/>
                    <a:pt x="38" y="129"/>
                    <a:pt x="44" y="126"/>
                  </a:cubicBezTo>
                  <a:cubicBezTo>
                    <a:pt x="30" y="194"/>
                    <a:pt x="30" y="194"/>
                    <a:pt x="30" y="194"/>
                  </a:cubicBezTo>
                  <a:cubicBezTo>
                    <a:pt x="22" y="228"/>
                    <a:pt x="15" y="263"/>
                    <a:pt x="8" y="297"/>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0" name="íṧḷîḓê">
              <a:extLst>
                <a:ext uri="{FF2B5EF4-FFF2-40B4-BE49-F238E27FC236}">
                  <a16:creationId xmlns:a16="http://schemas.microsoft.com/office/drawing/2014/main" id="{E6108474-EE21-413F-9477-5E832998E43A}"/>
                </a:ext>
              </a:extLst>
            </p:cNvPr>
            <p:cNvSpPr/>
            <p:nvPr/>
          </p:nvSpPr>
          <p:spPr bwMode="auto">
            <a:xfrm flipH="1">
              <a:off x="2914351" y="2259299"/>
              <a:ext cx="299635" cy="404081"/>
            </a:xfrm>
            <a:custGeom>
              <a:avLst/>
              <a:gdLst>
                <a:gd name="T0" fmla="*/ 31 w 179"/>
                <a:gd name="T1" fmla="*/ 244 h 247"/>
                <a:gd name="T2" fmla="*/ 45 w 179"/>
                <a:gd name="T3" fmla="*/ 247 h 247"/>
                <a:gd name="T4" fmla="*/ 60 w 179"/>
                <a:gd name="T5" fmla="*/ 176 h 247"/>
                <a:gd name="T6" fmla="*/ 70 w 179"/>
                <a:gd name="T7" fmla="*/ 179 h 247"/>
                <a:gd name="T8" fmla="*/ 92 w 179"/>
                <a:gd name="T9" fmla="*/ 160 h 247"/>
                <a:gd name="T10" fmla="*/ 101 w 179"/>
                <a:gd name="T11" fmla="*/ 161 h 247"/>
                <a:gd name="T12" fmla="*/ 131 w 179"/>
                <a:gd name="T13" fmla="*/ 133 h 247"/>
                <a:gd name="T14" fmla="*/ 112 w 179"/>
                <a:gd name="T15" fmla="*/ 104 h 247"/>
                <a:gd name="T16" fmla="*/ 114 w 179"/>
                <a:gd name="T17" fmla="*/ 94 h 247"/>
                <a:gd name="T18" fmla="*/ 86 w 179"/>
                <a:gd name="T19" fmla="*/ 64 h 247"/>
                <a:gd name="T20" fmla="*/ 57 w 179"/>
                <a:gd name="T21" fmla="*/ 84 h 247"/>
                <a:gd name="T22" fmla="*/ 41 w 179"/>
                <a:gd name="T23" fmla="*/ 77 h 247"/>
                <a:gd name="T24" fmla="*/ 19 w 179"/>
                <a:gd name="T25" fmla="*/ 98 h 247"/>
                <a:gd name="T26" fmla="*/ 22 w 179"/>
                <a:gd name="T27" fmla="*/ 111 h 247"/>
                <a:gd name="T28" fmla="*/ 0 w 179"/>
                <a:gd name="T29" fmla="*/ 138 h 247"/>
                <a:gd name="T30" fmla="*/ 29 w 179"/>
                <a:gd name="T31" fmla="*/ 169 h 247"/>
                <a:gd name="T32" fmla="*/ 48 w 179"/>
                <a:gd name="T33" fmla="*/ 163 h 247"/>
                <a:gd name="T34" fmla="*/ 31 w 179"/>
                <a:gd name="T35" fmla="*/ 244 h 247"/>
                <a:gd name="T36" fmla="*/ 149 w 179"/>
                <a:gd name="T37" fmla="*/ 45 h 247"/>
                <a:gd name="T38" fmla="*/ 176 w 179"/>
                <a:gd name="T39" fmla="*/ 30 h 247"/>
                <a:gd name="T40" fmla="*/ 160 w 179"/>
                <a:gd name="T41" fmla="*/ 3 h 247"/>
                <a:gd name="T42" fmla="*/ 133 w 179"/>
                <a:gd name="T43" fmla="*/ 18 h 247"/>
                <a:gd name="T44" fmla="*/ 149 w 179"/>
                <a:gd name="T45" fmla="*/ 4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247">
                  <a:moveTo>
                    <a:pt x="31" y="244"/>
                  </a:moveTo>
                  <a:cubicBezTo>
                    <a:pt x="36" y="245"/>
                    <a:pt x="41" y="246"/>
                    <a:pt x="45" y="247"/>
                  </a:cubicBezTo>
                  <a:cubicBezTo>
                    <a:pt x="60" y="176"/>
                    <a:pt x="60" y="176"/>
                    <a:pt x="60" y="176"/>
                  </a:cubicBezTo>
                  <a:cubicBezTo>
                    <a:pt x="63" y="178"/>
                    <a:pt x="66" y="179"/>
                    <a:pt x="70" y="179"/>
                  </a:cubicBezTo>
                  <a:cubicBezTo>
                    <a:pt x="81" y="179"/>
                    <a:pt x="91" y="171"/>
                    <a:pt x="92" y="160"/>
                  </a:cubicBezTo>
                  <a:cubicBezTo>
                    <a:pt x="95" y="161"/>
                    <a:pt x="98" y="161"/>
                    <a:pt x="101" y="161"/>
                  </a:cubicBezTo>
                  <a:cubicBezTo>
                    <a:pt x="117" y="162"/>
                    <a:pt x="131" y="150"/>
                    <a:pt x="131" y="133"/>
                  </a:cubicBezTo>
                  <a:cubicBezTo>
                    <a:pt x="132" y="120"/>
                    <a:pt x="124" y="108"/>
                    <a:pt x="112" y="104"/>
                  </a:cubicBezTo>
                  <a:cubicBezTo>
                    <a:pt x="113" y="101"/>
                    <a:pt x="114" y="98"/>
                    <a:pt x="114" y="94"/>
                  </a:cubicBezTo>
                  <a:cubicBezTo>
                    <a:pt x="115" y="78"/>
                    <a:pt x="102" y="64"/>
                    <a:pt x="86" y="64"/>
                  </a:cubicBezTo>
                  <a:cubicBezTo>
                    <a:pt x="72" y="63"/>
                    <a:pt x="61" y="72"/>
                    <a:pt x="57" y="84"/>
                  </a:cubicBezTo>
                  <a:cubicBezTo>
                    <a:pt x="53" y="80"/>
                    <a:pt x="47" y="78"/>
                    <a:pt x="41" y="77"/>
                  </a:cubicBezTo>
                  <a:cubicBezTo>
                    <a:pt x="29" y="77"/>
                    <a:pt x="19" y="86"/>
                    <a:pt x="19" y="98"/>
                  </a:cubicBezTo>
                  <a:cubicBezTo>
                    <a:pt x="18" y="103"/>
                    <a:pt x="20" y="107"/>
                    <a:pt x="22" y="111"/>
                  </a:cubicBezTo>
                  <a:cubicBezTo>
                    <a:pt x="10" y="114"/>
                    <a:pt x="1" y="125"/>
                    <a:pt x="0" y="138"/>
                  </a:cubicBezTo>
                  <a:cubicBezTo>
                    <a:pt x="0" y="154"/>
                    <a:pt x="12" y="168"/>
                    <a:pt x="29" y="169"/>
                  </a:cubicBezTo>
                  <a:cubicBezTo>
                    <a:pt x="36" y="169"/>
                    <a:pt x="43" y="167"/>
                    <a:pt x="48" y="163"/>
                  </a:cubicBezTo>
                  <a:cubicBezTo>
                    <a:pt x="31" y="244"/>
                    <a:pt x="31" y="244"/>
                    <a:pt x="31" y="244"/>
                  </a:cubicBezTo>
                  <a:close/>
                  <a:moveTo>
                    <a:pt x="149" y="45"/>
                  </a:moveTo>
                  <a:cubicBezTo>
                    <a:pt x="160" y="48"/>
                    <a:pt x="172" y="41"/>
                    <a:pt x="176" y="30"/>
                  </a:cubicBezTo>
                  <a:cubicBezTo>
                    <a:pt x="179" y="18"/>
                    <a:pt x="172" y="6"/>
                    <a:pt x="160" y="3"/>
                  </a:cubicBezTo>
                  <a:cubicBezTo>
                    <a:pt x="148" y="0"/>
                    <a:pt x="136" y="6"/>
                    <a:pt x="133" y="18"/>
                  </a:cubicBezTo>
                  <a:cubicBezTo>
                    <a:pt x="130" y="30"/>
                    <a:pt x="137" y="42"/>
                    <a:pt x="149" y="45"/>
                  </a:cubicBez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1" name="îşlïḋê">
              <a:extLst>
                <a:ext uri="{FF2B5EF4-FFF2-40B4-BE49-F238E27FC236}">
                  <a16:creationId xmlns:a16="http://schemas.microsoft.com/office/drawing/2014/main" id="{07DC7448-DE5C-4314-B152-4C8479051D80}"/>
                </a:ext>
              </a:extLst>
            </p:cNvPr>
            <p:cNvSpPr/>
            <p:nvPr/>
          </p:nvSpPr>
          <p:spPr bwMode="auto">
            <a:xfrm flipH="1">
              <a:off x="2400395" y="2562867"/>
              <a:ext cx="392230" cy="338088"/>
            </a:xfrm>
            <a:custGeom>
              <a:avLst/>
              <a:gdLst>
                <a:gd name="T0" fmla="*/ 202 w 234"/>
                <a:gd name="T1" fmla="*/ 132 h 207"/>
                <a:gd name="T2" fmla="*/ 215 w 234"/>
                <a:gd name="T3" fmla="*/ 102 h 207"/>
                <a:gd name="T4" fmla="*/ 222 w 234"/>
                <a:gd name="T5" fmla="*/ 94 h 207"/>
                <a:gd name="T6" fmla="*/ 210 w 234"/>
                <a:gd name="T7" fmla="*/ 168 h 207"/>
                <a:gd name="T8" fmla="*/ 193 w 234"/>
                <a:gd name="T9" fmla="*/ 97 h 207"/>
                <a:gd name="T10" fmla="*/ 202 w 234"/>
                <a:gd name="T11" fmla="*/ 124 h 207"/>
                <a:gd name="T12" fmla="*/ 184 w 234"/>
                <a:gd name="T13" fmla="*/ 92 h 207"/>
                <a:gd name="T14" fmla="*/ 202 w 234"/>
                <a:gd name="T15" fmla="*/ 81 h 207"/>
                <a:gd name="T16" fmla="*/ 179 w 234"/>
                <a:gd name="T17" fmla="*/ 132 h 207"/>
                <a:gd name="T18" fmla="*/ 189 w 234"/>
                <a:gd name="T19" fmla="*/ 159 h 207"/>
                <a:gd name="T20" fmla="*/ 202 w 234"/>
                <a:gd name="T21" fmla="*/ 180 h 207"/>
                <a:gd name="T22" fmla="*/ 170 w 234"/>
                <a:gd name="T23" fmla="*/ 75 h 207"/>
                <a:gd name="T24" fmla="*/ 154 w 234"/>
                <a:gd name="T25" fmla="*/ 52 h 207"/>
                <a:gd name="T26" fmla="*/ 154 w 234"/>
                <a:gd name="T27" fmla="*/ 102 h 207"/>
                <a:gd name="T28" fmla="*/ 179 w 234"/>
                <a:gd name="T29" fmla="*/ 101 h 207"/>
                <a:gd name="T30" fmla="*/ 154 w 234"/>
                <a:gd name="T31" fmla="*/ 116 h 207"/>
                <a:gd name="T32" fmla="*/ 154 w 234"/>
                <a:gd name="T33" fmla="*/ 141 h 207"/>
                <a:gd name="T34" fmla="*/ 178 w 234"/>
                <a:gd name="T35" fmla="*/ 202 h 207"/>
                <a:gd name="T36" fmla="*/ 167 w 234"/>
                <a:gd name="T37" fmla="*/ 154 h 207"/>
                <a:gd name="T38" fmla="*/ 179 w 234"/>
                <a:gd name="T39" fmla="*/ 124 h 207"/>
                <a:gd name="T40" fmla="*/ 162 w 234"/>
                <a:gd name="T41" fmla="*/ 193 h 207"/>
                <a:gd name="T42" fmla="*/ 154 w 234"/>
                <a:gd name="T43" fmla="*/ 93 h 207"/>
                <a:gd name="T44" fmla="*/ 146 w 234"/>
                <a:gd name="T45" fmla="*/ 81 h 207"/>
                <a:gd name="T46" fmla="*/ 136 w 234"/>
                <a:gd name="T47" fmla="*/ 54 h 207"/>
                <a:gd name="T48" fmla="*/ 136 w 234"/>
                <a:gd name="T49" fmla="*/ 98 h 207"/>
                <a:gd name="T50" fmla="*/ 154 w 234"/>
                <a:gd name="T51" fmla="*/ 116 h 207"/>
                <a:gd name="T52" fmla="*/ 140 w 234"/>
                <a:gd name="T53" fmla="*/ 179 h 207"/>
                <a:gd name="T54" fmla="*/ 154 w 234"/>
                <a:gd name="T55" fmla="*/ 141 h 207"/>
                <a:gd name="T56" fmla="*/ 154 w 234"/>
                <a:gd name="T57" fmla="*/ 198 h 207"/>
                <a:gd name="T58" fmla="*/ 126 w 234"/>
                <a:gd name="T59" fmla="*/ 57 h 207"/>
                <a:gd name="T60" fmla="*/ 136 w 234"/>
                <a:gd name="T61" fmla="*/ 84 h 207"/>
                <a:gd name="T62" fmla="*/ 118 w 234"/>
                <a:gd name="T63" fmla="*/ 52 h 207"/>
                <a:gd name="T64" fmla="*/ 136 w 234"/>
                <a:gd name="T65" fmla="*/ 41 h 207"/>
                <a:gd name="T66" fmla="*/ 114 w 234"/>
                <a:gd name="T67" fmla="*/ 92 h 207"/>
                <a:gd name="T68" fmla="*/ 113 w 234"/>
                <a:gd name="T69" fmla="*/ 121 h 207"/>
                <a:gd name="T70" fmla="*/ 136 w 234"/>
                <a:gd name="T71" fmla="*/ 135 h 207"/>
                <a:gd name="T72" fmla="*/ 136 w 234"/>
                <a:gd name="T73" fmla="*/ 98 h 207"/>
                <a:gd name="T74" fmla="*/ 93 w 234"/>
                <a:gd name="T75" fmla="*/ 36 h 207"/>
                <a:gd name="T76" fmla="*/ 112 w 234"/>
                <a:gd name="T77" fmla="*/ 60 h 207"/>
                <a:gd name="T78" fmla="*/ 80 w 234"/>
                <a:gd name="T79" fmla="*/ 39 h 207"/>
                <a:gd name="T80" fmla="*/ 80 w 234"/>
                <a:gd name="T81" fmla="*/ 7 h 207"/>
                <a:gd name="T82" fmla="*/ 80 w 234"/>
                <a:gd name="T83" fmla="*/ 71 h 207"/>
                <a:gd name="T84" fmla="*/ 90 w 234"/>
                <a:gd name="T85" fmla="*/ 98 h 207"/>
                <a:gd name="T86" fmla="*/ 108 w 234"/>
                <a:gd name="T87" fmla="*/ 159 h 207"/>
                <a:gd name="T88" fmla="*/ 100 w 234"/>
                <a:gd name="T89" fmla="*/ 113 h 207"/>
                <a:gd name="T90" fmla="*/ 113 w 234"/>
                <a:gd name="T91" fmla="*/ 84 h 207"/>
                <a:gd name="T92" fmla="*/ 56 w 234"/>
                <a:gd name="T93" fmla="*/ 117 h 207"/>
                <a:gd name="T94" fmla="*/ 70 w 234"/>
                <a:gd name="T95" fmla="*/ 14 h 207"/>
                <a:gd name="T96" fmla="*/ 76 w 234"/>
                <a:gd name="T97" fmla="*/ 4 h 207"/>
                <a:gd name="T98" fmla="*/ 56 w 234"/>
                <a:gd name="T99" fmla="*/ 42 h 207"/>
                <a:gd name="T100" fmla="*/ 79 w 234"/>
                <a:gd name="T101" fmla="*/ 40 h 207"/>
                <a:gd name="T102" fmla="*/ 56 w 234"/>
                <a:gd name="T103" fmla="*/ 56 h 207"/>
                <a:gd name="T104" fmla="*/ 56 w 234"/>
                <a:gd name="T105" fmla="*/ 112 h 207"/>
                <a:gd name="T106" fmla="*/ 80 w 234"/>
                <a:gd name="T107" fmla="*/ 101 h 207"/>
                <a:gd name="T108" fmla="*/ 70 w 234"/>
                <a:gd name="T109" fmla="*/ 74 h 207"/>
                <a:gd name="T110" fmla="*/ 50 w 234"/>
                <a:gd name="T111" fmla="*/ 136 h 207"/>
                <a:gd name="T112" fmla="*/ 56 w 234"/>
                <a:gd name="T113" fmla="*/ 5 h 207"/>
                <a:gd name="T114" fmla="*/ 56 w 234"/>
                <a:gd name="T115" fmla="*/ 42 h 207"/>
                <a:gd name="T116" fmla="*/ 56 w 234"/>
                <a:gd name="T117" fmla="*/ 56 h 207"/>
                <a:gd name="T118" fmla="*/ 0 w 234"/>
                <a:gd name="T119" fmla="*/ 94 h 207"/>
                <a:gd name="T120" fmla="*/ 34 w 234"/>
                <a:gd name="T121" fmla="*/ 11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4" h="207">
                  <a:moveTo>
                    <a:pt x="202" y="180"/>
                  </a:moveTo>
                  <a:cubicBezTo>
                    <a:pt x="202" y="137"/>
                    <a:pt x="202" y="137"/>
                    <a:pt x="202" y="137"/>
                  </a:cubicBezTo>
                  <a:cubicBezTo>
                    <a:pt x="205" y="133"/>
                    <a:pt x="205" y="133"/>
                    <a:pt x="205" y="133"/>
                  </a:cubicBezTo>
                  <a:cubicBezTo>
                    <a:pt x="202" y="132"/>
                    <a:pt x="202" y="132"/>
                    <a:pt x="202" y="132"/>
                  </a:cubicBezTo>
                  <a:cubicBezTo>
                    <a:pt x="202" y="124"/>
                    <a:pt x="202" y="124"/>
                    <a:pt x="202" y="124"/>
                  </a:cubicBezTo>
                  <a:cubicBezTo>
                    <a:pt x="206" y="126"/>
                    <a:pt x="210" y="125"/>
                    <a:pt x="212" y="121"/>
                  </a:cubicBezTo>
                  <a:cubicBezTo>
                    <a:pt x="214" y="118"/>
                    <a:pt x="216" y="115"/>
                    <a:pt x="218" y="112"/>
                  </a:cubicBezTo>
                  <a:cubicBezTo>
                    <a:pt x="220" y="109"/>
                    <a:pt x="219" y="104"/>
                    <a:pt x="215" y="102"/>
                  </a:cubicBezTo>
                  <a:cubicBezTo>
                    <a:pt x="211" y="100"/>
                    <a:pt x="207" y="97"/>
                    <a:pt x="203" y="95"/>
                  </a:cubicBezTo>
                  <a:cubicBezTo>
                    <a:pt x="203" y="95"/>
                    <a:pt x="203" y="95"/>
                    <a:pt x="202" y="94"/>
                  </a:cubicBezTo>
                  <a:cubicBezTo>
                    <a:pt x="202" y="81"/>
                    <a:pt x="202" y="81"/>
                    <a:pt x="202" y="81"/>
                  </a:cubicBezTo>
                  <a:cubicBezTo>
                    <a:pt x="222" y="94"/>
                    <a:pt x="222" y="94"/>
                    <a:pt x="222" y="94"/>
                  </a:cubicBezTo>
                  <a:cubicBezTo>
                    <a:pt x="231" y="99"/>
                    <a:pt x="234" y="109"/>
                    <a:pt x="229" y="117"/>
                  </a:cubicBezTo>
                  <a:cubicBezTo>
                    <a:pt x="221" y="130"/>
                    <a:pt x="213" y="143"/>
                    <a:pt x="205" y="156"/>
                  </a:cubicBezTo>
                  <a:cubicBezTo>
                    <a:pt x="206" y="156"/>
                    <a:pt x="206" y="157"/>
                    <a:pt x="206" y="157"/>
                  </a:cubicBezTo>
                  <a:cubicBezTo>
                    <a:pt x="210" y="159"/>
                    <a:pt x="212" y="164"/>
                    <a:pt x="210" y="168"/>
                  </a:cubicBezTo>
                  <a:lnTo>
                    <a:pt x="202" y="180"/>
                  </a:lnTo>
                  <a:close/>
                  <a:moveTo>
                    <a:pt x="202" y="81"/>
                  </a:moveTo>
                  <a:cubicBezTo>
                    <a:pt x="202" y="94"/>
                    <a:pt x="202" y="94"/>
                    <a:pt x="202" y="94"/>
                  </a:cubicBezTo>
                  <a:cubicBezTo>
                    <a:pt x="199" y="93"/>
                    <a:pt x="195" y="94"/>
                    <a:pt x="193" y="97"/>
                  </a:cubicBezTo>
                  <a:cubicBezTo>
                    <a:pt x="191" y="100"/>
                    <a:pt x="189" y="103"/>
                    <a:pt x="187" y="106"/>
                  </a:cubicBezTo>
                  <a:cubicBezTo>
                    <a:pt x="185" y="110"/>
                    <a:pt x="186" y="114"/>
                    <a:pt x="190" y="116"/>
                  </a:cubicBezTo>
                  <a:cubicBezTo>
                    <a:pt x="194" y="119"/>
                    <a:pt x="198" y="121"/>
                    <a:pt x="202" y="124"/>
                  </a:cubicBezTo>
                  <a:cubicBezTo>
                    <a:pt x="202" y="124"/>
                    <a:pt x="202" y="124"/>
                    <a:pt x="202" y="124"/>
                  </a:cubicBezTo>
                  <a:cubicBezTo>
                    <a:pt x="202" y="132"/>
                    <a:pt x="202" y="132"/>
                    <a:pt x="202" y="132"/>
                  </a:cubicBezTo>
                  <a:cubicBezTo>
                    <a:pt x="179" y="118"/>
                    <a:pt x="179" y="118"/>
                    <a:pt x="179" y="118"/>
                  </a:cubicBezTo>
                  <a:cubicBezTo>
                    <a:pt x="179" y="100"/>
                    <a:pt x="179" y="100"/>
                    <a:pt x="179" y="100"/>
                  </a:cubicBezTo>
                  <a:cubicBezTo>
                    <a:pt x="184" y="92"/>
                    <a:pt x="184" y="92"/>
                    <a:pt x="184" y="92"/>
                  </a:cubicBezTo>
                  <a:cubicBezTo>
                    <a:pt x="186" y="89"/>
                    <a:pt x="185" y="84"/>
                    <a:pt x="182" y="82"/>
                  </a:cubicBezTo>
                  <a:cubicBezTo>
                    <a:pt x="179" y="80"/>
                    <a:pt x="179" y="80"/>
                    <a:pt x="179" y="80"/>
                  </a:cubicBezTo>
                  <a:cubicBezTo>
                    <a:pt x="179" y="68"/>
                    <a:pt x="179" y="68"/>
                    <a:pt x="179" y="68"/>
                  </a:cubicBezTo>
                  <a:cubicBezTo>
                    <a:pt x="202" y="81"/>
                    <a:pt x="202" y="81"/>
                    <a:pt x="202" y="81"/>
                  </a:cubicBezTo>
                  <a:close/>
                  <a:moveTo>
                    <a:pt x="202" y="137"/>
                  </a:moveTo>
                  <a:cubicBezTo>
                    <a:pt x="202" y="138"/>
                    <a:pt x="202" y="138"/>
                    <a:pt x="202" y="138"/>
                  </a:cubicBezTo>
                  <a:cubicBezTo>
                    <a:pt x="179" y="124"/>
                    <a:pt x="179" y="124"/>
                    <a:pt x="179" y="124"/>
                  </a:cubicBezTo>
                  <a:cubicBezTo>
                    <a:pt x="179" y="132"/>
                    <a:pt x="179" y="132"/>
                    <a:pt x="179" y="132"/>
                  </a:cubicBezTo>
                  <a:cubicBezTo>
                    <a:pt x="180" y="132"/>
                    <a:pt x="180" y="132"/>
                    <a:pt x="180" y="132"/>
                  </a:cubicBezTo>
                  <a:cubicBezTo>
                    <a:pt x="184" y="135"/>
                    <a:pt x="188" y="137"/>
                    <a:pt x="192" y="140"/>
                  </a:cubicBezTo>
                  <a:cubicBezTo>
                    <a:pt x="196" y="142"/>
                    <a:pt x="197" y="146"/>
                    <a:pt x="195" y="150"/>
                  </a:cubicBezTo>
                  <a:cubicBezTo>
                    <a:pt x="193" y="153"/>
                    <a:pt x="191" y="156"/>
                    <a:pt x="189" y="159"/>
                  </a:cubicBezTo>
                  <a:cubicBezTo>
                    <a:pt x="187" y="162"/>
                    <a:pt x="183" y="163"/>
                    <a:pt x="179" y="162"/>
                  </a:cubicBezTo>
                  <a:cubicBezTo>
                    <a:pt x="179" y="203"/>
                    <a:pt x="179" y="203"/>
                    <a:pt x="179" y="203"/>
                  </a:cubicBezTo>
                  <a:cubicBezTo>
                    <a:pt x="186" y="207"/>
                    <a:pt x="186" y="207"/>
                    <a:pt x="186" y="207"/>
                  </a:cubicBezTo>
                  <a:cubicBezTo>
                    <a:pt x="202" y="180"/>
                    <a:pt x="202" y="180"/>
                    <a:pt x="202" y="180"/>
                  </a:cubicBezTo>
                  <a:lnTo>
                    <a:pt x="202" y="137"/>
                  </a:lnTo>
                  <a:close/>
                  <a:moveTo>
                    <a:pt x="179" y="68"/>
                  </a:moveTo>
                  <a:cubicBezTo>
                    <a:pt x="179" y="80"/>
                    <a:pt x="179" y="80"/>
                    <a:pt x="179" y="80"/>
                  </a:cubicBezTo>
                  <a:cubicBezTo>
                    <a:pt x="170" y="75"/>
                    <a:pt x="170" y="75"/>
                    <a:pt x="170" y="75"/>
                  </a:cubicBezTo>
                  <a:cubicBezTo>
                    <a:pt x="166" y="72"/>
                    <a:pt x="161" y="73"/>
                    <a:pt x="159" y="77"/>
                  </a:cubicBezTo>
                  <a:cubicBezTo>
                    <a:pt x="158" y="80"/>
                    <a:pt x="156" y="83"/>
                    <a:pt x="154" y="86"/>
                  </a:cubicBezTo>
                  <a:cubicBezTo>
                    <a:pt x="154" y="86"/>
                    <a:pt x="154" y="86"/>
                    <a:pt x="154" y="86"/>
                  </a:cubicBezTo>
                  <a:cubicBezTo>
                    <a:pt x="154" y="52"/>
                    <a:pt x="154" y="52"/>
                    <a:pt x="154" y="52"/>
                  </a:cubicBezTo>
                  <a:cubicBezTo>
                    <a:pt x="179" y="68"/>
                    <a:pt x="179" y="68"/>
                    <a:pt x="179" y="68"/>
                  </a:cubicBezTo>
                  <a:close/>
                  <a:moveTo>
                    <a:pt x="179" y="100"/>
                  </a:moveTo>
                  <a:cubicBezTo>
                    <a:pt x="179" y="118"/>
                    <a:pt x="179" y="118"/>
                    <a:pt x="179" y="118"/>
                  </a:cubicBezTo>
                  <a:cubicBezTo>
                    <a:pt x="154" y="102"/>
                    <a:pt x="154" y="102"/>
                    <a:pt x="154" y="102"/>
                  </a:cubicBezTo>
                  <a:cubicBezTo>
                    <a:pt x="154" y="93"/>
                    <a:pt x="154" y="93"/>
                    <a:pt x="154" y="93"/>
                  </a:cubicBezTo>
                  <a:cubicBezTo>
                    <a:pt x="154" y="94"/>
                    <a:pt x="155" y="95"/>
                    <a:pt x="157" y="96"/>
                  </a:cubicBezTo>
                  <a:cubicBezTo>
                    <a:pt x="161" y="99"/>
                    <a:pt x="165" y="101"/>
                    <a:pt x="169" y="104"/>
                  </a:cubicBezTo>
                  <a:cubicBezTo>
                    <a:pt x="172" y="106"/>
                    <a:pt x="177" y="105"/>
                    <a:pt x="179" y="101"/>
                  </a:cubicBezTo>
                  <a:cubicBezTo>
                    <a:pt x="179" y="100"/>
                    <a:pt x="179" y="100"/>
                    <a:pt x="179" y="100"/>
                  </a:cubicBezTo>
                  <a:close/>
                  <a:moveTo>
                    <a:pt x="179" y="124"/>
                  </a:moveTo>
                  <a:cubicBezTo>
                    <a:pt x="154" y="108"/>
                    <a:pt x="154" y="108"/>
                    <a:pt x="154" y="108"/>
                  </a:cubicBezTo>
                  <a:cubicBezTo>
                    <a:pt x="154" y="116"/>
                    <a:pt x="154" y="116"/>
                    <a:pt x="154" y="116"/>
                  </a:cubicBezTo>
                  <a:cubicBezTo>
                    <a:pt x="159" y="119"/>
                    <a:pt x="159" y="119"/>
                    <a:pt x="159" y="119"/>
                  </a:cubicBezTo>
                  <a:cubicBezTo>
                    <a:pt x="162" y="121"/>
                    <a:pt x="164" y="126"/>
                    <a:pt x="161" y="130"/>
                  </a:cubicBezTo>
                  <a:cubicBezTo>
                    <a:pt x="160" y="133"/>
                    <a:pt x="158" y="135"/>
                    <a:pt x="156" y="138"/>
                  </a:cubicBezTo>
                  <a:cubicBezTo>
                    <a:pt x="155" y="139"/>
                    <a:pt x="155" y="140"/>
                    <a:pt x="154" y="141"/>
                  </a:cubicBezTo>
                  <a:cubicBezTo>
                    <a:pt x="154" y="172"/>
                    <a:pt x="154" y="172"/>
                    <a:pt x="154" y="172"/>
                  </a:cubicBezTo>
                  <a:cubicBezTo>
                    <a:pt x="156" y="172"/>
                    <a:pt x="159" y="172"/>
                    <a:pt x="162" y="174"/>
                  </a:cubicBezTo>
                  <a:cubicBezTo>
                    <a:pt x="169" y="178"/>
                    <a:pt x="171" y="188"/>
                    <a:pt x="167" y="195"/>
                  </a:cubicBezTo>
                  <a:cubicBezTo>
                    <a:pt x="170" y="197"/>
                    <a:pt x="174" y="200"/>
                    <a:pt x="178" y="202"/>
                  </a:cubicBezTo>
                  <a:cubicBezTo>
                    <a:pt x="179" y="203"/>
                    <a:pt x="179" y="203"/>
                    <a:pt x="179" y="203"/>
                  </a:cubicBezTo>
                  <a:cubicBezTo>
                    <a:pt x="179" y="162"/>
                    <a:pt x="179" y="162"/>
                    <a:pt x="179" y="162"/>
                  </a:cubicBezTo>
                  <a:cubicBezTo>
                    <a:pt x="179" y="161"/>
                    <a:pt x="179" y="161"/>
                    <a:pt x="179" y="161"/>
                  </a:cubicBezTo>
                  <a:cubicBezTo>
                    <a:pt x="175" y="159"/>
                    <a:pt x="171" y="156"/>
                    <a:pt x="167" y="154"/>
                  </a:cubicBezTo>
                  <a:cubicBezTo>
                    <a:pt x="163" y="152"/>
                    <a:pt x="162" y="147"/>
                    <a:pt x="164" y="143"/>
                  </a:cubicBezTo>
                  <a:cubicBezTo>
                    <a:pt x="166" y="141"/>
                    <a:pt x="168" y="138"/>
                    <a:pt x="170" y="135"/>
                  </a:cubicBezTo>
                  <a:cubicBezTo>
                    <a:pt x="172" y="131"/>
                    <a:pt x="176" y="130"/>
                    <a:pt x="179" y="132"/>
                  </a:cubicBezTo>
                  <a:cubicBezTo>
                    <a:pt x="179" y="124"/>
                    <a:pt x="179" y="124"/>
                    <a:pt x="179" y="124"/>
                  </a:cubicBezTo>
                  <a:close/>
                  <a:moveTo>
                    <a:pt x="154" y="198"/>
                  </a:moveTo>
                  <a:cubicBezTo>
                    <a:pt x="154" y="177"/>
                    <a:pt x="154" y="177"/>
                    <a:pt x="154" y="177"/>
                  </a:cubicBezTo>
                  <a:cubicBezTo>
                    <a:pt x="155" y="177"/>
                    <a:pt x="157" y="177"/>
                    <a:pt x="159" y="178"/>
                  </a:cubicBezTo>
                  <a:cubicBezTo>
                    <a:pt x="164" y="181"/>
                    <a:pt x="165" y="188"/>
                    <a:pt x="162" y="193"/>
                  </a:cubicBezTo>
                  <a:cubicBezTo>
                    <a:pt x="160" y="196"/>
                    <a:pt x="157" y="198"/>
                    <a:pt x="154" y="198"/>
                  </a:cubicBezTo>
                  <a:close/>
                  <a:moveTo>
                    <a:pt x="154" y="52"/>
                  </a:moveTo>
                  <a:cubicBezTo>
                    <a:pt x="154" y="86"/>
                    <a:pt x="154" y="86"/>
                    <a:pt x="154" y="86"/>
                  </a:cubicBezTo>
                  <a:cubicBezTo>
                    <a:pt x="153" y="88"/>
                    <a:pt x="153" y="91"/>
                    <a:pt x="154" y="93"/>
                  </a:cubicBezTo>
                  <a:cubicBezTo>
                    <a:pt x="154" y="102"/>
                    <a:pt x="154" y="102"/>
                    <a:pt x="154" y="102"/>
                  </a:cubicBezTo>
                  <a:cubicBezTo>
                    <a:pt x="136" y="91"/>
                    <a:pt x="136" y="91"/>
                    <a:pt x="136" y="91"/>
                  </a:cubicBezTo>
                  <a:cubicBezTo>
                    <a:pt x="136" y="84"/>
                    <a:pt x="136" y="84"/>
                    <a:pt x="136" y="84"/>
                  </a:cubicBezTo>
                  <a:cubicBezTo>
                    <a:pt x="139" y="85"/>
                    <a:pt x="144" y="84"/>
                    <a:pt x="146" y="81"/>
                  </a:cubicBezTo>
                  <a:cubicBezTo>
                    <a:pt x="147" y="78"/>
                    <a:pt x="149" y="75"/>
                    <a:pt x="151" y="72"/>
                  </a:cubicBezTo>
                  <a:cubicBezTo>
                    <a:pt x="153" y="68"/>
                    <a:pt x="152" y="64"/>
                    <a:pt x="149" y="62"/>
                  </a:cubicBezTo>
                  <a:cubicBezTo>
                    <a:pt x="145" y="59"/>
                    <a:pt x="141" y="57"/>
                    <a:pt x="137" y="54"/>
                  </a:cubicBezTo>
                  <a:cubicBezTo>
                    <a:pt x="136" y="54"/>
                    <a:pt x="136" y="54"/>
                    <a:pt x="136" y="54"/>
                  </a:cubicBezTo>
                  <a:cubicBezTo>
                    <a:pt x="136" y="41"/>
                    <a:pt x="136" y="41"/>
                    <a:pt x="136" y="41"/>
                  </a:cubicBezTo>
                  <a:cubicBezTo>
                    <a:pt x="154" y="52"/>
                    <a:pt x="154" y="52"/>
                    <a:pt x="154" y="52"/>
                  </a:cubicBezTo>
                  <a:close/>
                  <a:moveTo>
                    <a:pt x="154" y="108"/>
                  </a:moveTo>
                  <a:cubicBezTo>
                    <a:pt x="136" y="98"/>
                    <a:pt x="136" y="98"/>
                    <a:pt x="136" y="98"/>
                  </a:cubicBezTo>
                  <a:cubicBezTo>
                    <a:pt x="136" y="115"/>
                    <a:pt x="136" y="115"/>
                    <a:pt x="136" y="115"/>
                  </a:cubicBezTo>
                  <a:cubicBezTo>
                    <a:pt x="136" y="114"/>
                    <a:pt x="136" y="114"/>
                    <a:pt x="136" y="114"/>
                  </a:cubicBezTo>
                  <a:cubicBezTo>
                    <a:pt x="139" y="111"/>
                    <a:pt x="143" y="110"/>
                    <a:pt x="147" y="112"/>
                  </a:cubicBezTo>
                  <a:cubicBezTo>
                    <a:pt x="154" y="116"/>
                    <a:pt x="154" y="116"/>
                    <a:pt x="154" y="116"/>
                  </a:cubicBezTo>
                  <a:cubicBezTo>
                    <a:pt x="154" y="108"/>
                    <a:pt x="154" y="108"/>
                    <a:pt x="154" y="108"/>
                  </a:cubicBezTo>
                  <a:close/>
                  <a:moveTo>
                    <a:pt x="154" y="141"/>
                  </a:moveTo>
                  <a:cubicBezTo>
                    <a:pt x="154" y="172"/>
                    <a:pt x="154" y="172"/>
                    <a:pt x="154" y="172"/>
                  </a:cubicBezTo>
                  <a:cubicBezTo>
                    <a:pt x="148" y="172"/>
                    <a:pt x="143" y="174"/>
                    <a:pt x="140" y="179"/>
                  </a:cubicBezTo>
                  <a:cubicBezTo>
                    <a:pt x="136" y="176"/>
                    <a:pt x="136" y="176"/>
                    <a:pt x="136" y="176"/>
                  </a:cubicBezTo>
                  <a:cubicBezTo>
                    <a:pt x="136" y="135"/>
                    <a:pt x="136" y="135"/>
                    <a:pt x="136" y="135"/>
                  </a:cubicBezTo>
                  <a:cubicBezTo>
                    <a:pt x="146" y="141"/>
                    <a:pt x="146" y="141"/>
                    <a:pt x="146" y="141"/>
                  </a:cubicBezTo>
                  <a:cubicBezTo>
                    <a:pt x="148" y="142"/>
                    <a:pt x="151" y="142"/>
                    <a:pt x="154" y="141"/>
                  </a:cubicBezTo>
                  <a:close/>
                  <a:moveTo>
                    <a:pt x="154" y="177"/>
                  </a:moveTo>
                  <a:cubicBezTo>
                    <a:pt x="150" y="177"/>
                    <a:pt x="147" y="178"/>
                    <a:pt x="145" y="182"/>
                  </a:cubicBezTo>
                  <a:cubicBezTo>
                    <a:pt x="142" y="187"/>
                    <a:pt x="143" y="193"/>
                    <a:pt x="148" y="196"/>
                  </a:cubicBezTo>
                  <a:cubicBezTo>
                    <a:pt x="150" y="197"/>
                    <a:pt x="152" y="198"/>
                    <a:pt x="154" y="198"/>
                  </a:cubicBezTo>
                  <a:lnTo>
                    <a:pt x="154" y="177"/>
                  </a:lnTo>
                  <a:close/>
                  <a:moveTo>
                    <a:pt x="136" y="41"/>
                  </a:moveTo>
                  <a:cubicBezTo>
                    <a:pt x="136" y="54"/>
                    <a:pt x="136" y="54"/>
                    <a:pt x="136" y="54"/>
                  </a:cubicBezTo>
                  <a:cubicBezTo>
                    <a:pt x="133" y="52"/>
                    <a:pt x="128" y="53"/>
                    <a:pt x="126" y="57"/>
                  </a:cubicBezTo>
                  <a:cubicBezTo>
                    <a:pt x="124" y="60"/>
                    <a:pt x="123" y="63"/>
                    <a:pt x="121" y="66"/>
                  </a:cubicBezTo>
                  <a:cubicBezTo>
                    <a:pt x="119" y="69"/>
                    <a:pt x="120" y="74"/>
                    <a:pt x="123" y="76"/>
                  </a:cubicBezTo>
                  <a:cubicBezTo>
                    <a:pt x="127" y="78"/>
                    <a:pt x="131" y="81"/>
                    <a:pt x="135" y="83"/>
                  </a:cubicBezTo>
                  <a:cubicBezTo>
                    <a:pt x="136" y="83"/>
                    <a:pt x="136" y="83"/>
                    <a:pt x="136" y="84"/>
                  </a:cubicBezTo>
                  <a:cubicBezTo>
                    <a:pt x="136" y="91"/>
                    <a:pt x="136" y="91"/>
                    <a:pt x="136" y="91"/>
                  </a:cubicBezTo>
                  <a:cubicBezTo>
                    <a:pt x="113" y="77"/>
                    <a:pt x="113" y="77"/>
                    <a:pt x="113" y="77"/>
                  </a:cubicBezTo>
                  <a:cubicBezTo>
                    <a:pt x="113" y="59"/>
                    <a:pt x="113" y="59"/>
                    <a:pt x="113" y="59"/>
                  </a:cubicBezTo>
                  <a:cubicBezTo>
                    <a:pt x="118" y="52"/>
                    <a:pt x="118" y="52"/>
                    <a:pt x="118" y="52"/>
                  </a:cubicBezTo>
                  <a:cubicBezTo>
                    <a:pt x="120" y="48"/>
                    <a:pt x="119" y="43"/>
                    <a:pt x="115" y="41"/>
                  </a:cubicBezTo>
                  <a:cubicBezTo>
                    <a:pt x="113" y="40"/>
                    <a:pt x="113" y="40"/>
                    <a:pt x="113" y="40"/>
                  </a:cubicBezTo>
                  <a:cubicBezTo>
                    <a:pt x="113" y="27"/>
                    <a:pt x="113" y="27"/>
                    <a:pt x="113" y="27"/>
                  </a:cubicBezTo>
                  <a:cubicBezTo>
                    <a:pt x="136" y="41"/>
                    <a:pt x="136" y="41"/>
                    <a:pt x="136" y="41"/>
                  </a:cubicBezTo>
                  <a:close/>
                  <a:moveTo>
                    <a:pt x="136" y="98"/>
                  </a:moveTo>
                  <a:cubicBezTo>
                    <a:pt x="113" y="84"/>
                    <a:pt x="113" y="84"/>
                    <a:pt x="113" y="84"/>
                  </a:cubicBezTo>
                  <a:cubicBezTo>
                    <a:pt x="113" y="91"/>
                    <a:pt x="113" y="91"/>
                    <a:pt x="113" y="91"/>
                  </a:cubicBezTo>
                  <a:cubicBezTo>
                    <a:pt x="113" y="91"/>
                    <a:pt x="114" y="92"/>
                    <a:pt x="114" y="92"/>
                  </a:cubicBezTo>
                  <a:cubicBezTo>
                    <a:pt x="118" y="94"/>
                    <a:pt x="122" y="97"/>
                    <a:pt x="126" y="99"/>
                  </a:cubicBezTo>
                  <a:cubicBezTo>
                    <a:pt x="129" y="101"/>
                    <a:pt x="130" y="106"/>
                    <a:pt x="128" y="109"/>
                  </a:cubicBezTo>
                  <a:cubicBezTo>
                    <a:pt x="126" y="112"/>
                    <a:pt x="125" y="115"/>
                    <a:pt x="123" y="118"/>
                  </a:cubicBezTo>
                  <a:cubicBezTo>
                    <a:pt x="121" y="121"/>
                    <a:pt x="117" y="123"/>
                    <a:pt x="113" y="121"/>
                  </a:cubicBezTo>
                  <a:cubicBezTo>
                    <a:pt x="113" y="162"/>
                    <a:pt x="113" y="162"/>
                    <a:pt x="113" y="162"/>
                  </a:cubicBezTo>
                  <a:cubicBezTo>
                    <a:pt x="119" y="166"/>
                    <a:pt x="119" y="166"/>
                    <a:pt x="119" y="166"/>
                  </a:cubicBezTo>
                  <a:cubicBezTo>
                    <a:pt x="136" y="176"/>
                    <a:pt x="136" y="176"/>
                    <a:pt x="136" y="176"/>
                  </a:cubicBezTo>
                  <a:cubicBezTo>
                    <a:pt x="136" y="135"/>
                    <a:pt x="136" y="135"/>
                    <a:pt x="136" y="135"/>
                  </a:cubicBezTo>
                  <a:cubicBezTo>
                    <a:pt x="134" y="134"/>
                    <a:pt x="134" y="134"/>
                    <a:pt x="134" y="134"/>
                  </a:cubicBezTo>
                  <a:cubicBezTo>
                    <a:pt x="130" y="131"/>
                    <a:pt x="129" y="127"/>
                    <a:pt x="131" y="123"/>
                  </a:cubicBezTo>
                  <a:cubicBezTo>
                    <a:pt x="136" y="115"/>
                    <a:pt x="136" y="115"/>
                    <a:pt x="136" y="115"/>
                  </a:cubicBezTo>
                  <a:lnTo>
                    <a:pt x="136" y="98"/>
                  </a:lnTo>
                  <a:close/>
                  <a:moveTo>
                    <a:pt x="113" y="27"/>
                  </a:moveTo>
                  <a:cubicBezTo>
                    <a:pt x="113" y="40"/>
                    <a:pt x="113" y="40"/>
                    <a:pt x="113" y="40"/>
                  </a:cubicBezTo>
                  <a:cubicBezTo>
                    <a:pt x="103" y="34"/>
                    <a:pt x="103" y="34"/>
                    <a:pt x="103" y="34"/>
                  </a:cubicBezTo>
                  <a:cubicBezTo>
                    <a:pt x="100" y="32"/>
                    <a:pt x="95" y="33"/>
                    <a:pt x="93" y="36"/>
                  </a:cubicBezTo>
                  <a:cubicBezTo>
                    <a:pt x="91" y="39"/>
                    <a:pt x="89" y="42"/>
                    <a:pt x="88" y="45"/>
                  </a:cubicBezTo>
                  <a:cubicBezTo>
                    <a:pt x="86" y="49"/>
                    <a:pt x="87" y="53"/>
                    <a:pt x="90" y="56"/>
                  </a:cubicBezTo>
                  <a:cubicBezTo>
                    <a:pt x="94" y="58"/>
                    <a:pt x="98" y="61"/>
                    <a:pt x="102" y="63"/>
                  </a:cubicBezTo>
                  <a:cubicBezTo>
                    <a:pt x="106" y="65"/>
                    <a:pt x="110" y="64"/>
                    <a:pt x="112" y="60"/>
                  </a:cubicBezTo>
                  <a:cubicBezTo>
                    <a:pt x="113" y="59"/>
                    <a:pt x="113" y="59"/>
                    <a:pt x="113" y="59"/>
                  </a:cubicBezTo>
                  <a:cubicBezTo>
                    <a:pt x="113" y="77"/>
                    <a:pt x="113" y="77"/>
                    <a:pt x="113" y="77"/>
                  </a:cubicBezTo>
                  <a:cubicBezTo>
                    <a:pt x="80" y="57"/>
                    <a:pt x="80" y="57"/>
                    <a:pt x="80" y="57"/>
                  </a:cubicBezTo>
                  <a:cubicBezTo>
                    <a:pt x="80" y="39"/>
                    <a:pt x="80" y="39"/>
                    <a:pt x="80" y="39"/>
                  </a:cubicBezTo>
                  <a:cubicBezTo>
                    <a:pt x="85" y="31"/>
                    <a:pt x="85" y="31"/>
                    <a:pt x="85" y="31"/>
                  </a:cubicBezTo>
                  <a:cubicBezTo>
                    <a:pt x="87" y="28"/>
                    <a:pt x="86" y="23"/>
                    <a:pt x="82" y="21"/>
                  </a:cubicBezTo>
                  <a:cubicBezTo>
                    <a:pt x="80" y="20"/>
                    <a:pt x="80" y="20"/>
                    <a:pt x="80" y="20"/>
                  </a:cubicBezTo>
                  <a:cubicBezTo>
                    <a:pt x="80" y="7"/>
                    <a:pt x="80" y="7"/>
                    <a:pt x="80" y="7"/>
                  </a:cubicBezTo>
                  <a:cubicBezTo>
                    <a:pt x="113" y="27"/>
                    <a:pt x="113" y="27"/>
                    <a:pt x="113" y="27"/>
                  </a:cubicBezTo>
                  <a:close/>
                  <a:moveTo>
                    <a:pt x="113" y="84"/>
                  </a:moveTo>
                  <a:cubicBezTo>
                    <a:pt x="80" y="63"/>
                    <a:pt x="80" y="63"/>
                    <a:pt x="80" y="63"/>
                  </a:cubicBezTo>
                  <a:cubicBezTo>
                    <a:pt x="80" y="71"/>
                    <a:pt x="80" y="71"/>
                    <a:pt x="80" y="71"/>
                  </a:cubicBezTo>
                  <a:cubicBezTo>
                    <a:pt x="80" y="71"/>
                    <a:pt x="80" y="71"/>
                    <a:pt x="80" y="71"/>
                  </a:cubicBezTo>
                  <a:cubicBezTo>
                    <a:pt x="85" y="74"/>
                    <a:pt x="89" y="76"/>
                    <a:pt x="93" y="79"/>
                  </a:cubicBezTo>
                  <a:cubicBezTo>
                    <a:pt x="96" y="81"/>
                    <a:pt x="97" y="85"/>
                    <a:pt x="95" y="89"/>
                  </a:cubicBezTo>
                  <a:cubicBezTo>
                    <a:pt x="93" y="92"/>
                    <a:pt x="91" y="95"/>
                    <a:pt x="90" y="98"/>
                  </a:cubicBezTo>
                  <a:cubicBezTo>
                    <a:pt x="88" y="101"/>
                    <a:pt x="83" y="102"/>
                    <a:pt x="80" y="101"/>
                  </a:cubicBezTo>
                  <a:cubicBezTo>
                    <a:pt x="80" y="142"/>
                    <a:pt x="80" y="142"/>
                    <a:pt x="80" y="142"/>
                  </a:cubicBezTo>
                  <a:cubicBezTo>
                    <a:pt x="104" y="157"/>
                    <a:pt x="104" y="157"/>
                    <a:pt x="104" y="157"/>
                  </a:cubicBezTo>
                  <a:cubicBezTo>
                    <a:pt x="105" y="158"/>
                    <a:pt x="107" y="158"/>
                    <a:pt x="108" y="159"/>
                  </a:cubicBezTo>
                  <a:cubicBezTo>
                    <a:pt x="113" y="162"/>
                    <a:pt x="113" y="162"/>
                    <a:pt x="113" y="162"/>
                  </a:cubicBezTo>
                  <a:cubicBezTo>
                    <a:pt x="113" y="121"/>
                    <a:pt x="113" y="121"/>
                    <a:pt x="113" y="121"/>
                  </a:cubicBezTo>
                  <a:cubicBezTo>
                    <a:pt x="113" y="121"/>
                    <a:pt x="113" y="121"/>
                    <a:pt x="113" y="121"/>
                  </a:cubicBezTo>
                  <a:cubicBezTo>
                    <a:pt x="109" y="118"/>
                    <a:pt x="105" y="116"/>
                    <a:pt x="100" y="113"/>
                  </a:cubicBezTo>
                  <a:cubicBezTo>
                    <a:pt x="97" y="111"/>
                    <a:pt x="96" y="107"/>
                    <a:pt x="98" y="103"/>
                  </a:cubicBezTo>
                  <a:cubicBezTo>
                    <a:pt x="100" y="100"/>
                    <a:pt x="102" y="97"/>
                    <a:pt x="103" y="94"/>
                  </a:cubicBezTo>
                  <a:cubicBezTo>
                    <a:pt x="106" y="91"/>
                    <a:pt x="110" y="90"/>
                    <a:pt x="113" y="91"/>
                  </a:cubicBezTo>
                  <a:lnTo>
                    <a:pt x="113" y="84"/>
                  </a:lnTo>
                  <a:close/>
                  <a:moveTo>
                    <a:pt x="61" y="118"/>
                  </a:moveTo>
                  <a:cubicBezTo>
                    <a:pt x="66" y="122"/>
                    <a:pt x="68" y="128"/>
                    <a:pt x="65" y="133"/>
                  </a:cubicBezTo>
                  <a:cubicBezTo>
                    <a:pt x="63" y="136"/>
                    <a:pt x="59" y="138"/>
                    <a:pt x="56" y="138"/>
                  </a:cubicBezTo>
                  <a:cubicBezTo>
                    <a:pt x="56" y="117"/>
                    <a:pt x="56" y="117"/>
                    <a:pt x="56" y="117"/>
                  </a:cubicBezTo>
                  <a:cubicBezTo>
                    <a:pt x="58" y="117"/>
                    <a:pt x="59" y="117"/>
                    <a:pt x="61" y="118"/>
                  </a:cubicBezTo>
                  <a:close/>
                  <a:moveTo>
                    <a:pt x="80" y="7"/>
                  </a:moveTo>
                  <a:cubicBezTo>
                    <a:pt x="80" y="20"/>
                    <a:pt x="80" y="20"/>
                    <a:pt x="80" y="20"/>
                  </a:cubicBezTo>
                  <a:cubicBezTo>
                    <a:pt x="70" y="14"/>
                    <a:pt x="70" y="14"/>
                    <a:pt x="70" y="14"/>
                  </a:cubicBezTo>
                  <a:cubicBezTo>
                    <a:pt x="67" y="12"/>
                    <a:pt x="62" y="13"/>
                    <a:pt x="60" y="16"/>
                  </a:cubicBezTo>
                  <a:cubicBezTo>
                    <a:pt x="56" y="23"/>
                    <a:pt x="56" y="23"/>
                    <a:pt x="56" y="23"/>
                  </a:cubicBezTo>
                  <a:cubicBezTo>
                    <a:pt x="56" y="5"/>
                    <a:pt x="56" y="5"/>
                    <a:pt x="56" y="5"/>
                  </a:cubicBezTo>
                  <a:cubicBezTo>
                    <a:pt x="61" y="1"/>
                    <a:pt x="69" y="0"/>
                    <a:pt x="76" y="4"/>
                  </a:cubicBezTo>
                  <a:cubicBezTo>
                    <a:pt x="80" y="7"/>
                    <a:pt x="80" y="7"/>
                    <a:pt x="80" y="7"/>
                  </a:cubicBezTo>
                  <a:close/>
                  <a:moveTo>
                    <a:pt x="80" y="39"/>
                  </a:moveTo>
                  <a:cubicBezTo>
                    <a:pt x="80" y="57"/>
                    <a:pt x="80" y="57"/>
                    <a:pt x="80" y="57"/>
                  </a:cubicBezTo>
                  <a:cubicBezTo>
                    <a:pt x="56" y="42"/>
                    <a:pt x="56" y="42"/>
                    <a:pt x="56" y="42"/>
                  </a:cubicBezTo>
                  <a:cubicBezTo>
                    <a:pt x="56" y="34"/>
                    <a:pt x="56" y="34"/>
                    <a:pt x="56" y="34"/>
                  </a:cubicBezTo>
                  <a:cubicBezTo>
                    <a:pt x="56" y="35"/>
                    <a:pt x="56" y="35"/>
                    <a:pt x="57" y="35"/>
                  </a:cubicBezTo>
                  <a:cubicBezTo>
                    <a:pt x="61" y="38"/>
                    <a:pt x="65" y="40"/>
                    <a:pt x="69" y="43"/>
                  </a:cubicBezTo>
                  <a:cubicBezTo>
                    <a:pt x="73" y="45"/>
                    <a:pt x="77" y="44"/>
                    <a:pt x="79" y="40"/>
                  </a:cubicBezTo>
                  <a:cubicBezTo>
                    <a:pt x="80" y="39"/>
                    <a:pt x="80" y="39"/>
                    <a:pt x="80" y="39"/>
                  </a:cubicBezTo>
                  <a:close/>
                  <a:moveTo>
                    <a:pt x="80" y="63"/>
                  </a:moveTo>
                  <a:cubicBezTo>
                    <a:pt x="56" y="49"/>
                    <a:pt x="56" y="49"/>
                    <a:pt x="56" y="49"/>
                  </a:cubicBezTo>
                  <a:cubicBezTo>
                    <a:pt x="56" y="56"/>
                    <a:pt x="56" y="56"/>
                    <a:pt x="56" y="56"/>
                  </a:cubicBezTo>
                  <a:cubicBezTo>
                    <a:pt x="58" y="58"/>
                    <a:pt x="58" y="58"/>
                    <a:pt x="58" y="58"/>
                  </a:cubicBezTo>
                  <a:cubicBezTo>
                    <a:pt x="62" y="60"/>
                    <a:pt x="64" y="65"/>
                    <a:pt x="62" y="69"/>
                  </a:cubicBezTo>
                  <a:cubicBezTo>
                    <a:pt x="56" y="79"/>
                    <a:pt x="56" y="79"/>
                    <a:pt x="56" y="79"/>
                  </a:cubicBezTo>
                  <a:cubicBezTo>
                    <a:pt x="56" y="112"/>
                    <a:pt x="56" y="112"/>
                    <a:pt x="56" y="112"/>
                  </a:cubicBezTo>
                  <a:cubicBezTo>
                    <a:pt x="59" y="112"/>
                    <a:pt x="61" y="113"/>
                    <a:pt x="64" y="114"/>
                  </a:cubicBezTo>
                  <a:cubicBezTo>
                    <a:pt x="71" y="119"/>
                    <a:pt x="73" y="128"/>
                    <a:pt x="69" y="136"/>
                  </a:cubicBezTo>
                  <a:cubicBezTo>
                    <a:pt x="80" y="142"/>
                    <a:pt x="80" y="142"/>
                    <a:pt x="80" y="142"/>
                  </a:cubicBezTo>
                  <a:cubicBezTo>
                    <a:pt x="80" y="101"/>
                    <a:pt x="80" y="101"/>
                    <a:pt x="80" y="101"/>
                  </a:cubicBezTo>
                  <a:cubicBezTo>
                    <a:pt x="80" y="101"/>
                    <a:pt x="80" y="100"/>
                    <a:pt x="79" y="100"/>
                  </a:cubicBezTo>
                  <a:cubicBezTo>
                    <a:pt x="75" y="98"/>
                    <a:pt x="71" y="95"/>
                    <a:pt x="67" y="93"/>
                  </a:cubicBezTo>
                  <a:cubicBezTo>
                    <a:pt x="64" y="91"/>
                    <a:pt x="63" y="86"/>
                    <a:pt x="65" y="83"/>
                  </a:cubicBezTo>
                  <a:cubicBezTo>
                    <a:pt x="67" y="80"/>
                    <a:pt x="68" y="77"/>
                    <a:pt x="70" y="74"/>
                  </a:cubicBezTo>
                  <a:cubicBezTo>
                    <a:pt x="72" y="71"/>
                    <a:pt x="77" y="69"/>
                    <a:pt x="80" y="71"/>
                  </a:cubicBezTo>
                  <a:lnTo>
                    <a:pt x="80" y="63"/>
                  </a:lnTo>
                  <a:close/>
                  <a:moveTo>
                    <a:pt x="56" y="138"/>
                  </a:moveTo>
                  <a:cubicBezTo>
                    <a:pt x="54" y="138"/>
                    <a:pt x="52" y="137"/>
                    <a:pt x="50" y="136"/>
                  </a:cubicBezTo>
                  <a:cubicBezTo>
                    <a:pt x="45" y="133"/>
                    <a:pt x="44" y="127"/>
                    <a:pt x="47" y="122"/>
                  </a:cubicBezTo>
                  <a:cubicBezTo>
                    <a:pt x="49" y="119"/>
                    <a:pt x="52" y="117"/>
                    <a:pt x="56" y="117"/>
                  </a:cubicBezTo>
                  <a:cubicBezTo>
                    <a:pt x="56" y="138"/>
                    <a:pt x="56" y="138"/>
                    <a:pt x="56" y="138"/>
                  </a:cubicBezTo>
                  <a:close/>
                  <a:moveTo>
                    <a:pt x="56" y="5"/>
                  </a:moveTo>
                  <a:cubicBezTo>
                    <a:pt x="56" y="23"/>
                    <a:pt x="56" y="23"/>
                    <a:pt x="56" y="23"/>
                  </a:cubicBezTo>
                  <a:cubicBezTo>
                    <a:pt x="54" y="25"/>
                    <a:pt x="54" y="25"/>
                    <a:pt x="54" y="25"/>
                  </a:cubicBezTo>
                  <a:cubicBezTo>
                    <a:pt x="53" y="28"/>
                    <a:pt x="53" y="32"/>
                    <a:pt x="56" y="34"/>
                  </a:cubicBezTo>
                  <a:cubicBezTo>
                    <a:pt x="56" y="42"/>
                    <a:pt x="56" y="42"/>
                    <a:pt x="56" y="42"/>
                  </a:cubicBezTo>
                  <a:cubicBezTo>
                    <a:pt x="47" y="37"/>
                    <a:pt x="47" y="37"/>
                    <a:pt x="47" y="37"/>
                  </a:cubicBezTo>
                  <a:cubicBezTo>
                    <a:pt x="46" y="39"/>
                    <a:pt x="45" y="40"/>
                    <a:pt x="44" y="42"/>
                  </a:cubicBezTo>
                  <a:cubicBezTo>
                    <a:pt x="56" y="49"/>
                    <a:pt x="56" y="49"/>
                    <a:pt x="56" y="49"/>
                  </a:cubicBezTo>
                  <a:cubicBezTo>
                    <a:pt x="56" y="56"/>
                    <a:pt x="56" y="56"/>
                    <a:pt x="56" y="56"/>
                  </a:cubicBezTo>
                  <a:cubicBezTo>
                    <a:pt x="48" y="52"/>
                    <a:pt x="48" y="52"/>
                    <a:pt x="48" y="52"/>
                  </a:cubicBezTo>
                  <a:cubicBezTo>
                    <a:pt x="44" y="49"/>
                    <a:pt x="39" y="50"/>
                    <a:pt x="37" y="54"/>
                  </a:cubicBezTo>
                  <a:cubicBezTo>
                    <a:pt x="28" y="69"/>
                    <a:pt x="18" y="84"/>
                    <a:pt x="9" y="99"/>
                  </a:cubicBezTo>
                  <a:cubicBezTo>
                    <a:pt x="6" y="97"/>
                    <a:pt x="3" y="95"/>
                    <a:pt x="0" y="94"/>
                  </a:cubicBezTo>
                  <a:cubicBezTo>
                    <a:pt x="18" y="65"/>
                    <a:pt x="35" y="37"/>
                    <a:pt x="52" y="9"/>
                  </a:cubicBezTo>
                  <a:cubicBezTo>
                    <a:pt x="53" y="7"/>
                    <a:pt x="54" y="6"/>
                    <a:pt x="56" y="5"/>
                  </a:cubicBezTo>
                  <a:close/>
                  <a:moveTo>
                    <a:pt x="56" y="79"/>
                  </a:moveTo>
                  <a:cubicBezTo>
                    <a:pt x="34" y="114"/>
                    <a:pt x="34" y="114"/>
                    <a:pt x="34" y="114"/>
                  </a:cubicBezTo>
                  <a:cubicBezTo>
                    <a:pt x="37" y="116"/>
                    <a:pt x="40" y="118"/>
                    <a:pt x="42" y="119"/>
                  </a:cubicBezTo>
                  <a:cubicBezTo>
                    <a:pt x="45" y="115"/>
                    <a:pt x="51" y="112"/>
                    <a:pt x="56" y="112"/>
                  </a:cubicBezTo>
                  <a:lnTo>
                    <a:pt x="56" y="79"/>
                  </a:lnTo>
                  <a:close/>
                </a:path>
              </a:pathLst>
            </a:custGeom>
            <a:grpFill/>
            <a:ln>
              <a:noFill/>
            </a:ln>
          </p:spPr>
          <p:txBody>
            <a:bodyPr vert="horz" wrap="square" lIns="91440" tIns="45720" rIns="91440" bIns="45720" numCol="1" anchor="t"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2" name="îsļîḓe">
              <a:extLst>
                <a:ext uri="{FF2B5EF4-FFF2-40B4-BE49-F238E27FC236}">
                  <a16:creationId xmlns:a16="http://schemas.microsoft.com/office/drawing/2014/main" id="{4FC67555-2BA4-4859-B72C-0CF76A4BCEFD}"/>
                </a:ext>
              </a:extLst>
            </p:cNvPr>
            <p:cNvSpPr/>
            <p:nvPr/>
          </p:nvSpPr>
          <p:spPr bwMode="auto">
            <a:xfrm flipH="1">
              <a:off x="4093122" y="2428851"/>
              <a:ext cx="192474" cy="313721"/>
            </a:xfrm>
            <a:custGeom>
              <a:avLst/>
              <a:gdLst>
                <a:gd name="T0" fmla="*/ 96 w 115"/>
                <a:gd name="T1" fmla="*/ 192 h 192"/>
                <a:gd name="T2" fmla="*/ 110 w 115"/>
                <a:gd name="T3" fmla="*/ 187 h 192"/>
                <a:gd name="T4" fmla="*/ 84 w 115"/>
                <a:gd name="T5" fmla="*/ 107 h 192"/>
                <a:gd name="T6" fmla="*/ 92 w 115"/>
                <a:gd name="T7" fmla="*/ 106 h 192"/>
                <a:gd name="T8" fmla="*/ 108 w 115"/>
                <a:gd name="T9" fmla="*/ 80 h 192"/>
                <a:gd name="T10" fmla="*/ 98 w 115"/>
                <a:gd name="T11" fmla="*/ 66 h 192"/>
                <a:gd name="T12" fmla="*/ 112 w 115"/>
                <a:gd name="T13" fmla="*/ 33 h 192"/>
                <a:gd name="T14" fmla="*/ 75 w 115"/>
                <a:gd name="T15" fmla="*/ 12 h 192"/>
                <a:gd name="T16" fmla="*/ 66 w 115"/>
                <a:gd name="T17" fmla="*/ 16 h 192"/>
                <a:gd name="T18" fmla="*/ 34 w 115"/>
                <a:gd name="T19" fmla="*/ 4 h 192"/>
                <a:gd name="T20" fmla="*/ 13 w 115"/>
                <a:gd name="T21" fmla="*/ 40 h 192"/>
                <a:gd name="T22" fmla="*/ 16 w 115"/>
                <a:gd name="T23" fmla="*/ 48 h 192"/>
                <a:gd name="T24" fmla="*/ 3 w 115"/>
                <a:gd name="T25" fmla="*/ 74 h 192"/>
                <a:gd name="T26" fmla="*/ 24 w 115"/>
                <a:gd name="T27" fmla="*/ 91 h 192"/>
                <a:gd name="T28" fmla="*/ 21 w 115"/>
                <a:gd name="T29" fmla="*/ 112 h 192"/>
                <a:gd name="T30" fmla="*/ 57 w 115"/>
                <a:gd name="T31" fmla="*/ 133 h 192"/>
                <a:gd name="T32" fmla="*/ 73 w 115"/>
                <a:gd name="T33" fmla="*/ 122 h 192"/>
                <a:gd name="T34" fmla="*/ 96 w 115"/>
                <a:gd name="T35"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 h="192">
                  <a:moveTo>
                    <a:pt x="96" y="192"/>
                  </a:moveTo>
                  <a:cubicBezTo>
                    <a:pt x="101" y="190"/>
                    <a:pt x="106" y="189"/>
                    <a:pt x="110" y="187"/>
                  </a:cubicBezTo>
                  <a:cubicBezTo>
                    <a:pt x="84" y="107"/>
                    <a:pt x="84" y="107"/>
                    <a:pt x="84" y="107"/>
                  </a:cubicBezTo>
                  <a:cubicBezTo>
                    <a:pt x="87" y="107"/>
                    <a:pt x="90" y="107"/>
                    <a:pt x="92" y="106"/>
                  </a:cubicBezTo>
                  <a:cubicBezTo>
                    <a:pt x="104" y="103"/>
                    <a:pt x="111" y="91"/>
                    <a:pt x="108" y="80"/>
                  </a:cubicBezTo>
                  <a:cubicBezTo>
                    <a:pt x="106" y="74"/>
                    <a:pt x="103" y="69"/>
                    <a:pt x="98" y="66"/>
                  </a:cubicBezTo>
                  <a:cubicBezTo>
                    <a:pt x="109" y="60"/>
                    <a:pt x="115" y="46"/>
                    <a:pt x="112" y="33"/>
                  </a:cubicBezTo>
                  <a:cubicBezTo>
                    <a:pt x="107" y="17"/>
                    <a:pt x="91" y="8"/>
                    <a:pt x="75" y="12"/>
                  </a:cubicBezTo>
                  <a:cubicBezTo>
                    <a:pt x="72" y="13"/>
                    <a:pt x="69" y="15"/>
                    <a:pt x="66" y="16"/>
                  </a:cubicBezTo>
                  <a:cubicBezTo>
                    <a:pt x="59" y="6"/>
                    <a:pt x="46" y="0"/>
                    <a:pt x="34" y="4"/>
                  </a:cubicBezTo>
                  <a:cubicBezTo>
                    <a:pt x="18" y="8"/>
                    <a:pt x="8" y="24"/>
                    <a:pt x="13" y="40"/>
                  </a:cubicBezTo>
                  <a:cubicBezTo>
                    <a:pt x="13" y="43"/>
                    <a:pt x="15" y="46"/>
                    <a:pt x="16" y="48"/>
                  </a:cubicBezTo>
                  <a:cubicBezTo>
                    <a:pt x="6" y="52"/>
                    <a:pt x="0" y="63"/>
                    <a:pt x="3" y="74"/>
                  </a:cubicBezTo>
                  <a:cubicBezTo>
                    <a:pt x="5" y="84"/>
                    <a:pt x="14" y="90"/>
                    <a:pt x="24" y="91"/>
                  </a:cubicBezTo>
                  <a:cubicBezTo>
                    <a:pt x="20" y="97"/>
                    <a:pt x="19" y="105"/>
                    <a:pt x="21" y="112"/>
                  </a:cubicBezTo>
                  <a:cubicBezTo>
                    <a:pt x="25" y="128"/>
                    <a:pt x="42" y="137"/>
                    <a:pt x="57" y="133"/>
                  </a:cubicBezTo>
                  <a:cubicBezTo>
                    <a:pt x="64" y="131"/>
                    <a:pt x="70" y="127"/>
                    <a:pt x="73" y="122"/>
                  </a:cubicBezTo>
                  <a:lnTo>
                    <a:pt x="96" y="192"/>
                  </a:lnTo>
                  <a:close/>
                </a:path>
              </a:pathLst>
            </a:custGeom>
            <a:grpFill/>
            <a:ln>
              <a:noFill/>
            </a:ln>
          </p:spPr>
          <p:txBody>
            <a:bodyPr vert="horz" wrap="square" lIns="91440" tIns="45720" rIns="91440" bIns="45720" numCol="1" anchor="t" anchorCtr="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3" name="iśľíḑé">
              <a:extLst>
                <a:ext uri="{FF2B5EF4-FFF2-40B4-BE49-F238E27FC236}">
                  <a16:creationId xmlns:a16="http://schemas.microsoft.com/office/drawing/2014/main" id="{BE41C884-FE54-4FEE-8BE3-D8003A05F68B}"/>
                </a:ext>
              </a:extLst>
            </p:cNvPr>
            <p:cNvSpPr/>
            <p:nvPr/>
          </p:nvSpPr>
          <p:spPr bwMode="auto">
            <a:xfrm flipH="1">
              <a:off x="2687545" y="2398392"/>
              <a:ext cx="212241" cy="327935"/>
            </a:xfrm>
            <a:custGeom>
              <a:avLst/>
              <a:gdLst>
                <a:gd name="T0" fmla="*/ 29 w 127"/>
                <a:gd name="T1" fmla="*/ 198 h 201"/>
                <a:gd name="T2" fmla="*/ 44 w 127"/>
                <a:gd name="T3" fmla="*/ 201 h 201"/>
                <a:gd name="T4" fmla="*/ 61 w 127"/>
                <a:gd name="T5" fmla="*/ 119 h 201"/>
                <a:gd name="T6" fmla="*/ 69 w 127"/>
                <a:gd name="T7" fmla="*/ 123 h 201"/>
                <a:gd name="T8" fmla="*/ 96 w 127"/>
                <a:gd name="T9" fmla="*/ 107 h 201"/>
                <a:gd name="T10" fmla="*/ 94 w 127"/>
                <a:gd name="T11" fmla="*/ 91 h 201"/>
                <a:gd name="T12" fmla="*/ 122 w 127"/>
                <a:gd name="T13" fmla="*/ 69 h 201"/>
                <a:gd name="T14" fmla="*/ 102 w 127"/>
                <a:gd name="T15" fmla="*/ 33 h 201"/>
                <a:gd name="T16" fmla="*/ 92 w 127"/>
                <a:gd name="T17" fmla="*/ 32 h 201"/>
                <a:gd name="T18" fmla="*/ 70 w 127"/>
                <a:gd name="T19" fmla="*/ 5 h 201"/>
                <a:gd name="T20" fmla="*/ 33 w 127"/>
                <a:gd name="T21" fmla="*/ 25 h 201"/>
                <a:gd name="T22" fmla="*/ 32 w 127"/>
                <a:gd name="T23" fmla="*/ 34 h 201"/>
                <a:gd name="T24" fmla="*/ 8 w 127"/>
                <a:gd name="T25" fmla="*/ 50 h 201"/>
                <a:gd name="T26" fmla="*/ 17 w 127"/>
                <a:gd name="T27" fmla="*/ 74 h 201"/>
                <a:gd name="T28" fmla="*/ 5 w 127"/>
                <a:gd name="T29" fmla="*/ 92 h 201"/>
                <a:gd name="T30" fmla="*/ 25 w 127"/>
                <a:gd name="T31" fmla="*/ 128 h 201"/>
                <a:gd name="T32" fmla="*/ 44 w 127"/>
                <a:gd name="T33" fmla="*/ 127 h 201"/>
                <a:gd name="T34" fmla="*/ 29 w 127"/>
                <a:gd name="T3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7" h="201">
                  <a:moveTo>
                    <a:pt x="29" y="198"/>
                  </a:moveTo>
                  <a:cubicBezTo>
                    <a:pt x="34" y="199"/>
                    <a:pt x="39" y="200"/>
                    <a:pt x="44" y="201"/>
                  </a:cubicBezTo>
                  <a:cubicBezTo>
                    <a:pt x="61" y="119"/>
                    <a:pt x="61" y="119"/>
                    <a:pt x="61" y="119"/>
                  </a:cubicBezTo>
                  <a:cubicBezTo>
                    <a:pt x="63" y="121"/>
                    <a:pt x="66" y="122"/>
                    <a:pt x="69" y="123"/>
                  </a:cubicBezTo>
                  <a:cubicBezTo>
                    <a:pt x="81" y="126"/>
                    <a:pt x="93" y="119"/>
                    <a:pt x="96" y="107"/>
                  </a:cubicBezTo>
                  <a:cubicBezTo>
                    <a:pt x="97" y="102"/>
                    <a:pt x="96" y="96"/>
                    <a:pt x="94" y="91"/>
                  </a:cubicBezTo>
                  <a:cubicBezTo>
                    <a:pt x="107" y="91"/>
                    <a:pt x="119" y="82"/>
                    <a:pt x="122" y="69"/>
                  </a:cubicBezTo>
                  <a:cubicBezTo>
                    <a:pt x="127" y="53"/>
                    <a:pt x="117" y="37"/>
                    <a:pt x="102" y="33"/>
                  </a:cubicBezTo>
                  <a:cubicBezTo>
                    <a:pt x="98" y="32"/>
                    <a:pt x="95" y="32"/>
                    <a:pt x="92" y="32"/>
                  </a:cubicBezTo>
                  <a:cubicBezTo>
                    <a:pt x="91" y="19"/>
                    <a:pt x="82" y="8"/>
                    <a:pt x="70" y="5"/>
                  </a:cubicBezTo>
                  <a:cubicBezTo>
                    <a:pt x="54" y="0"/>
                    <a:pt x="38" y="10"/>
                    <a:pt x="33" y="25"/>
                  </a:cubicBezTo>
                  <a:cubicBezTo>
                    <a:pt x="33" y="28"/>
                    <a:pt x="32" y="31"/>
                    <a:pt x="32" y="34"/>
                  </a:cubicBezTo>
                  <a:cubicBezTo>
                    <a:pt x="21" y="32"/>
                    <a:pt x="11" y="39"/>
                    <a:pt x="8" y="50"/>
                  </a:cubicBezTo>
                  <a:cubicBezTo>
                    <a:pt x="5" y="60"/>
                    <a:pt x="9" y="70"/>
                    <a:pt x="17" y="74"/>
                  </a:cubicBezTo>
                  <a:cubicBezTo>
                    <a:pt x="11" y="78"/>
                    <a:pt x="7" y="84"/>
                    <a:pt x="5" y="92"/>
                  </a:cubicBezTo>
                  <a:cubicBezTo>
                    <a:pt x="0" y="108"/>
                    <a:pt x="10" y="124"/>
                    <a:pt x="25" y="128"/>
                  </a:cubicBezTo>
                  <a:cubicBezTo>
                    <a:pt x="32" y="130"/>
                    <a:pt x="39" y="129"/>
                    <a:pt x="44" y="127"/>
                  </a:cubicBezTo>
                  <a:lnTo>
                    <a:pt x="29" y="198"/>
                  </a:lnTo>
                  <a:close/>
                </a:path>
              </a:pathLst>
            </a:custGeom>
            <a:grpFill/>
            <a:ln>
              <a:noFill/>
            </a:ln>
          </p:spPr>
          <p:txBody>
            <a:bodyPr vert="horz" wrap="square" lIns="91440" tIns="45720" rIns="91440" bIns="45720" numCol="1" anchor="t"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4" name="î$ļîďé">
              <a:extLst>
                <a:ext uri="{FF2B5EF4-FFF2-40B4-BE49-F238E27FC236}">
                  <a16:creationId xmlns:a16="http://schemas.microsoft.com/office/drawing/2014/main" id="{007815A0-BA5C-4885-9F59-BA8B155D3F3A}"/>
                </a:ext>
              </a:extLst>
            </p:cNvPr>
            <p:cNvSpPr/>
            <p:nvPr/>
          </p:nvSpPr>
          <p:spPr bwMode="auto">
            <a:xfrm flipH="1">
              <a:off x="4364667" y="2417683"/>
              <a:ext cx="781339" cy="764504"/>
            </a:xfrm>
            <a:custGeom>
              <a:avLst/>
              <a:gdLst>
                <a:gd name="T0" fmla="*/ 389 w 467"/>
                <a:gd name="T1" fmla="*/ 390 h 468"/>
                <a:gd name="T2" fmla="*/ 404 w 467"/>
                <a:gd name="T3" fmla="*/ 326 h 468"/>
                <a:gd name="T4" fmla="*/ 376 w 467"/>
                <a:gd name="T5" fmla="*/ 333 h 468"/>
                <a:gd name="T6" fmla="*/ 375 w 467"/>
                <a:gd name="T7" fmla="*/ 404 h 468"/>
                <a:gd name="T8" fmla="*/ 367 w 467"/>
                <a:gd name="T9" fmla="*/ 362 h 468"/>
                <a:gd name="T10" fmla="*/ 361 w 467"/>
                <a:gd name="T11" fmla="*/ 369 h 468"/>
                <a:gd name="T12" fmla="*/ 358 w 467"/>
                <a:gd name="T13" fmla="*/ 350 h 468"/>
                <a:gd name="T14" fmla="*/ 353 w 467"/>
                <a:gd name="T15" fmla="*/ 305 h 468"/>
                <a:gd name="T16" fmla="*/ 347 w 467"/>
                <a:gd name="T17" fmla="*/ 312 h 468"/>
                <a:gd name="T18" fmla="*/ 352 w 467"/>
                <a:gd name="T19" fmla="*/ 356 h 468"/>
                <a:gd name="T20" fmla="*/ 331 w 467"/>
                <a:gd name="T21" fmla="*/ 327 h 468"/>
                <a:gd name="T22" fmla="*/ 317 w 467"/>
                <a:gd name="T23" fmla="*/ 271 h 468"/>
                <a:gd name="T24" fmla="*/ 317 w 467"/>
                <a:gd name="T25" fmla="*/ 412 h 468"/>
                <a:gd name="T26" fmla="*/ 308 w 467"/>
                <a:gd name="T27" fmla="*/ 258 h 468"/>
                <a:gd name="T28" fmla="*/ 301 w 467"/>
                <a:gd name="T29" fmla="*/ 265 h 468"/>
                <a:gd name="T30" fmla="*/ 295 w 467"/>
                <a:gd name="T31" fmla="*/ 341 h 468"/>
                <a:gd name="T32" fmla="*/ 290 w 467"/>
                <a:gd name="T33" fmla="*/ 347 h 468"/>
                <a:gd name="T34" fmla="*/ 287 w 467"/>
                <a:gd name="T35" fmla="*/ 208 h 468"/>
                <a:gd name="T36" fmla="*/ 281 w 467"/>
                <a:gd name="T37" fmla="*/ 235 h 468"/>
                <a:gd name="T38" fmla="*/ 274 w 467"/>
                <a:gd name="T39" fmla="*/ 313 h 468"/>
                <a:gd name="T40" fmla="*/ 264 w 467"/>
                <a:gd name="T41" fmla="*/ 230 h 468"/>
                <a:gd name="T42" fmla="*/ 246 w 467"/>
                <a:gd name="T43" fmla="*/ 249 h 468"/>
                <a:gd name="T44" fmla="*/ 268 w 467"/>
                <a:gd name="T45" fmla="*/ 319 h 468"/>
                <a:gd name="T46" fmla="*/ 258 w 467"/>
                <a:gd name="T47" fmla="*/ 307 h 468"/>
                <a:gd name="T48" fmla="*/ 233 w 467"/>
                <a:gd name="T49" fmla="*/ 289 h 468"/>
                <a:gd name="T50" fmla="*/ 237 w 467"/>
                <a:gd name="T51" fmla="*/ 187 h 468"/>
                <a:gd name="T52" fmla="*/ 236 w 467"/>
                <a:gd name="T53" fmla="*/ 280 h 468"/>
                <a:gd name="T54" fmla="*/ 233 w 467"/>
                <a:gd name="T55" fmla="*/ 141 h 468"/>
                <a:gd name="T56" fmla="*/ 216 w 467"/>
                <a:gd name="T57" fmla="*/ 136 h 468"/>
                <a:gd name="T58" fmla="*/ 221 w 467"/>
                <a:gd name="T59" fmla="*/ 223 h 468"/>
                <a:gd name="T60" fmla="*/ 211 w 467"/>
                <a:gd name="T61" fmla="*/ 213 h 468"/>
                <a:gd name="T62" fmla="*/ 230 w 467"/>
                <a:gd name="T63" fmla="*/ 194 h 468"/>
                <a:gd name="T64" fmla="*/ 227 w 467"/>
                <a:gd name="T65" fmla="*/ 267 h 468"/>
                <a:gd name="T66" fmla="*/ 220 w 467"/>
                <a:gd name="T67" fmla="*/ 274 h 468"/>
                <a:gd name="T68" fmla="*/ 198 w 467"/>
                <a:gd name="T69" fmla="*/ 105 h 468"/>
                <a:gd name="T70" fmla="*/ 205 w 467"/>
                <a:gd name="T71" fmla="*/ 240 h 468"/>
                <a:gd name="T72" fmla="*/ 198 w 467"/>
                <a:gd name="T73" fmla="*/ 247 h 468"/>
                <a:gd name="T74" fmla="*/ 191 w 467"/>
                <a:gd name="T75" fmla="*/ 183 h 468"/>
                <a:gd name="T76" fmla="*/ 197 w 467"/>
                <a:gd name="T77" fmla="*/ 248 h 468"/>
                <a:gd name="T78" fmla="*/ 185 w 467"/>
                <a:gd name="T79" fmla="*/ 189 h 468"/>
                <a:gd name="T80" fmla="*/ 175 w 467"/>
                <a:gd name="T81" fmla="*/ 304 h 468"/>
                <a:gd name="T82" fmla="*/ 168 w 467"/>
                <a:gd name="T83" fmla="*/ 113 h 468"/>
                <a:gd name="T84" fmla="*/ 161 w 467"/>
                <a:gd name="T85" fmla="*/ 120 h 468"/>
                <a:gd name="T86" fmla="*/ 155 w 467"/>
                <a:gd name="T87" fmla="*/ 197 h 468"/>
                <a:gd name="T88" fmla="*/ 143 w 467"/>
                <a:gd name="T89" fmla="*/ 88 h 468"/>
                <a:gd name="T90" fmla="*/ 152 w 467"/>
                <a:gd name="T91" fmla="*/ 187 h 468"/>
                <a:gd name="T92" fmla="*/ 145 w 467"/>
                <a:gd name="T93" fmla="*/ 136 h 468"/>
                <a:gd name="T94" fmla="*/ 127 w 467"/>
                <a:gd name="T95" fmla="*/ 225 h 468"/>
                <a:gd name="T96" fmla="*/ 133 w 467"/>
                <a:gd name="T97" fmla="*/ 98 h 468"/>
                <a:gd name="T98" fmla="*/ 127 w 467"/>
                <a:gd name="T99" fmla="*/ 46 h 468"/>
                <a:gd name="T100" fmla="*/ 128 w 467"/>
                <a:gd name="T101" fmla="*/ 174 h 468"/>
                <a:gd name="T102" fmla="*/ 121 w 467"/>
                <a:gd name="T103" fmla="*/ 110 h 468"/>
                <a:gd name="T104" fmla="*/ 126 w 467"/>
                <a:gd name="T105" fmla="*/ 84 h 468"/>
                <a:gd name="T106" fmla="*/ 117 w 467"/>
                <a:gd name="T107" fmla="*/ 217 h 468"/>
                <a:gd name="T108" fmla="*/ 114 w 467"/>
                <a:gd name="T109" fmla="*/ 118 h 468"/>
                <a:gd name="T110" fmla="*/ 109 w 467"/>
                <a:gd name="T111" fmla="*/ 101 h 468"/>
                <a:gd name="T112" fmla="*/ 103 w 467"/>
                <a:gd name="T113" fmla="*/ 57 h 468"/>
                <a:gd name="T114" fmla="*/ 101 w 467"/>
                <a:gd name="T115" fmla="*/ 109 h 468"/>
                <a:gd name="T116" fmla="*/ 85 w 467"/>
                <a:gd name="T117" fmla="*/ 75 h 468"/>
                <a:gd name="T118" fmla="*/ 84 w 467"/>
                <a:gd name="T119" fmla="*/ 126 h 468"/>
                <a:gd name="T120" fmla="*/ 80 w 467"/>
                <a:gd name="T121" fmla="*/ 81 h 468"/>
                <a:gd name="T122" fmla="*/ 60 w 467"/>
                <a:gd name="T123" fmla="*/ 99 h 468"/>
                <a:gd name="T124" fmla="*/ 54 w 467"/>
                <a:gd name="T125" fmla="*/ 10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7" h="468">
                  <a:moveTo>
                    <a:pt x="467" y="341"/>
                  </a:moveTo>
                  <a:cubicBezTo>
                    <a:pt x="421" y="386"/>
                    <a:pt x="421" y="386"/>
                    <a:pt x="421" y="386"/>
                  </a:cubicBezTo>
                  <a:cubicBezTo>
                    <a:pt x="421" y="343"/>
                    <a:pt x="421" y="343"/>
                    <a:pt x="421" y="343"/>
                  </a:cubicBezTo>
                  <a:cubicBezTo>
                    <a:pt x="429" y="351"/>
                    <a:pt x="429" y="351"/>
                    <a:pt x="429" y="351"/>
                  </a:cubicBezTo>
                  <a:cubicBezTo>
                    <a:pt x="432" y="347"/>
                    <a:pt x="435" y="344"/>
                    <a:pt x="439" y="341"/>
                  </a:cubicBezTo>
                  <a:cubicBezTo>
                    <a:pt x="421" y="323"/>
                    <a:pt x="421" y="323"/>
                    <a:pt x="421" y="323"/>
                  </a:cubicBezTo>
                  <a:cubicBezTo>
                    <a:pt x="421" y="295"/>
                    <a:pt x="421" y="295"/>
                    <a:pt x="421" y="295"/>
                  </a:cubicBezTo>
                  <a:lnTo>
                    <a:pt x="467" y="341"/>
                  </a:lnTo>
                  <a:close/>
                  <a:moveTo>
                    <a:pt x="421" y="386"/>
                  </a:moveTo>
                  <a:cubicBezTo>
                    <a:pt x="410" y="397"/>
                    <a:pt x="410" y="397"/>
                    <a:pt x="410" y="397"/>
                  </a:cubicBezTo>
                  <a:cubicBezTo>
                    <a:pt x="410" y="369"/>
                    <a:pt x="410" y="369"/>
                    <a:pt x="410" y="369"/>
                  </a:cubicBezTo>
                  <a:cubicBezTo>
                    <a:pt x="416" y="363"/>
                    <a:pt x="416" y="363"/>
                    <a:pt x="416" y="363"/>
                  </a:cubicBezTo>
                  <a:cubicBezTo>
                    <a:pt x="410" y="357"/>
                    <a:pt x="410" y="357"/>
                    <a:pt x="410" y="357"/>
                  </a:cubicBezTo>
                  <a:cubicBezTo>
                    <a:pt x="410" y="332"/>
                    <a:pt x="410" y="332"/>
                    <a:pt x="410" y="332"/>
                  </a:cubicBezTo>
                  <a:cubicBezTo>
                    <a:pt x="421" y="343"/>
                    <a:pt x="421" y="343"/>
                    <a:pt x="421" y="343"/>
                  </a:cubicBezTo>
                  <a:cubicBezTo>
                    <a:pt x="421" y="386"/>
                    <a:pt x="421" y="386"/>
                    <a:pt x="421" y="386"/>
                  </a:cubicBezTo>
                  <a:close/>
                  <a:moveTo>
                    <a:pt x="410" y="283"/>
                  </a:moveTo>
                  <a:cubicBezTo>
                    <a:pt x="421" y="295"/>
                    <a:pt x="421" y="295"/>
                    <a:pt x="421" y="295"/>
                  </a:cubicBezTo>
                  <a:cubicBezTo>
                    <a:pt x="421" y="323"/>
                    <a:pt x="421" y="323"/>
                    <a:pt x="421" y="323"/>
                  </a:cubicBezTo>
                  <a:cubicBezTo>
                    <a:pt x="414" y="316"/>
                    <a:pt x="414" y="316"/>
                    <a:pt x="414" y="316"/>
                  </a:cubicBezTo>
                  <a:cubicBezTo>
                    <a:pt x="410" y="320"/>
                    <a:pt x="410" y="320"/>
                    <a:pt x="410" y="320"/>
                  </a:cubicBezTo>
                  <a:lnTo>
                    <a:pt x="410" y="283"/>
                  </a:lnTo>
                  <a:close/>
                  <a:moveTo>
                    <a:pt x="410" y="397"/>
                  </a:moveTo>
                  <a:cubicBezTo>
                    <a:pt x="386" y="421"/>
                    <a:pt x="386" y="421"/>
                    <a:pt x="386" y="421"/>
                  </a:cubicBezTo>
                  <a:cubicBezTo>
                    <a:pt x="386" y="393"/>
                    <a:pt x="386" y="393"/>
                    <a:pt x="386" y="393"/>
                  </a:cubicBezTo>
                  <a:cubicBezTo>
                    <a:pt x="386" y="393"/>
                    <a:pt x="386" y="393"/>
                    <a:pt x="386" y="393"/>
                  </a:cubicBezTo>
                  <a:cubicBezTo>
                    <a:pt x="386" y="393"/>
                    <a:pt x="386" y="393"/>
                    <a:pt x="386" y="393"/>
                  </a:cubicBezTo>
                  <a:cubicBezTo>
                    <a:pt x="386" y="393"/>
                    <a:pt x="386" y="393"/>
                    <a:pt x="386" y="393"/>
                  </a:cubicBezTo>
                  <a:cubicBezTo>
                    <a:pt x="387" y="393"/>
                    <a:pt x="387" y="393"/>
                    <a:pt x="387" y="393"/>
                  </a:cubicBezTo>
                  <a:cubicBezTo>
                    <a:pt x="387" y="392"/>
                    <a:pt x="387" y="392"/>
                    <a:pt x="387" y="392"/>
                  </a:cubicBezTo>
                  <a:cubicBezTo>
                    <a:pt x="387" y="392"/>
                    <a:pt x="387" y="392"/>
                    <a:pt x="387" y="392"/>
                  </a:cubicBezTo>
                  <a:cubicBezTo>
                    <a:pt x="387" y="392"/>
                    <a:pt x="387" y="392"/>
                    <a:pt x="387" y="392"/>
                  </a:cubicBezTo>
                  <a:cubicBezTo>
                    <a:pt x="387" y="392"/>
                    <a:pt x="387" y="392"/>
                    <a:pt x="387" y="392"/>
                  </a:cubicBezTo>
                  <a:cubicBezTo>
                    <a:pt x="387" y="392"/>
                    <a:pt x="387" y="392"/>
                    <a:pt x="387" y="392"/>
                  </a:cubicBezTo>
                  <a:cubicBezTo>
                    <a:pt x="387" y="392"/>
                    <a:pt x="387" y="392"/>
                    <a:pt x="387" y="392"/>
                  </a:cubicBezTo>
                  <a:cubicBezTo>
                    <a:pt x="388" y="392"/>
                    <a:pt x="388" y="392"/>
                    <a:pt x="388" y="392"/>
                  </a:cubicBezTo>
                  <a:cubicBezTo>
                    <a:pt x="388" y="392"/>
                    <a:pt x="388" y="392"/>
                    <a:pt x="388" y="392"/>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8" y="391"/>
                    <a:pt x="388" y="391"/>
                    <a:pt x="388" y="391"/>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89" y="390"/>
                    <a:pt x="389" y="390"/>
                    <a:pt x="389" y="390"/>
                  </a:cubicBezTo>
                  <a:cubicBezTo>
                    <a:pt x="390" y="390"/>
                    <a:pt x="390" y="390"/>
                    <a:pt x="390" y="390"/>
                  </a:cubicBezTo>
                  <a:cubicBezTo>
                    <a:pt x="390" y="389"/>
                    <a:pt x="390" y="389"/>
                    <a:pt x="390" y="389"/>
                  </a:cubicBezTo>
                  <a:cubicBezTo>
                    <a:pt x="390" y="389"/>
                    <a:pt x="390" y="389"/>
                    <a:pt x="390" y="389"/>
                  </a:cubicBezTo>
                  <a:cubicBezTo>
                    <a:pt x="390" y="389"/>
                    <a:pt x="390" y="389"/>
                    <a:pt x="390" y="389"/>
                  </a:cubicBezTo>
                  <a:cubicBezTo>
                    <a:pt x="390" y="389"/>
                    <a:pt x="390" y="389"/>
                    <a:pt x="390" y="389"/>
                  </a:cubicBezTo>
                  <a:cubicBezTo>
                    <a:pt x="390" y="389"/>
                    <a:pt x="390" y="389"/>
                    <a:pt x="390" y="389"/>
                  </a:cubicBezTo>
                  <a:cubicBezTo>
                    <a:pt x="390" y="389"/>
                    <a:pt x="390" y="389"/>
                    <a:pt x="390" y="389"/>
                  </a:cubicBezTo>
                  <a:cubicBezTo>
                    <a:pt x="391" y="389"/>
                    <a:pt x="391" y="389"/>
                    <a:pt x="391" y="389"/>
                  </a:cubicBezTo>
                  <a:cubicBezTo>
                    <a:pt x="391" y="388"/>
                    <a:pt x="391" y="388"/>
                    <a:pt x="391" y="388"/>
                  </a:cubicBezTo>
                  <a:cubicBezTo>
                    <a:pt x="391" y="388"/>
                    <a:pt x="391" y="388"/>
                    <a:pt x="391" y="388"/>
                  </a:cubicBezTo>
                  <a:cubicBezTo>
                    <a:pt x="391" y="388"/>
                    <a:pt x="391" y="388"/>
                    <a:pt x="391" y="388"/>
                  </a:cubicBezTo>
                  <a:cubicBezTo>
                    <a:pt x="391" y="388"/>
                    <a:pt x="391" y="388"/>
                    <a:pt x="391" y="388"/>
                  </a:cubicBezTo>
                  <a:cubicBezTo>
                    <a:pt x="391" y="388"/>
                    <a:pt x="391" y="388"/>
                    <a:pt x="391" y="388"/>
                  </a:cubicBezTo>
                  <a:cubicBezTo>
                    <a:pt x="391" y="388"/>
                    <a:pt x="391" y="388"/>
                    <a:pt x="391" y="388"/>
                  </a:cubicBezTo>
                  <a:cubicBezTo>
                    <a:pt x="392" y="388"/>
                    <a:pt x="392" y="388"/>
                    <a:pt x="392" y="388"/>
                  </a:cubicBezTo>
                  <a:cubicBezTo>
                    <a:pt x="392" y="387"/>
                    <a:pt x="392" y="387"/>
                    <a:pt x="392" y="387"/>
                  </a:cubicBezTo>
                  <a:cubicBezTo>
                    <a:pt x="392" y="387"/>
                    <a:pt x="392" y="387"/>
                    <a:pt x="392" y="387"/>
                  </a:cubicBezTo>
                  <a:cubicBezTo>
                    <a:pt x="392" y="387"/>
                    <a:pt x="392" y="387"/>
                    <a:pt x="392" y="387"/>
                  </a:cubicBezTo>
                  <a:cubicBezTo>
                    <a:pt x="392" y="387"/>
                    <a:pt x="392" y="387"/>
                    <a:pt x="392" y="387"/>
                  </a:cubicBezTo>
                  <a:cubicBezTo>
                    <a:pt x="392" y="387"/>
                    <a:pt x="392" y="387"/>
                    <a:pt x="392" y="387"/>
                  </a:cubicBezTo>
                  <a:cubicBezTo>
                    <a:pt x="392" y="387"/>
                    <a:pt x="392" y="387"/>
                    <a:pt x="392" y="387"/>
                  </a:cubicBezTo>
                  <a:cubicBezTo>
                    <a:pt x="393" y="387"/>
                    <a:pt x="393" y="387"/>
                    <a:pt x="393" y="387"/>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3" y="386"/>
                    <a:pt x="393" y="386"/>
                    <a:pt x="393" y="386"/>
                  </a:cubicBezTo>
                  <a:cubicBezTo>
                    <a:pt x="394" y="385"/>
                    <a:pt x="394" y="385"/>
                    <a:pt x="394" y="385"/>
                  </a:cubicBezTo>
                  <a:cubicBezTo>
                    <a:pt x="386" y="378"/>
                    <a:pt x="386" y="378"/>
                    <a:pt x="386" y="378"/>
                  </a:cubicBezTo>
                  <a:cubicBezTo>
                    <a:pt x="386" y="353"/>
                    <a:pt x="386" y="353"/>
                    <a:pt x="386" y="353"/>
                  </a:cubicBezTo>
                  <a:cubicBezTo>
                    <a:pt x="406" y="373"/>
                    <a:pt x="406" y="373"/>
                    <a:pt x="406" y="373"/>
                  </a:cubicBezTo>
                  <a:cubicBezTo>
                    <a:pt x="410" y="369"/>
                    <a:pt x="410" y="369"/>
                    <a:pt x="410" y="369"/>
                  </a:cubicBezTo>
                  <a:cubicBezTo>
                    <a:pt x="410" y="397"/>
                    <a:pt x="410" y="397"/>
                    <a:pt x="410" y="397"/>
                  </a:cubicBezTo>
                  <a:close/>
                  <a:moveTo>
                    <a:pt x="386" y="259"/>
                  </a:moveTo>
                  <a:cubicBezTo>
                    <a:pt x="386" y="287"/>
                    <a:pt x="386" y="287"/>
                    <a:pt x="386" y="287"/>
                  </a:cubicBezTo>
                  <a:cubicBezTo>
                    <a:pt x="403" y="305"/>
                    <a:pt x="403" y="305"/>
                    <a:pt x="403" y="305"/>
                  </a:cubicBezTo>
                  <a:cubicBezTo>
                    <a:pt x="400" y="308"/>
                    <a:pt x="397" y="312"/>
                    <a:pt x="393" y="315"/>
                  </a:cubicBezTo>
                  <a:cubicBezTo>
                    <a:pt x="386" y="308"/>
                    <a:pt x="386" y="308"/>
                    <a:pt x="386" y="308"/>
                  </a:cubicBezTo>
                  <a:cubicBezTo>
                    <a:pt x="386" y="344"/>
                    <a:pt x="386" y="344"/>
                    <a:pt x="386" y="344"/>
                  </a:cubicBezTo>
                  <a:cubicBezTo>
                    <a:pt x="392" y="338"/>
                    <a:pt x="392" y="338"/>
                    <a:pt x="392" y="338"/>
                  </a:cubicBezTo>
                  <a:cubicBezTo>
                    <a:pt x="410" y="357"/>
                    <a:pt x="410" y="357"/>
                    <a:pt x="410" y="357"/>
                  </a:cubicBezTo>
                  <a:cubicBezTo>
                    <a:pt x="410" y="332"/>
                    <a:pt x="410" y="332"/>
                    <a:pt x="410" y="332"/>
                  </a:cubicBezTo>
                  <a:cubicBezTo>
                    <a:pt x="404" y="326"/>
                    <a:pt x="404" y="326"/>
                    <a:pt x="404" y="326"/>
                  </a:cubicBezTo>
                  <a:cubicBezTo>
                    <a:pt x="410" y="320"/>
                    <a:pt x="410" y="320"/>
                    <a:pt x="410" y="320"/>
                  </a:cubicBezTo>
                  <a:cubicBezTo>
                    <a:pt x="410" y="283"/>
                    <a:pt x="410" y="283"/>
                    <a:pt x="410" y="283"/>
                  </a:cubicBezTo>
                  <a:lnTo>
                    <a:pt x="386" y="259"/>
                  </a:lnTo>
                  <a:close/>
                  <a:moveTo>
                    <a:pt x="386" y="421"/>
                  </a:moveTo>
                  <a:cubicBezTo>
                    <a:pt x="375" y="432"/>
                    <a:pt x="375" y="432"/>
                    <a:pt x="375" y="432"/>
                  </a:cubicBezTo>
                  <a:cubicBezTo>
                    <a:pt x="375" y="404"/>
                    <a:pt x="375" y="404"/>
                    <a:pt x="375" y="404"/>
                  </a:cubicBezTo>
                  <a:cubicBezTo>
                    <a:pt x="383" y="396"/>
                    <a:pt x="383" y="396"/>
                    <a:pt x="383" y="396"/>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4" y="395"/>
                    <a:pt x="384" y="395"/>
                    <a:pt x="384" y="395"/>
                  </a:cubicBezTo>
                  <a:cubicBezTo>
                    <a:pt x="385" y="395"/>
                    <a:pt x="385" y="395"/>
                    <a:pt x="385" y="395"/>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5" y="394"/>
                    <a:pt x="385" y="394"/>
                    <a:pt x="385" y="394"/>
                  </a:cubicBezTo>
                  <a:cubicBezTo>
                    <a:pt x="386" y="393"/>
                    <a:pt x="386" y="393"/>
                    <a:pt x="386" y="393"/>
                  </a:cubicBezTo>
                  <a:cubicBezTo>
                    <a:pt x="386" y="393"/>
                    <a:pt x="386" y="393"/>
                    <a:pt x="386" y="393"/>
                  </a:cubicBezTo>
                  <a:cubicBezTo>
                    <a:pt x="386" y="393"/>
                    <a:pt x="386" y="393"/>
                    <a:pt x="386" y="393"/>
                  </a:cubicBezTo>
                  <a:cubicBezTo>
                    <a:pt x="386" y="393"/>
                    <a:pt x="386" y="393"/>
                    <a:pt x="386" y="393"/>
                  </a:cubicBezTo>
                  <a:cubicBezTo>
                    <a:pt x="386" y="393"/>
                    <a:pt x="386" y="393"/>
                    <a:pt x="386" y="393"/>
                  </a:cubicBezTo>
                  <a:cubicBezTo>
                    <a:pt x="386" y="421"/>
                    <a:pt x="386" y="421"/>
                    <a:pt x="386" y="421"/>
                  </a:cubicBezTo>
                  <a:close/>
                  <a:moveTo>
                    <a:pt x="375" y="248"/>
                  </a:moveTo>
                  <a:cubicBezTo>
                    <a:pt x="386" y="259"/>
                    <a:pt x="386" y="259"/>
                    <a:pt x="386" y="259"/>
                  </a:cubicBezTo>
                  <a:cubicBezTo>
                    <a:pt x="386" y="287"/>
                    <a:pt x="386" y="287"/>
                    <a:pt x="386" y="287"/>
                  </a:cubicBezTo>
                  <a:cubicBezTo>
                    <a:pt x="379" y="280"/>
                    <a:pt x="379" y="280"/>
                    <a:pt x="379" y="280"/>
                  </a:cubicBezTo>
                  <a:cubicBezTo>
                    <a:pt x="375" y="284"/>
                    <a:pt x="375" y="284"/>
                    <a:pt x="375" y="284"/>
                  </a:cubicBezTo>
                  <a:cubicBezTo>
                    <a:pt x="375" y="248"/>
                    <a:pt x="375" y="248"/>
                    <a:pt x="375" y="248"/>
                  </a:cubicBezTo>
                  <a:close/>
                  <a:moveTo>
                    <a:pt x="386" y="308"/>
                  </a:moveTo>
                  <a:cubicBezTo>
                    <a:pt x="386" y="344"/>
                    <a:pt x="386" y="344"/>
                    <a:pt x="386" y="344"/>
                  </a:cubicBezTo>
                  <a:cubicBezTo>
                    <a:pt x="381" y="348"/>
                    <a:pt x="381" y="348"/>
                    <a:pt x="381" y="348"/>
                  </a:cubicBezTo>
                  <a:cubicBezTo>
                    <a:pt x="386" y="353"/>
                    <a:pt x="386" y="353"/>
                    <a:pt x="386" y="353"/>
                  </a:cubicBezTo>
                  <a:cubicBezTo>
                    <a:pt x="386" y="378"/>
                    <a:pt x="386" y="378"/>
                    <a:pt x="386" y="378"/>
                  </a:cubicBezTo>
                  <a:cubicBezTo>
                    <a:pt x="375" y="366"/>
                    <a:pt x="375" y="366"/>
                    <a:pt x="375" y="366"/>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5" y="333"/>
                    <a:pt x="375" y="333"/>
                    <a:pt x="375" y="333"/>
                  </a:cubicBezTo>
                  <a:cubicBezTo>
                    <a:pt x="376" y="333"/>
                    <a:pt x="376" y="333"/>
                    <a:pt x="376" y="333"/>
                  </a:cubicBezTo>
                  <a:cubicBezTo>
                    <a:pt x="376" y="332"/>
                    <a:pt x="376" y="332"/>
                    <a:pt x="376" y="332"/>
                  </a:cubicBezTo>
                  <a:cubicBezTo>
                    <a:pt x="376" y="332"/>
                    <a:pt x="376" y="332"/>
                    <a:pt x="376" y="332"/>
                  </a:cubicBezTo>
                  <a:cubicBezTo>
                    <a:pt x="376" y="332"/>
                    <a:pt x="376" y="332"/>
                    <a:pt x="376" y="332"/>
                  </a:cubicBezTo>
                  <a:cubicBezTo>
                    <a:pt x="376" y="332"/>
                    <a:pt x="376" y="332"/>
                    <a:pt x="376" y="332"/>
                  </a:cubicBezTo>
                  <a:cubicBezTo>
                    <a:pt x="376" y="332"/>
                    <a:pt x="376" y="332"/>
                    <a:pt x="376" y="332"/>
                  </a:cubicBezTo>
                  <a:cubicBezTo>
                    <a:pt x="376" y="332"/>
                    <a:pt x="376" y="332"/>
                    <a:pt x="376" y="332"/>
                  </a:cubicBezTo>
                  <a:cubicBezTo>
                    <a:pt x="377" y="332"/>
                    <a:pt x="377" y="332"/>
                    <a:pt x="377" y="332"/>
                  </a:cubicBezTo>
                  <a:cubicBezTo>
                    <a:pt x="377" y="332"/>
                    <a:pt x="377" y="332"/>
                    <a:pt x="377" y="332"/>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7" y="331"/>
                    <a:pt x="377" y="331"/>
                    <a:pt x="377" y="331"/>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8" y="330"/>
                    <a:pt x="378" y="330"/>
                    <a:pt x="378" y="330"/>
                  </a:cubicBezTo>
                  <a:cubicBezTo>
                    <a:pt x="379" y="330"/>
                    <a:pt x="379" y="330"/>
                    <a:pt x="379" y="330"/>
                  </a:cubicBezTo>
                  <a:cubicBezTo>
                    <a:pt x="379" y="329"/>
                    <a:pt x="379" y="329"/>
                    <a:pt x="379" y="329"/>
                  </a:cubicBezTo>
                  <a:cubicBezTo>
                    <a:pt x="379" y="329"/>
                    <a:pt x="379" y="329"/>
                    <a:pt x="379" y="329"/>
                  </a:cubicBezTo>
                  <a:cubicBezTo>
                    <a:pt x="379" y="329"/>
                    <a:pt x="379" y="329"/>
                    <a:pt x="379" y="329"/>
                  </a:cubicBezTo>
                  <a:cubicBezTo>
                    <a:pt x="379" y="329"/>
                    <a:pt x="379" y="329"/>
                    <a:pt x="379" y="329"/>
                  </a:cubicBezTo>
                  <a:cubicBezTo>
                    <a:pt x="379" y="329"/>
                    <a:pt x="379" y="329"/>
                    <a:pt x="379" y="329"/>
                  </a:cubicBezTo>
                  <a:cubicBezTo>
                    <a:pt x="379" y="329"/>
                    <a:pt x="379" y="329"/>
                    <a:pt x="379" y="329"/>
                  </a:cubicBezTo>
                  <a:cubicBezTo>
                    <a:pt x="380" y="329"/>
                    <a:pt x="380" y="329"/>
                    <a:pt x="380" y="329"/>
                  </a:cubicBezTo>
                  <a:cubicBezTo>
                    <a:pt x="380" y="328"/>
                    <a:pt x="380" y="328"/>
                    <a:pt x="380" y="328"/>
                  </a:cubicBezTo>
                  <a:cubicBezTo>
                    <a:pt x="380" y="328"/>
                    <a:pt x="380" y="328"/>
                    <a:pt x="380" y="328"/>
                  </a:cubicBezTo>
                  <a:cubicBezTo>
                    <a:pt x="380" y="328"/>
                    <a:pt x="380" y="328"/>
                    <a:pt x="380" y="328"/>
                  </a:cubicBezTo>
                  <a:cubicBezTo>
                    <a:pt x="380" y="328"/>
                    <a:pt x="380" y="328"/>
                    <a:pt x="380" y="328"/>
                  </a:cubicBezTo>
                  <a:cubicBezTo>
                    <a:pt x="380" y="328"/>
                    <a:pt x="380" y="328"/>
                    <a:pt x="380" y="328"/>
                  </a:cubicBezTo>
                  <a:cubicBezTo>
                    <a:pt x="380" y="328"/>
                    <a:pt x="380" y="328"/>
                    <a:pt x="380" y="328"/>
                  </a:cubicBezTo>
                  <a:cubicBezTo>
                    <a:pt x="381" y="328"/>
                    <a:pt x="381" y="328"/>
                    <a:pt x="381" y="328"/>
                  </a:cubicBezTo>
                  <a:cubicBezTo>
                    <a:pt x="381" y="327"/>
                    <a:pt x="381" y="327"/>
                    <a:pt x="381" y="327"/>
                  </a:cubicBezTo>
                  <a:cubicBezTo>
                    <a:pt x="381" y="327"/>
                    <a:pt x="381" y="327"/>
                    <a:pt x="381" y="327"/>
                  </a:cubicBezTo>
                  <a:cubicBezTo>
                    <a:pt x="375" y="321"/>
                    <a:pt x="375" y="321"/>
                    <a:pt x="375" y="321"/>
                  </a:cubicBezTo>
                  <a:cubicBezTo>
                    <a:pt x="375" y="296"/>
                    <a:pt x="375" y="296"/>
                    <a:pt x="375" y="296"/>
                  </a:cubicBezTo>
                  <a:lnTo>
                    <a:pt x="386" y="308"/>
                  </a:lnTo>
                  <a:close/>
                  <a:moveTo>
                    <a:pt x="375" y="432"/>
                  </a:moveTo>
                  <a:cubicBezTo>
                    <a:pt x="354" y="453"/>
                    <a:pt x="354" y="453"/>
                    <a:pt x="354" y="453"/>
                  </a:cubicBezTo>
                  <a:cubicBezTo>
                    <a:pt x="354" y="425"/>
                    <a:pt x="354" y="425"/>
                    <a:pt x="354" y="425"/>
                  </a:cubicBezTo>
                  <a:cubicBezTo>
                    <a:pt x="361" y="418"/>
                    <a:pt x="361" y="418"/>
                    <a:pt x="361" y="418"/>
                  </a:cubicBezTo>
                  <a:cubicBezTo>
                    <a:pt x="371" y="408"/>
                    <a:pt x="371" y="408"/>
                    <a:pt x="371" y="408"/>
                  </a:cubicBezTo>
                  <a:cubicBezTo>
                    <a:pt x="375" y="404"/>
                    <a:pt x="375" y="404"/>
                    <a:pt x="375" y="404"/>
                  </a:cubicBezTo>
                  <a:cubicBezTo>
                    <a:pt x="375" y="432"/>
                    <a:pt x="375" y="432"/>
                    <a:pt x="375" y="432"/>
                  </a:cubicBezTo>
                  <a:close/>
                  <a:moveTo>
                    <a:pt x="354" y="226"/>
                  </a:moveTo>
                  <a:cubicBezTo>
                    <a:pt x="375" y="248"/>
                    <a:pt x="375" y="248"/>
                    <a:pt x="375" y="248"/>
                  </a:cubicBezTo>
                  <a:cubicBezTo>
                    <a:pt x="375" y="284"/>
                    <a:pt x="375" y="284"/>
                    <a:pt x="375" y="284"/>
                  </a:cubicBezTo>
                  <a:cubicBezTo>
                    <a:pt x="369" y="290"/>
                    <a:pt x="369" y="290"/>
                    <a:pt x="369" y="290"/>
                  </a:cubicBezTo>
                  <a:cubicBezTo>
                    <a:pt x="375" y="296"/>
                    <a:pt x="375" y="296"/>
                    <a:pt x="375" y="296"/>
                  </a:cubicBezTo>
                  <a:cubicBezTo>
                    <a:pt x="375" y="321"/>
                    <a:pt x="375" y="321"/>
                    <a:pt x="375" y="321"/>
                  </a:cubicBezTo>
                  <a:cubicBezTo>
                    <a:pt x="356" y="302"/>
                    <a:pt x="356" y="302"/>
                    <a:pt x="356" y="302"/>
                  </a:cubicBezTo>
                  <a:cubicBezTo>
                    <a:pt x="356" y="303"/>
                    <a:pt x="356" y="303"/>
                    <a:pt x="356" y="303"/>
                  </a:cubicBezTo>
                  <a:cubicBezTo>
                    <a:pt x="356" y="303"/>
                    <a:pt x="356" y="303"/>
                    <a:pt x="356" y="303"/>
                  </a:cubicBezTo>
                  <a:cubicBezTo>
                    <a:pt x="356" y="303"/>
                    <a:pt x="356" y="303"/>
                    <a:pt x="356" y="303"/>
                  </a:cubicBezTo>
                  <a:cubicBezTo>
                    <a:pt x="356" y="303"/>
                    <a:pt x="356" y="303"/>
                    <a:pt x="356" y="303"/>
                  </a:cubicBezTo>
                  <a:cubicBezTo>
                    <a:pt x="355" y="303"/>
                    <a:pt x="355" y="303"/>
                    <a:pt x="355" y="303"/>
                  </a:cubicBezTo>
                  <a:cubicBezTo>
                    <a:pt x="355" y="303"/>
                    <a:pt x="355" y="303"/>
                    <a:pt x="355" y="303"/>
                  </a:cubicBezTo>
                  <a:cubicBezTo>
                    <a:pt x="355" y="303"/>
                    <a:pt x="355" y="303"/>
                    <a:pt x="355" y="303"/>
                  </a:cubicBezTo>
                  <a:cubicBezTo>
                    <a:pt x="355" y="303"/>
                    <a:pt x="355" y="303"/>
                    <a:pt x="355" y="303"/>
                  </a:cubicBezTo>
                  <a:cubicBezTo>
                    <a:pt x="355" y="304"/>
                    <a:pt x="355" y="304"/>
                    <a:pt x="355" y="304"/>
                  </a:cubicBezTo>
                  <a:cubicBezTo>
                    <a:pt x="355" y="304"/>
                    <a:pt x="355" y="304"/>
                    <a:pt x="355" y="304"/>
                  </a:cubicBezTo>
                  <a:cubicBezTo>
                    <a:pt x="355" y="304"/>
                    <a:pt x="355" y="304"/>
                    <a:pt x="355" y="304"/>
                  </a:cubicBezTo>
                  <a:cubicBezTo>
                    <a:pt x="354" y="304"/>
                    <a:pt x="354" y="304"/>
                    <a:pt x="354" y="304"/>
                  </a:cubicBezTo>
                  <a:cubicBezTo>
                    <a:pt x="354" y="304"/>
                    <a:pt x="354" y="304"/>
                    <a:pt x="354" y="304"/>
                  </a:cubicBezTo>
                  <a:cubicBezTo>
                    <a:pt x="354" y="304"/>
                    <a:pt x="354" y="304"/>
                    <a:pt x="354" y="304"/>
                  </a:cubicBezTo>
                  <a:cubicBezTo>
                    <a:pt x="354" y="304"/>
                    <a:pt x="354" y="304"/>
                    <a:pt x="354" y="304"/>
                  </a:cubicBezTo>
                  <a:cubicBezTo>
                    <a:pt x="354" y="305"/>
                    <a:pt x="354" y="305"/>
                    <a:pt x="354" y="305"/>
                  </a:cubicBezTo>
                  <a:cubicBezTo>
                    <a:pt x="354" y="305"/>
                    <a:pt x="354" y="305"/>
                    <a:pt x="354" y="305"/>
                  </a:cubicBezTo>
                  <a:cubicBezTo>
                    <a:pt x="354" y="305"/>
                    <a:pt x="354" y="305"/>
                    <a:pt x="354" y="305"/>
                  </a:cubicBezTo>
                  <a:cubicBezTo>
                    <a:pt x="354" y="305"/>
                    <a:pt x="354" y="305"/>
                    <a:pt x="354" y="305"/>
                  </a:cubicBezTo>
                  <a:cubicBezTo>
                    <a:pt x="354" y="305"/>
                    <a:pt x="354" y="305"/>
                    <a:pt x="354" y="305"/>
                  </a:cubicBezTo>
                  <a:cubicBezTo>
                    <a:pt x="354" y="275"/>
                    <a:pt x="354" y="275"/>
                    <a:pt x="354" y="275"/>
                  </a:cubicBezTo>
                  <a:cubicBezTo>
                    <a:pt x="358" y="279"/>
                    <a:pt x="358" y="279"/>
                    <a:pt x="358" y="279"/>
                  </a:cubicBezTo>
                  <a:cubicBezTo>
                    <a:pt x="361" y="276"/>
                    <a:pt x="364" y="273"/>
                    <a:pt x="368" y="269"/>
                  </a:cubicBezTo>
                  <a:cubicBezTo>
                    <a:pt x="354" y="255"/>
                    <a:pt x="354" y="255"/>
                    <a:pt x="354" y="255"/>
                  </a:cubicBezTo>
                  <a:cubicBezTo>
                    <a:pt x="354" y="226"/>
                    <a:pt x="354" y="226"/>
                    <a:pt x="354" y="226"/>
                  </a:cubicBezTo>
                  <a:close/>
                  <a:moveTo>
                    <a:pt x="375" y="333"/>
                  </a:moveTo>
                  <a:cubicBezTo>
                    <a:pt x="375" y="366"/>
                    <a:pt x="375" y="366"/>
                    <a:pt x="375" y="366"/>
                  </a:cubicBezTo>
                  <a:cubicBezTo>
                    <a:pt x="369" y="361"/>
                    <a:pt x="369" y="361"/>
                    <a:pt x="369" y="361"/>
                  </a:cubicBezTo>
                  <a:cubicBezTo>
                    <a:pt x="369" y="361"/>
                    <a:pt x="369" y="361"/>
                    <a:pt x="369" y="361"/>
                  </a:cubicBezTo>
                  <a:cubicBezTo>
                    <a:pt x="369" y="361"/>
                    <a:pt x="369" y="361"/>
                    <a:pt x="369" y="361"/>
                  </a:cubicBezTo>
                  <a:cubicBezTo>
                    <a:pt x="368" y="361"/>
                    <a:pt x="368" y="361"/>
                    <a:pt x="368" y="361"/>
                  </a:cubicBezTo>
                  <a:cubicBezTo>
                    <a:pt x="368" y="361"/>
                    <a:pt x="368" y="361"/>
                    <a:pt x="368" y="361"/>
                  </a:cubicBezTo>
                  <a:cubicBezTo>
                    <a:pt x="368" y="361"/>
                    <a:pt x="368" y="361"/>
                    <a:pt x="368" y="361"/>
                  </a:cubicBezTo>
                  <a:cubicBezTo>
                    <a:pt x="368" y="361"/>
                    <a:pt x="368" y="361"/>
                    <a:pt x="368" y="361"/>
                  </a:cubicBezTo>
                  <a:cubicBezTo>
                    <a:pt x="368" y="362"/>
                    <a:pt x="368" y="362"/>
                    <a:pt x="368" y="362"/>
                  </a:cubicBezTo>
                  <a:cubicBezTo>
                    <a:pt x="368" y="362"/>
                    <a:pt x="368" y="362"/>
                    <a:pt x="368" y="362"/>
                  </a:cubicBezTo>
                  <a:cubicBezTo>
                    <a:pt x="368" y="362"/>
                    <a:pt x="368" y="362"/>
                    <a:pt x="368" y="362"/>
                  </a:cubicBezTo>
                  <a:cubicBezTo>
                    <a:pt x="367" y="362"/>
                    <a:pt x="367" y="362"/>
                    <a:pt x="367" y="362"/>
                  </a:cubicBezTo>
                  <a:cubicBezTo>
                    <a:pt x="367" y="362"/>
                    <a:pt x="367" y="362"/>
                    <a:pt x="367" y="362"/>
                  </a:cubicBezTo>
                  <a:cubicBezTo>
                    <a:pt x="367" y="362"/>
                    <a:pt x="367" y="362"/>
                    <a:pt x="367" y="362"/>
                  </a:cubicBezTo>
                  <a:cubicBezTo>
                    <a:pt x="367" y="362"/>
                    <a:pt x="367" y="362"/>
                    <a:pt x="367" y="362"/>
                  </a:cubicBezTo>
                  <a:cubicBezTo>
                    <a:pt x="367" y="363"/>
                    <a:pt x="367" y="363"/>
                    <a:pt x="367" y="363"/>
                  </a:cubicBezTo>
                  <a:cubicBezTo>
                    <a:pt x="367" y="363"/>
                    <a:pt x="367" y="363"/>
                    <a:pt x="367" y="363"/>
                  </a:cubicBezTo>
                  <a:cubicBezTo>
                    <a:pt x="367" y="363"/>
                    <a:pt x="367" y="363"/>
                    <a:pt x="367" y="363"/>
                  </a:cubicBezTo>
                  <a:cubicBezTo>
                    <a:pt x="366" y="363"/>
                    <a:pt x="366" y="363"/>
                    <a:pt x="366" y="363"/>
                  </a:cubicBezTo>
                  <a:cubicBezTo>
                    <a:pt x="366" y="363"/>
                    <a:pt x="366" y="363"/>
                    <a:pt x="366" y="363"/>
                  </a:cubicBezTo>
                  <a:cubicBezTo>
                    <a:pt x="366" y="363"/>
                    <a:pt x="366" y="363"/>
                    <a:pt x="366" y="363"/>
                  </a:cubicBezTo>
                  <a:cubicBezTo>
                    <a:pt x="366" y="363"/>
                    <a:pt x="366" y="363"/>
                    <a:pt x="366" y="363"/>
                  </a:cubicBezTo>
                  <a:cubicBezTo>
                    <a:pt x="366" y="363"/>
                    <a:pt x="366" y="363"/>
                    <a:pt x="366" y="363"/>
                  </a:cubicBezTo>
                  <a:cubicBezTo>
                    <a:pt x="366" y="364"/>
                    <a:pt x="366" y="364"/>
                    <a:pt x="366" y="364"/>
                  </a:cubicBezTo>
                  <a:cubicBezTo>
                    <a:pt x="366" y="364"/>
                    <a:pt x="366" y="364"/>
                    <a:pt x="366" y="364"/>
                  </a:cubicBezTo>
                  <a:cubicBezTo>
                    <a:pt x="366" y="364"/>
                    <a:pt x="366" y="364"/>
                    <a:pt x="366" y="364"/>
                  </a:cubicBezTo>
                  <a:cubicBezTo>
                    <a:pt x="365" y="364"/>
                    <a:pt x="365" y="364"/>
                    <a:pt x="365" y="364"/>
                  </a:cubicBezTo>
                  <a:cubicBezTo>
                    <a:pt x="365" y="364"/>
                    <a:pt x="365" y="364"/>
                    <a:pt x="365" y="364"/>
                  </a:cubicBezTo>
                  <a:cubicBezTo>
                    <a:pt x="365" y="364"/>
                    <a:pt x="365" y="364"/>
                    <a:pt x="365" y="364"/>
                  </a:cubicBezTo>
                  <a:cubicBezTo>
                    <a:pt x="365" y="364"/>
                    <a:pt x="365" y="364"/>
                    <a:pt x="365" y="364"/>
                  </a:cubicBezTo>
                  <a:cubicBezTo>
                    <a:pt x="365" y="365"/>
                    <a:pt x="365" y="365"/>
                    <a:pt x="365" y="365"/>
                  </a:cubicBezTo>
                  <a:cubicBezTo>
                    <a:pt x="365" y="365"/>
                    <a:pt x="365" y="365"/>
                    <a:pt x="365" y="365"/>
                  </a:cubicBezTo>
                  <a:cubicBezTo>
                    <a:pt x="365" y="365"/>
                    <a:pt x="365" y="365"/>
                    <a:pt x="365" y="365"/>
                  </a:cubicBezTo>
                  <a:cubicBezTo>
                    <a:pt x="365" y="365"/>
                    <a:pt x="365" y="365"/>
                    <a:pt x="365" y="365"/>
                  </a:cubicBezTo>
                  <a:cubicBezTo>
                    <a:pt x="364" y="365"/>
                    <a:pt x="364" y="365"/>
                    <a:pt x="364" y="365"/>
                  </a:cubicBezTo>
                  <a:cubicBezTo>
                    <a:pt x="364" y="365"/>
                    <a:pt x="364" y="365"/>
                    <a:pt x="364" y="365"/>
                  </a:cubicBezTo>
                  <a:cubicBezTo>
                    <a:pt x="364" y="365"/>
                    <a:pt x="364" y="365"/>
                    <a:pt x="364" y="365"/>
                  </a:cubicBezTo>
                  <a:cubicBezTo>
                    <a:pt x="364" y="366"/>
                    <a:pt x="364" y="366"/>
                    <a:pt x="364" y="366"/>
                  </a:cubicBezTo>
                  <a:cubicBezTo>
                    <a:pt x="364" y="366"/>
                    <a:pt x="364" y="366"/>
                    <a:pt x="364" y="366"/>
                  </a:cubicBezTo>
                  <a:cubicBezTo>
                    <a:pt x="364" y="366"/>
                    <a:pt x="364" y="366"/>
                    <a:pt x="364" y="366"/>
                  </a:cubicBezTo>
                  <a:cubicBezTo>
                    <a:pt x="364" y="366"/>
                    <a:pt x="364" y="366"/>
                    <a:pt x="364" y="366"/>
                  </a:cubicBezTo>
                  <a:cubicBezTo>
                    <a:pt x="363" y="366"/>
                    <a:pt x="363" y="366"/>
                    <a:pt x="363" y="366"/>
                  </a:cubicBezTo>
                  <a:cubicBezTo>
                    <a:pt x="363" y="366"/>
                    <a:pt x="363" y="366"/>
                    <a:pt x="363" y="366"/>
                  </a:cubicBezTo>
                  <a:cubicBezTo>
                    <a:pt x="363" y="366"/>
                    <a:pt x="363" y="366"/>
                    <a:pt x="363" y="366"/>
                  </a:cubicBezTo>
                  <a:cubicBezTo>
                    <a:pt x="363" y="366"/>
                    <a:pt x="363" y="366"/>
                    <a:pt x="363" y="366"/>
                  </a:cubicBezTo>
                  <a:cubicBezTo>
                    <a:pt x="363" y="367"/>
                    <a:pt x="363" y="367"/>
                    <a:pt x="363" y="367"/>
                  </a:cubicBezTo>
                  <a:cubicBezTo>
                    <a:pt x="363" y="367"/>
                    <a:pt x="363" y="367"/>
                    <a:pt x="363" y="367"/>
                  </a:cubicBezTo>
                  <a:cubicBezTo>
                    <a:pt x="363" y="367"/>
                    <a:pt x="363" y="367"/>
                    <a:pt x="363" y="367"/>
                  </a:cubicBezTo>
                  <a:cubicBezTo>
                    <a:pt x="362" y="367"/>
                    <a:pt x="362" y="367"/>
                    <a:pt x="362" y="367"/>
                  </a:cubicBezTo>
                  <a:cubicBezTo>
                    <a:pt x="362" y="367"/>
                    <a:pt x="362" y="367"/>
                    <a:pt x="362" y="367"/>
                  </a:cubicBezTo>
                  <a:cubicBezTo>
                    <a:pt x="362" y="367"/>
                    <a:pt x="362" y="367"/>
                    <a:pt x="362" y="367"/>
                  </a:cubicBezTo>
                  <a:cubicBezTo>
                    <a:pt x="362" y="367"/>
                    <a:pt x="362" y="367"/>
                    <a:pt x="362" y="367"/>
                  </a:cubicBezTo>
                  <a:cubicBezTo>
                    <a:pt x="362" y="367"/>
                    <a:pt x="362" y="367"/>
                    <a:pt x="362" y="367"/>
                  </a:cubicBezTo>
                  <a:cubicBezTo>
                    <a:pt x="362" y="368"/>
                    <a:pt x="362" y="368"/>
                    <a:pt x="362" y="368"/>
                  </a:cubicBezTo>
                  <a:cubicBezTo>
                    <a:pt x="362" y="368"/>
                    <a:pt x="362" y="368"/>
                    <a:pt x="362" y="368"/>
                  </a:cubicBezTo>
                  <a:cubicBezTo>
                    <a:pt x="362" y="368"/>
                    <a:pt x="362" y="368"/>
                    <a:pt x="362" y="368"/>
                  </a:cubicBezTo>
                  <a:cubicBezTo>
                    <a:pt x="361" y="368"/>
                    <a:pt x="361" y="368"/>
                    <a:pt x="361" y="368"/>
                  </a:cubicBezTo>
                  <a:cubicBezTo>
                    <a:pt x="361" y="368"/>
                    <a:pt x="361" y="368"/>
                    <a:pt x="361" y="368"/>
                  </a:cubicBezTo>
                  <a:cubicBezTo>
                    <a:pt x="361" y="368"/>
                    <a:pt x="361" y="368"/>
                    <a:pt x="361" y="368"/>
                  </a:cubicBezTo>
                  <a:cubicBezTo>
                    <a:pt x="361" y="368"/>
                    <a:pt x="361" y="368"/>
                    <a:pt x="361" y="368"/>
                  </a:cubicBezTo>
                  <a:cubicBezTo>
                    <a:pt x="361" y="369"/>
                    <a:pt x="361" y="369"/>
                    <a:pt x="361" y="369"/>
                  </a:cubicBezTo>
                  <a:cubicBezTo>
                    <a:pt x="361" y="369"/>
                    <a:pt x="361" y="369"/>
                    <a:pt x="361" y="369"/>
                  </a:cubicBezTo>
                  <a:cubicBezTo>
                    <a:pt x="361" y="369"/>
                    <a:pt x="361" y="369"/>
                    <a:pt x="361" y="369"/>
                  </a:cubicBezTo>
                  <a:cubicBezTo>
                    <a:pt x="360" y="369"/>
                    <a:pt x="360" y="369"/>
                    <a:pt x="360" y="369"/>
                  </a:cubicBezTo>
                  <a:cubicBezTo>
                    <a:pt x="360" y="369"/>
                    <a:pt x="360" y="369"/>
                    <a:pt x="360" y="369"/>
                  </a:cubicBezTo>
                  <a:cubicBezTo>
                    <a:pt x="360" y="369"/>
                    <a:pt x="360" y="369"/>
                    <a:pt x="360" y="369"/>
                  </a:cubicBezTo>
                  <a:cubicBezTo>
                    <a:pt x="360" y="369"/>
                    <a:pt x="360" y="369"/>
                    <a:pt x="360" y="369"/>
                  </a:cubicBezTo>
                  <a:cubicBezTo>
                    <a:pt x="360" y="369"/>
                    <a:pt x="360" y="369"/>
                    <a:pt x="360" y="369"/>
                  </a:cubicBezTo>
                  <a:cubicBezTo>
                    <a:pt x="360" y="370"/>
                    <a:pt x="360" y="370"/>
                    <a:pt x="360" y="370"/>
                  </a:cubicBezTo>
                  <a:cubicBezTo>
                    <a:pt x="360" y="370"/>
                    <a:pt x="360" y="370"/>
                    <a:pt x="360" y="370"/>
                  </a:cubicBezTo>
                  <a:cubicBezTo>
                    <a:pt x="359" y="370"/>
                    <a:pt x="359" y="370"/>
                    <a:pt x="359" y="370"/>
                  </a:cubicBezTo>
                  <a:cubicBezTo>
                    <a:pt x="359" y="370"/>
                    <a:pt x="359" y="370"/>
                    <a:pt x="359" y="370"/>
                  </a:cubicBezTo>
                  <a:cubicBezTo>
                    <a:pt x="359" y="370"/>
                    <a:pt x="359" y="370"/>
                    <a:pt x="359" y="370"/>
                  </a:cubicBezTo>
                  <a:cubicBezTo>
                    <a:pt x="359" y="370"/>
                    <a:pt x="359" y="370"/>
                    <a:pt x="359" y="370"/>
                  </a:cubicBezTo>
                  <a:cubicBezTo>
                    <a:pt x="359" y="370"/>
                    <a:pt x="359" y="370"/>
                    <a:pt x="359" y="370"/>
                  </a:cubicBezTo>
                  <a:cubicBezTo>
                    <a:pt x="359" y="371"/>
                    <a:pt x="359" y="371"/>
                    <a:pt x="359" y="371"/>
                  </a:cubicBezTo>
                  <a:cubicBezTo>
                    <a:pt x="359" y="371"/>
                    <a:pt x="359" y="371"/>
                    <a:pt x="359" y="371"/>
                  </a:cubicBezTo>
                  <a:cubicBezTo>
                    <a:pt x="354" y="376"/>
                    <a:pt x="354" y="376"/>
                    <a:pt x="354" y="376"/>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4"/>
                    <a:pt x="354" y="354"/>
                    <a:pt x="354" y="354"/>
                  </a:cubicBezTo>
                  <a:cubicBezTo>
                    <a:pt x="354" y="353"/>
                    <a:pt x="354" y="353"/>
                    <a:pt x="354" y="353"/>
                  </a:cubicBezTo>
                  <a:cubicBezTo>
                    <a:pt x="355" y="353"/>
                    <a:pt x="355" y="353"/>
                    <a:pt x="355" y="353"/>
                  </a:cubicBezTo>
                  <a:cubicBezTo>
                    <a:pt x="355" y="353"/>
                    <a:pt x="355" y="353"/>
                    <a:pt x="355" y="353"/>
                  </a:cubicBezTo>
                  <a:cubicBezTo>
                    <a:pt x="355" y="353"/>
                    <a:pt x="355" y="353"/>
                    <a:pt x="355" y="353"/>
                  </a:cubicBezTo>
                  <a:cubicBezTo>
                    <a:pt x="355" y="353"/>
                    <a:pt x="355" y="353"/>
                    <a:pt x="355" y="353"/>
                  </a:cubicBezTo>
                  <a:cubicBezTo>
                    <a:pt x="355" y="353"/>
                    <a:pt x="355" y="353"/>
                    <a:pt x="355" y="353"/>
                  </a:cubicBezTo>
                  <a:cubicBezTo>
                    <a:pt x="355" y="353"/>
                    <a:pt x="355" y="353"/>
                    <a:pt x="355" y="353"/>
                  </a:cubicBezTo>
                  <a:cubicBezTo>
                    <a:pt x="355" y="352"/>
                    <a:pt x="355" y="352"/>
                    <a:pt x="355"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6" y="352"/>
                    <a:pt x="356" y="352"/>
                    <a:pt x="356" y="352"/>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1"/>
                    <a:pt x="357" y="351"/>
                    <a:pt x="357" y="351"/>
                  </a:cubicBezTo>
                  <a:cubicBezTo>
                    <a:pt x="357" y="350"/>
                    <a:pt x="357" y="350"/>
                    <a:pt x="357" y="350"/>
                  </a:cubicBezTo>
                  <a:cubicBezTo>
                    <a:pt x="358" y="350"/>
                    <a:pt x="358" y="350"/>
                    <a:pt x="358" y="350"/>
                  </a:cubicBezTo>
                  <a:cubicBezTo>
                    <a:pt x="358" y="350"/>
                    <a:pt x="358" y="350"/>
                    <a:pt x="358" y="350"/>
                  </a:cubicBezTo>
                  <a:cubicBezTo>
                    <a:pt x="358" y="350"/>
                    <a:pt x="358" y="350"/>
                    <a:pt x="358" y="350"/>
                  </a:cubicBezTo>
                  <a:cubicBezTo>
                    <a:pt x="358" y="350"/>
                    <a:pt x="358" y="350"/>
                    <a:pt x="358" y="350"/>
                  </a:cubicBezTo>
                  <a:cubicBezTo>
                    <a:pt x="358" y="350"/>
                    <a:pt x="358" y="350"/>
                    <a:pt x="358" y="350"/>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1" y="337"/>
                    <a:pt x="371" y="337"/>
                    <a:pt x="371" y="337"/>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2" y="336"/>
                    <a:pt x="372" y="336"/>
                    <a:pt x="372" y="336"/>
                  </a:cubicBezTo>
                  <a:cubicBezTo>
                    <a:pt x="373" y="336"/>
                    <a:pt x="373" y="336"/>
                    <a:pt x="373" y="336"/>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3" y="335"/>
                    <a:pt x="373" y="335"/>
                    <a:pt x="373" y="335"/>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4" y="334"/>
                    <a:pt x="374" y="334"/>
                    <a:pt x="374" y="334"/>
                  </a:cubicBezTo>
                  <a:cubicBezTo>
                    <a:pt x="375" y="333"/>
                    <a:pt x="375" y="333"/>
                    <a:pt x="375" y="333"/>
                  </a:cubicBezTo>
                  <a:close/>
                  <a:moveTo>
                    <a:pt x="354" y="453"/>
                  </a:moveTo>
                  <a:cubicBezTo>
                    <a:pt x="339" y="467"/>
                    <a:pt x="339" y="467"/>
                    <a:pt x="339" y="467"/>
                  </a:cubicBezTo>
                  <a:cubicBezTo>
                    <a:pt x="339" y="439"/>
                    <a:pt x="339" y="439"/>
                    <a:pt x="339" y="439"/>
                  </a:cubicBezTo>
                  <a:cubicBezTo>
                    <a:pt x="354" y="425"/>
                    <a:pt x="354" y="425"/>
                    <a:pt x="354" y="425"/>
                  </a:cubicBezTo>
                  <a:cubicBezTo>
                    <a:pt x="354" y="453"/>
                    <a:pt x="354" y="453"/>
                    <a:pt x="354" y="453"/>
                  </a:cubicBezTo>
                  <a:close/>
                  <a:moveTo>
                    <a:pt x="339" y="212"/>
                  </a:moveTo>
                  <a:cubicBezTo>
                    <a:pt x="354" y="226"/>
                    <a:pt x="354" y="226"/>
                    <a:pt x="354" y="226"/>
                  </a:cubicBezTo>
                  <a:cubicBezTo>
                    <a:pt x="354" y="255"/>
                    <a:pt x="354" y="255"/>
                    <a:pt x="354" y="255"/>
                  </a:cubicBezTo>
                  <a:cubicBezTo>
                    <a:pt x="343" y="244"/>
                    <a:pt x="343" y="244"/>
                    <a:pt x="343" y="244"/>
                  </a:cubicBezTo>
                  <a:cubicBezTo>
                    <a:pt x="339" y="248"/>
                    <a:pt x="339" y="248"/>
                    <a:pt x="339" y="248"/>
                  </a:cubicBezTo>
                  <a:cubicBezTo>
                    <a:pt x="339" y="212"/>
                    <a:pt x="339" y="212"/>
                    <a:pt x="339" y="212"/>
                  </a:cubicBezTo>
                  <a:close/>
                  <a:moveTo>
                    <a:pt x="354" y="275"/>
                  </a:moveTo>
                  <a:cubicBezTo>
                    <a:pt x="354" y="305"/>
                    <a:pt x="354" y="305"/>
                    <a:pt x="354" y="305"/>
                  </a:cubicBezTo>
                  <a:cubicBezTo>
                    <a:pt x="353" y="305"/>
                    <a:pt x="353" y="305"/>
                    <a:pt x="353" y="305"/>
                  </a:cubicBezTo>
                  <a:cubicBezTo>
                    <a:pt x="353" y="305"/>
                    <a:pt x="353" y="305"/>
                    <a:pt x="353" y="305"/>
                  </a:cubicBezTo>
                  <a:cubicBezTo>
                    <a:pt x="353" y="305"/>
                    <a:pt x="353" y="305"/>
                    <a:pt x="353" y="305"/>
                  </a:cubicBezTo>
                  <a:cubicBezTo>
                    <a:pt x="353" y="306"/>
                    <a:pt x="353" y="306"/>
                    <a:pt x="353" y="306"/>
                  </a:cubicBezTo>
                  <a:cubicBezTo>
                    <a:pt x="353" y="306"/>
                    <a:pt x="353" y="306"/>
                    <a:pt x="353" y="306"/>
                  </a:cubicBezTo>
                  <a:cubicBezTo>
                    <a:pt x="353" y="306"/>
                    <a:pt x="353" y="306"/>
                    <a:pt x="353" y="306"/>
                  </a:cubicBezTo>
                  <a:cubicBezTo>
                    <a:pt x="353" y="306"/>
                    <a:pt x="353" y="306"/>
                    <a:pt x="353" y="306"/>
                  </a:cubicBezTo>
                  <a:cubicBezTo>
                    <a:pt x="352" y="306"/>
                    <a:pt x="352" y="306"/>
                    <a:pt x="352" y="306"/>
                  </a:cubicBezTo>
                  <a:cubicBezTo>
                    <a:pt x="352" y="306"/>
                    <a:pt x="352" y="306"/>
                    <a:pt x="352" y="306"/>
                  </a:cubicBezTo>
                  <a:cubicBezTo>
                    <a:pt x="352" y="306"/>
                    <a:pt x="352" y="306"/>
                    <a:pt x="352" y="306"/>
                  </a:cubicBezTo>
                  <a:cubicBezTo>
                    <a:pt x="352" y="307"/>
                    <a:pt x="352" y="307"/>
                    <a:pt x="352" y="307"/>
                  </a:cubicBezTo>
                  <a:cubicBezTo>
                    <a:pt x="352" y="307"/>
                    <a:pt x="352" y="307"/>
                    <a:pt x="352" y="307"/>
                  </a:cubicBezTo>
                  <a:cubicBezTo>
                    <a:pt x="352" y="307"/>
                    <a:pt x="352" y="307"/>
                    <a:pt x="352" y="307"/>
                  </a:cubicBezTo>
                  <a:cubicBezTo>
                    <a:pt x="352" y="307"/>
                    <a:pt x="352" y="307"/>
                    <a:pt x="352" y="307"/>
                  </a:cubicBezTo>
                  <a:cubicBezTo>
                    <a:pt x="352" y="307"/>
                    <a:pt x="352" y="307"/>
                    <a:pt x="352" y="307"/>
                  </a:cubicBezTo>
                  <a:cubicBezTo>
                    <a:pt x="351" y="307"/>
                    <a:pt x="351" y="307"/>
                    <a:pt x="351" y="307"/>
                  </a:cubicBezTo>
                  <a:cubicBezTo>
                    <a:pt x="351" y="307"/>
                    <a:pt x="351" y="307"/>
                    <a:pt x="351" y="307"/>
                  </a:cubicBezTo>
                  <a:cubicBezTo>
                    <a:pt x="351" y="307"/>
                    <a:pt x="351" y="307"/>
                    <a:pt x="351" y="307"/>
                  </a:cubicBezTo>
                  <a:cubicBezTo>
                    <a:pt x="351" y="308"/>
                    <a:pt x="351" y="308"/>
                    <a:pt x="351" y="308"/>
                  </a:cubicBezTo>
                  <a:cubicBezTo>
                    <a:pt x="351" y="308"/>
                    <a:pt x="351" y="308"/>
                    <a:pt x="351" y="308"/>
                  </a:cubicBezTo>
                  <a:cubicBezTo>
                    <a:pt x="351" y="308"/>
                    <a:pt x="351" y="308"/>
                    <a:pt x="351" y="308"/>
                  </a:cubicBezTo>
                  <a:cubicBezTo>
                    <a:pt x="351" y="308"/>
                    <a:pt x="351" y="308"/>
                    <a:pt x="351" y="308"/>
                  </a:cubicBezTo>
                  <a:cubicBezTo>
                    <a:pt x="350" y="308"/>
                    <a:pt x="350" y="308"/>
                    <a:pt x="350" y="308"/>
                  </a:cubicBezTo>
                  <a:cubicBezTo>
                    <a:pt x="350" y="308"/>
                    <a:pt x="350" y="308"/>
                    <a:pt x="350" y="308"/>
                  </a:cubicBezTo>
                  <a:cubicBezTo>
                    <a:pt x="350" y="308"/>
                    <a:pt x="350" y="308"/>
                    <a:pt x="350" y="308"/>
                  </a:cubicBezTo>
                  <a:cubicBezTo>
                    <a:pt x="350" y="308"/>
                    <a:pt x="350" y="308"/>
                    <a:pt x="350" y="308"/>
                  </a:cubicBezTo>
                  <a:cubicBezTo>
                    <a:pt x="350" y="309"/>
                    <a:pt x="350" y="309"/>
                    <a:pt x="350" y="309"/>
                  </a:cubicBezTo>
                  <a:cubicBezTo>
                    <a:pt x="350" y="309"/>
                    <a:pt x="350" y="309"/>
                    <a:pt x="350" y="309"/>
                  </a:cubicBezTo>
                  <a:cubicBezTo>
                    <a:pt x="350" y="309"/>
                    <a:pt x="350" y="309"/>
                    <a:pt x="350" y="309"/>
                  </a:cubicBezTo>
                  <a:cubicBezTo>
                    <a:pt x="349" y="309"/>
                    <a:pt x="349" y="309"/>
                    <a:pt x="349" y="309"/>
                  </a:cubicBezTo>
                  <a:cubicBezTo>
                    <a:pt x="349" y="309"/>
                    <a:pt x="349" y="309"/>
                    <a:pt x="349" y="309"/>
                  </a:cubicBezTo>
                  <a:cubicBezTo>
                    <a:pt x="349" y="309"/>
                    <a:pt x="349" y="309"/>
                    <a:pt x="349" y="309"/>
                  </a:cubicBezTo>
                  <a:cubicBezTo>
                    <a:pt x="349" y="309"/>
                    <a:pt x="349" y="309"/>
                    <a:pt x="349" y="309"/>
                  </a:cubicBezTo>
                  <a:cubicBezTo>
                    <a:pt x="349" y="310"/>
                    <a:pt x="349" y="310"/>
                    <a:pt x="349" y="310"/>
                  </a:cubicBezTo>
                  <a:cubicBezTo>
                    <a:pt x="349" y="310"/>
                    <a:pt x="349" y="310"/>
                    <a:pt x="349" y="310"/>
                  </a:cubicBezTo>
                  <a:cubicBezTo>
                    <a:pt x="349" y="310"/>
                    <a:pt x="349" y="310"/>
                    <a:pt x="349" y="310"/>
                  </a:cubicBezTo>
                  <a:cubicBezTo>
                    <a:pt x="348" y="310"/>
                    <a:pt x="348" y="310"/>
                    <a:pt x="348" y="310"/>
                  </a:cubicBezTo>
                  <a:cubicBezTo>
                    <a:pt x="348" y="310"/>
                    <a:pt x="348" y="310"/>
                    <a:pt x="348" y="310"/>
                  </a:cubicBezTo>
                  <a:cubicBezTo>
                    <a:pt x="348" y="310"/>
                    <a:pt x="348" y="310"/>
                    <a:pt x="348" y="310"/>
                  </a:cubicBezTo>
                  <a:cubicBezTo>
                    <a:pt x="348" y="310"/>
                    <a:pt x="348" y="310"/>
                    <a:pt x="348" y="310"/>
                  </a:cubicBezTo>
                  <a:cubicBezTo>
                    <a:pt x="348" y="310"/>
                    <a:pt x="348" y="310"/>
                    <a:pt x="348" y="310"/>
                  </a:cubicBezTo>
                  <a:cubicBezTo>
                    <a:pt x="348" y="311"/>
                    <a:pt x="348" y="311"/>
                    <a:pt x="348" y="311"/>
                  </a:cubicBezTo>
                  <a:cubicBezTo>
                    <a:pt x="348" y="311"/>
                    <a:pt x="348" y="311"/>
                    <a:pt x="348" y="311"/>
                  </a:cubicBezTo>
                  <a:cubicBezTo>
                    <a:pt x="348" y="311"/>
                    <a:pt x="348" y="311"/>
                    <a:pt x="348" y="311"/>
                  </a:cubicBezTo>
                  <a:cubicBezTo>
                    <a:pt x="348" y="311"/>
                    <a:pt x="348" y="311"/>
                    <a:pt x="348" y="311"/>
                  </a:cubicBezTo>
                  <a:cubicBezTo>
                    <a:pt x="347" y="311"/>
                    <a:pt x="347" y="311"/>
                    <a:pt x="347" y="311"/>
                  </a:cubicBezTo>
                  <a:cubicBezTo>
                    <a:pt x="347" y="311"/>
                    <a:pt x="347" y="311"/>
                    <a:pt x="347" y="311"/>
                  </a:cubicBezTo>
                  <a:cubicBezTo>
                    <a:pt x="347" y="311"/>
                    <a:pt x="347" y="311"/>
                    <a:pt x="347" y="311"/>
                  </a:cubicBezTo>
                  <a:cubicBezTo>
                    <a:pt x="347" y="312"/>
                    <a:pt x="347" y="312"/>
                    <a:pt x="347" y="312"/>
                  </a:cubicBezTo>
                  <a:cubicBezTo>
                    <a:pt x="347" y="312"/>
                    <a:pt x="347" y="312"/>
                    <a:pt x="347" y="312"/>
                  </a:cubicBezTo>
                  <a:cubicBezTo>
                    <a:pt x="347" y="312"/>
                    <a:pt x="347" y="312"/>
                    <a:pt x="347" y="312"/>
                  </a:cubicBezTo>
                  <a:cubicBezTo>
                    <a:pt x="347" y="312"/>
                    <a:pt x="347" y="312"/>
                    <a:pt x="347" y="312"/>
                  </a:cubicBezTo>
                  <a:cubicBezTo>
                    <a:pt x="346" y="312"/>
                    <a:pt x="346" y="312"/>
                    <a:pt x="346" y="312"/>
                  </a:cubicBezTo>
                  <a:cubicBezTo>
                    <a:pt x="346" y="312"/>
                    <a:pt x="346" y="312"/>
                    <a:pt x="346" y="312"/>
                  </a:cubicBezTo>
                  <a:cubicBezTo>
                    <a:pt x="346" y="312"/>
                    <a:pt x="346" y="312"/>
                    <a:pt x="346" y="312"/>
                  </a:cubicBezTo>
                  <a:cubicBezTo>
                    <a:pt x="346" y="312"/>
                    <a:pt x="346" y="312"/>
                    <a:pt x="346" y="312"/>
                  </a:cubicBezTo>
                  <a:cubicBezTo>
                    <a:pt x="339" y="319"/>
                    <a:pt x="339" y="319"/>
                    <a:pt x="339" y="319"/>
                  </a:cubicBezTo>
                  <a:cubicBezTo>
                    <a:pt x="339" y="298"/>
                    <a:pt x="339" y="298"/>
                    <a:pt x="339" y="298"/>
                  </a:cubicBezTo>
                  <a:cubicBezTo>
                    <a:pt x="345" y="292"/>
                    <a:pt x="345" y="292"/>
                    <a:pt x="345" y="292"/>
                  </a:cubicBezTo>
                  <a:cubicBezTo>
                    <a:pt x="339" y="285"/>
                    <a:pt x="339" y="285"/>
                    <a:pt x="339" y="285"/>
                  </a:cubicBezTo>
                  <a:cubicBezTo>
                    <a:pt x="339" y="261"/>
                    <a:pt x="339" y="261"/>
                    <a:pt x="339" y="261"/>
                  </a:cubicBezTo>
                  <a:cubicBezTo>
                    <a:pt x="354" y="275"/>
                    <a:pt x="354" y="275"/>
                    <a:pt x="354" y="275"/>
                  </a:cubicBezTo>
                  <a:close/>
                  <a:moveTo>
                    <a:pt x="354" y="354"/>
                  </a:moveTo>
                  <a:cubicBezTo>
                    <a:pt x="354" y="376"/>
                    <a:pt x="354" y="376"/>
                    <a:pt x="354" y="376"/>
                  </a:cubicBezTo>
                  <a:cubicBezTo>
                    <a:pt x="346" y="383"/>
                    <a:pt x="346" y="383"/>
                    <a:pt x="346" y="383"/>
                  </a:cubicBezTo>
                  <a:cubicBezTo>
                    <a:pt x="339" y="390"/>
                    <a:pt x="339" y="390"/>
                    <a:pt x="339" y="390"/>
                  </a:cubicBezTo>
                  <a:cubicBezTo>
                    <a:pt x="339" y="368"/>
                    <a:pt x="339" y="368"/>
                    <a:pt x="339" y="368"/>
                  </a:cubicBezTo>
                  <a:cubicBezTo>
                    <a:pt x="348" y="360"/>
                    <a:pt x="348" y="360"/>
                    <a:pt x="348" y="360"/>
                  </a:cubicBezTo>
                  <a:cubicBezTo>
                    <a:pt x="348" y="360"/>
                    <a:pt x="348" y="360"/>
                    <a:pt x="348" y="360"/>
                  </a:cubicBezTo>
                  <a:cubicBezTo>
                    <a:pt x="348" y="360"/>
                    <a:pt x="348" y="360"/>
                    <a:pt x="348" y="360"/>
                  </a:cubicBezTo>
                  <a:cubicBezTo>
                    <a:pt x="348" y="359"/>
                    <a:pt x="348" y="359"/>
                    <a:pt x="348" y="359"/>
                  </a:cubicBezTo>
                  <a:cubicBezTo>
                    <a:pt x="349" y="359"/>
                    <a:pt x="349" y="359"/>
                    <a:pt x="349" y="359"/>
                  </a:cubicBezTo>
                  <a:cubicBezTo>
                    <a:pt x="349" y="359"/>
                    <a:pt x="349" y="359"/>
                    <a:pt x="349" y="359"/>
                  </a:cubicBezTo>
                  <a:cubicBezTo>
                    <a:pt x="349" y="359"/>
                    <a:pt x="349" y="359"/>
                    <a:pt x="349" y="359"/>
                  </a:cubicBezTo>
                  <a:cubicBezTo>
                    <a:pt x="349" y="359"/>
                    <a:pt x="349" y="359"/>
                    <a:pt x="349" y="359"/>
                  </a:cubicBezTo>
                  <a:cubicBezTo>
                    <a:pt x="349" y="359"/>
                    <a:pt x="349" y="359"/>
                    <a:pt x="349" y="359"/>
                  </a:cubicBezTo>
                  <a:cubicBezTo>
                    <a:pt x="349" y="359"/>
                    <a:pt x="349" y="359"/>
                    <a:pt x="349" y="359"/>
                  </a:cubicBezTo>
                  <a:cubicBezTo>
                    <a:pt x="349" y="358"/>
                    <a:pt x="349" y="358"/>
                    <a:pt x="349"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8"/>
                    <a:pt x="350" y="358"/>
                    <a:pt x="350" y="358"/>
                  </a:cubicBezTo>
                  <a:cubicBezTo>
                    <a:pt x="350" y="357"/>
                    <a:pt x="350" y="357"/>
                    <a:pt x="350" y="357"/>
                  </a:cubicBezTo>
                  <a:cubicBezTo>
                    <a:pt x="351" y="357"/>
                    <a:pt x="351" y="357"/>
                    <a:pt x="351" y="357"/>
                  </a:cubicBezTo>
                  <a:cubicBezTo>
                    <a:pt x="351" y="357"/>
                    <a:pt x="351" y="357"/>
                    <a:pt x="351" y="357"/>
                  </a:cubicBezTo>
                  <a:cubicBezTo>
                    <a:pt x="351" y="357"/>
                    <a:pt x="351" y="357"/>
                    <a:pt x="351" y="357"/>
                  </a:cubicBezTo>
                  <a:cubicBezTo>
                    <a:pt x="351" y="357"/>
                    <a:pt x="351" y="357"/>
                    <a:pt x="351" y="357"/>
                  </a:cubicBezTo>
                  <a:cubicBezTo>
                    <a:pt x="351" y="357"/>
                    <a:pt x="351" y="357"/>
                    <a:pt x="351" y="357"/>
                  </a:cubicBezTo>
                  <a:cubicBezTo>
                    <a:pt x="351" y="357"/>
                    <a:pt x="351" y="357"/>
                    <a:pt x="351" y="357"/>
                  </a:cubicBezTo>
                  <a:cubicBezTo>
                    <a:pt x="351" y="356"/>
                    <a:pt x="351" y="356"/>
                    <a:pt x="351" y="356"/>
                  </a:cubicBezTo>
                  <a:cubicBezTo>
                    <a:pt x="351" y="356"/>
                    <a:pt x="351" y="356"/>
                    <a:pt x="351" y="356"/>
                  </a:cubicBezTo>
                  <a:cubicBezTo>
                    <a:pt x="352" y="356"/>
                    <a:pt x="352" y="356"/>
                    <a:pt x="352" y="356"/>
                  </a:cubicBezTo>
                  <a:cubicBezTo>
                    <a:pt x="352" y="356"/>
                    <a:pt x="352" y="356"/>
                    <a:pt x="352" y="356"/>
                  </a:cubicBezTo>
                  <a:cubicBezTo>
                    <a:pt x="352" y="356"/>
                    <a:pt x="352" y="356"/>
                    <a:pt x="352" y="356"/>
                  </a:cubicBezTo>
                  <a:cubicBezTo>
                    <a:pt x="352" y="356"/>
                    <a:pt x="352" y="356"/>
                    <a:pt x="352" y="356"/>
                  </a:cubicBezTo>
                  <a:cubicBezTo>
                    <a:pt x="352" y="356"/>
                    <a:pt x="352" y="356"/>
                    <a:pt x="352" y="356"/>
                  </a:cubicBezTo>
                  <a:cubicBezTo>
                    <a:pt x="352" y="356"/>
                    <a:pt x="352" y="356"/>
                    <a:pt x="352" y="356"/>
                  </a:cubicBezTo>
                  <a:cubicBezTo>
                    <a:pt x="352" y="355"/>
                    <a:pt x="352" y="355"/>
                    <a:pt x="352"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3" y="355"/>
                    <a:pt x="353" y="355"/>
                    <a:pt x="353" y="355"/>
                  </a:cubicBezTo>
                  <a:cubicBezTo>
                    <a:pt x="354" y="354"/>
                    <a:pt x="354" y="354"/>
                    <a:pt x="354" y="354"/>
                  </a:cubicBezTo>
                  <a:close/>
                  <a:moveTo>
                    <a:pt x="339" y="467"/>
                  </a:moveTo>
                  <a:cubicBezTo>
                    <a:pt x="338" y="468"/>
                    <a:pt x="338" y="468"/>
                    <a:pt x="338" y="468"/>
                  </a:cubicBezTo>
                  <a:cubicBezTo>
                    <a:pt x="328" y="458"/>
                    <a:pt x="328" y="458"/>
                    <a:pt x="328" y="458"/>
                  </a:cubicBezTo>
                  <a:cubicBezTo>
                    <a:pt x="328" y="430"/>
                    <a:pt x="328" y="430"/>
                    <a:pt x="328" y="430"/>
                  </a:cubicBezTo>
                  <a:cubicBezTo>
                    <a:pt x="338" y="440"/>
                    <a:pt x="338" y="440"/>
                    <a:pt x="338" y="440"/>
                  </a:cubicBezTo>
                  <a:cubicBezTo>
                    <a:pt x="339" y="439"/>
                    <a:pt x="339" y="439"/>
                    <a:pt x="339" y="439"/>
                  </a:cubicBezTo>
                  <a:cubicBezTo>
                    <a:pt x="339" y="467"/>
                    <a:pt x="339" y="467"/>
                    <a:pt x="339" y="467"/>
                  </a:cubicBezTo>
                  <a:close/>
                  <a:moveTo>
                    <a:pt x="328" y="200"/>
                  </a:moveTo>
                  <a:cubicBezTo>
                    <a:pt x="339" y="212"/>
                    <a:pt x="339" y="212"/>
                    <a:pt x="339" y="212"/>
                  </a:cubicBezTo>
                  <a:cubicBezTo>
                    <a:pt x="339" y="248"/>
                    <a:pt x="339" y="248"/>
                    <a:pt x="339" y="248"/>
                  </a:cubicBezTo>
                  <a:cubicBezTo>
                    <a:pt x="333" y="254"/>
                    <a:pt x="333" y="254"/>
                    <a:pt x="333" y="254"/>
                  </a:cubicBezTo>
                  <a:cubicBezTo>
                    <a:pt x="339" y="261"/>
                    <a:pt x="339" y="261"/>
                    <a:pt x="339" y="261"/>
                  </a:cubicBezTo>
                  <a:cubicBezTo>
                    <a:pt x="339" y="285"/>
                    <a:pt x="339" y="285"/>
                    <a:pt x="339" y="285"/>
                  </a:cubicBezTo>
                  <a:cubicBezTo>
                    <a:pt x="328" y="274"/>
                    <a:pt x="328" y="274"/>
                    <a:pt x="328" y="274"/>
                  </a:cubicBezTo>
                  <a:cubicBezTo>
                    <a:pt x="328" y="238"/>
                    <a:pt x="328" y="238"/>
                    <a:pt x="328" y="238"/>
                  </a:cubicBezTo>
                  <a:cubicBezTo>
                    <a:pt x="333" y="233"/>
                    <a:pt x="333" y="233"/>
                    <a:pt x="333" y="233"/>
                  </a:cubicBezTo>
                  <a:cubicBezTo>
                    <a:pt x="328" y="229"/>
                    <a:pt x="328" y="229"/>
                    <a:pt x="328" y="229"/>
                  </a:cubicBezTo>
                  <a:cubicBezTo>
                    <a:pt x="328" y="200"/>
                    <a:pt x="328" y="200"/>
                    <a:pt x="328" y="200"/>
                  </a:cubicBezTo>
                  <a:close/>
                  <a:moveTo>
                    <a:pt x="339" y="298"/>
                  </a:moveTo>
                  <a:cubicBezTo>
                    <a:pt x="339" y="319"/>
                    <a:pt x="339" y="319"/>
                    <a:pt x="339" y="319"/>
                  </a:cubicBezTo>
                  <a:cubicBezTo>
                    <a:pt x="334" y="325"/>
                    <a:pt x="334" y="325"/>
                    <a:pt x="334" y="325"/>
                  </a:cubicBezTo>
                  <a:cubicBezTo>
                    <a:pt x="333" y="325"/>
                    <a:pt x="333" y="325"/>
                    <a:pt x="333" y="325"/>
                  </a:cubicBezTo>
                  <a:cubicBezTo>
                    <a:pt x="333" y="325"/>
                    <a:pt x="333" y="325"/>
                    <a:pt x="333" y="325"/>
                  </a:cubicBezTo>
                  <a:cubicBezTo>
                    <a:pt x="333" y="325"/>
                    <a:pt x="333" y="325"/>
                    <a:pt x="333" y="325"/>
                  </a:cubicBezTo>
                  <a:cubicBezTo>
                    <a:pt x="333" y="325"/>
                    <a:pt x="333" y="325"/>
                    <a:pt x="333" y="325"/>
                  </a:cubicBezTo>
                  <a:cubicBezTo>
                    <a:pt x="333" y="326"/>
                    <a:pt x="333" y="326"/>
                    <a:pt x="333" y="326"/>
                  </a:cubicBezTo>
                  <a:cubicBezTo>
                    <a:pt x="333" y="326"/>
                    <a:pt x="333" y="326"/>
                    <a:pt x="333" y="326"/>
                  </a:cubicBezTo>
                  <a:cubicBezTo>
                    <a:pt x="333" y="326"/>
                    <a:pt x="333" y="326"/>
                    <a:pt x="333" y="326"/>
                  </a:cubicBezTo>
                  <a:cubicBezTo>
                    <a:pt x="332" y="326"/>
                    <a:pt x="332" y="326"/>
                    <a:pt x="332" y="326"/>
                  </a:cubicBezTo>
                  <a:cubicBezTo>
                    <a:pt x="332" y="326"/>
                    <a:pt x="332" y="326"/>
                    <a:pt x="332" y="326"/>
                  </a:cubicBezTo>
                  <a:cubicBezTo>
                    <a:pt x="332" y="326"/>
                    <a:pt x="332" y="326"/>
                    <a:pt x="332" y="326"/>
                  </a:cubicBezTo>
                  <a:cubicBezTo>
                    <a:pt x="332" y="326"/>
                    <a:pt x="332" y="326"/>
                    <a:pt x="332" y="326"/>
                  </a:cubicBezTo>
                  <a:cubicBezTo>
                    <a:pt x="332" y="326"/>
                    <a:pt x="332" y="326"/>
                    <a:pt x="332" y="326"/>
                  </a:cubicBezTo>
                  <a:cubicBezTo>
                    <a:pt x="332" y="327"/>
                    <a:pt x="332" y="327"/>
                    <a:pt x="332" y="327"/>
                  </a:cubicBezTo>
                  <a:cubicBezTo>
                    <a:pt x="332" y="327"/>
                    <a:pt x="332" y="327"/>
                    <a:pt x="332" y="327"/>
                  </a:cubicBezTo>
                  <a:cubicBezTo>
                    <a:pt x="331" y="327"/>
                    <a:pt x="331" y="327"/>
                    <a:pt x="331" y="327"/>
                  </a:cubicBezTo>
                  <a:cubicBezTo>
                    <a:pt x="331" y="327"/>
                    <a:pt x="331" y="327"/>
                    <a:pt x="331" y="327"/>
                  </a:cubicBezTo>
                  <a:cubicBezTo>
                    <a:pt x="331" y="327"/>
                    <a:pt x="331" y="327"/>
                    <a:pt x="331" y="327"/>
                  </a:cubicBezTo>
                  <a:cubicBezTo>
                    <a:pt x="331" y="327"/>
                    <a:pt x="331" y="327"/>
                    <a:pt x="331" y="327"/>
                  </a:cubicBezTo>
                  <a:cubicBezTo>
                    <a:pt x="331" y="327"/>
                    <a:pt x="331" y="327"/>
                    <a:pt x="331" y="327"/>
                  </a:cubicBezTo>
                  <a:cubicBezTo>
                    <a:pt x="331" y="328"/>
                    <a:pt x="331" y="328"/>
                    <a:pt x="331" y="328"/>
                  </a:cubicBezTo>
                  <a:cubicBezTo>
                    <a:pt x="331" y="328"/>
                    <a:pt x="331" y="328"/>
                    <a:pt x="331" y="328"/>
                  </a:cubicBezTo>
                  <a:cubicBezTo>
                    <a:pt x="330" y="328"/>
                    <a:pt x="330" y="328"/>
                    <a:pt x="330" y="328"/>
                  </a:cubicBezTo>
                  <a:cubicBezTo>
                    <a:pt x="330" y="328"/>
                    <a:pt x="330" y="328"/>
                    <a:pt x="330" y="328"/>
                  </a:cubicBezTo>
                  <a:cubicBezTo>
                    <a:pt x="330" y="328"/>
                    <a:pt x="330" y="328"/>
                    <a:pt x="330" y="328"/>
                  </a:cubicBezTo>
                  <a:cubicBezTo>
                    <a:pt x="330" y="328"/>
                    <a:pt x="330" y="328"/>
                    <a:pt x="330" y="328"/>
                  </a:cubicBezTo>
                  <a:cubicBezTo>
                    <a:pt x="330" y="328"/>
                    <a:pt x="330" y="328"/>
                    <a:pt x="330" y="328"/>
                  </a:cubicBezTo>
                  <a:cubicBezTo>
                    <a:pt x="330" y="329"/>
                    <a:pt x="330" y="329"/>
                    <a:pt x="330" y="329"/>
                  </a:cubicBezTo>
                  <a:cubicBezTo>
                    <a:pt x="330" y="329"/>
                    <a:pt x="330" y="329"/>
                    <a:pt x="330" y="329"/>
                  </a:cubicBezTo>
                  <a:cubicBezTo>
                    <a:pt x="329" y="329"/>
                    <a:pt x="329" y="329"/>
                    <a:pt x="329" y="329"/>
                  </a:cubicBezTo>
                  <a:cubicBezTo>
                    <a:pt x="329" y="329"/>
                    <a:pt x="329" y="329"/>
                    <a:pt x="329" y="329"/>
                  </a:cubicBezTo>
                  <a:cubicBezTo>
                    <a:pt x="329" y="329"/>
                    <a:pt x="329" y="329"/>
                    <a:pt x="329" y="329"/>
                  </a:cubicBezTo>
                  <a:cubicBezTo>
                    <a:pt x="329" y="329"/>
                    <a:pt x="329" y="329"/>
                    <a:pt x="329" y="329"/>
                  </a:cubicBezTo>
                  <a:cubicBezTo>
                    <a:pt x="329" y="329"/>
                    <a:pt x="329" y="329"/>
                    <a:pt x="329" y="329"/>
                  </a:cubicBezTo>
                  <a:cubicBezTo>
                    <a:pt x="329" y="329"/>
                    <a:pt x="329" y="329"/>
                    <a:pt x="329" y="329"/>
                  </a:cubicBezTo>
                  <a:cubicBezTo>
                    <a:pt x="329" y="330"/>
                    <a:pt x="329" y="330"/>
                    <a:pt x="329" y="330"/>
                  </a:cubicBezTo>
                  <a:cubicBezTo>
                    <a:pt x="329" y="330"/>
                    <a:pt x="329" y="330"/>
                    <a:pt x="329" y="330"/>
                  </a:cubicBezTo>
                  <a:cubicBezTo>
                    <a:pt x="328" y="330"/>
                    <a:pt x="328" y="330"/>
                    <a:pt x="328" y="330"/>
                  </a:cubicBezTo>
                  <a:cubicBezTo>
                    <a:pt x="328" y="330"/>
                    <a:pt x="328" y="330"/>
                    <a:pt x="328" y="330"/>
                  </a:cubicBezTo>
                  <a:cubicBezTo>
                    <a:pt x="328" y="330"/>
                    <a:pt x="328" y="330"/>
                    <a:pt x="328" y="330"/>
                  </a:cubicBezTo>
                  <a:cubicBezTo>
                    <a:pt x="328" y="330"/>
                    <a:pt x="328" y="330"/>
                    <a:pt x="328" y="330"/>
                  </a:cubicBezTo>
                  <a:cubicBezTo>
                    <a:pt x="328" y="330"/>
                    <a:pt x="328" y="330"/>
                    <a:pt x="328" y="330"/>
                  </a:cubicBezTo>
                  <a:cubicBezTo>
                    <a:pt x="328" y="294"/>
                    <a:pt x="328" y="294"/>
                    <a:pt x="328" y="294"/>
                  </a:cubicBezTo>
                  <a:cubicBezTo>
                    <a:pt x="335" y="302"/>
                    <a:pt x="335" y="302"/>
                    <a:pt x="335" y="302"/>
                  </a:cubicBezTo>
                  <a:cubicBezTo>
                    <a:pt x="339" y="298"/>
                    <a:pt x="339" y="298"/>
                    <a:pt x="339" y="298"/>
                  </a:cubicBezTo>
                  <a:close/>
                  <a:moveTo>
                    <a:pt x="339" y="368"/>
                  </a:moveTo>
                  <a:cubicBezTo>
                    <a:pt x="339" y="390"/>
                    <a:pt x="339" y="390"/>
                    <a:pt x="339" y="390"/>
                  </a:cubicBezTo>
                  <a:cubicBezTo>
                    <a:pt x="336" y="393"/>
                    <a:pt x="336" y="393"/>
                    <a:pt x="336" y="393"/>
                  </a:cubicBezTo>
                  <a:cubicBezTo>
                    <a:pt x="328" y="401"/>
                    <a:pt x="328" y="401"/>
                    <a:pt x="328" y="401"/>
                  </a:cubicBezTo>
                  <a:cubicBezTo>
                    <a:pt x="328" y="380"/>
                    <a:pt x="328" y="380"/>
                    <a:pt x="328" y="380"/>
                  </a:cubicBezTo>
                  <a:lnTo>
                    <a:pt x="339" y="368"/>
                  </a:lnTo>
                  <a:close/>
                  <a:moveTo>
                    <a:pt x="328" y="458"/>
                  </a:moveTo>
                  <a:cubicBezTo>
                    <a:pt x="317" y="447"/>
                    <a:pt x="317" y="447"/>
                    <a:pt x="317" y="447"/>
                  </a:cubicBezTo>
                  <a:cubicBezTo>
                    <a:pt x="317" y="419"/>
                    <a:pt x="317" y="419"/>
                    <a:pt x="317" y="419"/>
                  </a:cubicBezTo>
                  <a:cubicBezTo>
                    <a:pt x="328" y="430"/>
                    <a:pt x="328" y="430"/>
                    <a:pt x="328" y="430"/>
                  </a:cubicBezTo>
                  <a:cubicBezTo>
                    <a:pt x="328" y="458"/>
                    <a:pt x="328" y="458"/>
                    <a:pt x="328" y="458"/>
                  </a:cubicBezTo>
                  <a:close/>
                  <a:moveTo>
                    <a:pt x="317" y="189"/>
                  </a:moveTo>
                  <a:cubicBezTo>
                    <a:pt x="328" y="200"/>
                    <a:pt x="328" y="200"/>
                    <a:pt x="328" y="200"/>
                  </a:cubicBezTo>
                  <a:cubicBezTo>
                    <a:pt x="328" y="229"/>
                    <a:pt x="328" y="229"/>
                    <a:pt x="328" y="229"/>
                  </a:cubicBezTo>
                  <a:cubicBezTo>
                    <a:pt x="317" y="217"/>
                    <a:pt x="317" y="217"/>
                    <a:pt x="317" y="217"/>
                  </a:cubicBezTo>
                  <a:cubicBezTo>
                    <a:pt x="317" y="189"/>
                    <a:pt x="317" y="189"/>
                    <a:pt x="317" y="189"/>
                  </a:cubicBezTo>
                  <a:close/>
                  <a:moveTo>
                    <a:pt x="328" y="238"/>
                  </a:moveTo>
                  <a:cubicBezTo>
                    <a:pt x="328" y="274"/>
                    <a:pt x="328" y="274"/>
                    <a:pt x="328" y="274"/>
                  </a:cubicBezTo>
                  <a:cubicBezTo>
                    <a:pt x="321" y="267"/>
                    <a:pt x="321" y="267"/>
                    <a:pt x="321" y="267"/>
                  </a:cubicBezTo>
                  <a:cubicBezTo>
                    <a:pt x="317" y="271"/>
                    <a:pt x="317" y="271"/>
                    <a:pt x="317" y="271"/>
                  </a:cubicBezTo>
                  <a:cubicBezTo>
                    <a:pt x="317" y="249"/>
                    <a:pt x="317" y="249"/>
                    <a:pt x="317" y="249"/>
                  </a:cubicBezTo>
                  <a:cubicBezTo>
                    <a:pt x="328" y="238"/>
                    <a:pt x="328" y="238"/>
                    <a:pt x="328" y="238"/>
                  </a:cubicBezTo>
                  <a:close/>
                  <a:moveTo>
                    <a:pt x="328" y="294"/>
                  </a:moveTo>
                  <a:cubicBezTo>
                    <a:pt x="328" y="330"/>
                    <a:pt x="328" y="330"/>
                    <a:pt x="328" y="330"/>
                  </a:cubicBezTo>
                  <a:cubicBezTo>
                    <a:pt x="328" y="330"/>
                    <a:pt x="328" y="330"/>
                    <a:pt x="328" y="330"/>
                  </a:cubicBezTo>
                  <a:cubicBezTo>
                    <a:pt x="328" y="331"/>
                    <a:pt x="328" y="331"/>
                    <a:pt x="328" y="331"/>
                  </a:cubicBezTo>
                  <a:cubicBezTo>
                    <a:pt x="328" y="331"/>
                    <a:pt x="328" y="331"/>
                    <a:pt x="328" y="331"/>
                  </a:cubicBezTo>
                  <a:cubicBezTo>
                    <a:pt x="328" y="331"/>
                    <a:pt x="328" y="331"/>
                    <a:pt x="328" y="331"/>
                  </a:cubicBezTo>
                  <a:cubicBezTo>
                    <a:pt x="327" y="331"/>
                    <a:pt x="327" y="331"/>
                    <a:pt x="327" y="331"/>
                  </a:cubicBezTo>
                  <a:cubicBezTo>
                    <a:pt x="327" y="331"/>
                    <a:pt x="327" y="331"/>
                    <a:pt x="327" y="331"/>
                  </a:cubicBezTo>
                  <a:cubicBezTo>
                    <a:pt x="327" y="331"/>
                    <a:pt x="327" y="331"/>
                    <a:pt x="327" y="331"/>
                  </a:cubicBezTo>
                  <a:cubicBezTo>
                    <a:pt x="327" y="331"/>
                    <a:pt x="327" y="331"/>
                    <a:pt x="327" y="331"/>
                  </a:cubicBezTo>
                  <a:cubicBezTo>
                    <a:pt x="327" y="332"/>
                    <a:pt x="327" y="332"/>
                    <a:pt x="327" y="332"/>
                  </a:cubicBezTo>
                  <a:cubicBezTo>
                    <a:pt x="327" y="332"/>
                    <a:pt x="327" y="332"/>
                    <a:pt x="327" y="332"/>
                  </a:cubicBezTo>
                  <a:cubicBezTo>
                    <a:pt x="327" y="332"/>
                    <a:pt x="327" y="332"/>
                    <a:pt x="327" y="332"/>
                  </a:cubicBezTo>
                  <a:cubicBezTo>
                    <a:pt x="326" y="332"/>
                    <a:pt x="326" y="332"/>
                    <a:pt x="326" y="332"/>
                  </a:cubicBezTo>
                  <a:cubicBezTo>
                    <a:pt x="326" y="332"/>
                    <a:pt x="326" y="332"/>
                    <a:pt x="326" y="332"/>
                  </a:cubicBezTo>
                  <a:cubicBezTo>
                    <a:pt x="326" y="332"/>
                    <a:pt x="326" y="332"/>
                    <a:pt x="326" y="332"/>
                  </a:cubicBezTo>
                  <a:cubicBezTo>
                    <a:pt x="326" y="332"/>
                    <a:pt x="326" y="332"/>
                    <a:pt x="326" y="332"/>
                  </a:cubicBezTo>
                  <a:cubicBezTo>
                    <a:pt x="326" y="332"/>
                    <a:pt x="326" y="332"/>
                    <a:pt x="326" y="332"/>
                  </a:cubicBezTo>
                  <a:cubicBezTo>
                    <a:pt x="326" y="332"/>
                    <a:pt x="326" y="332"/>
                    <a:pt x="326" y="332"/>
                  </a:cubicBezTo>
                  <a:cubicBezTo>
                    <a:pt x="326" y="333"/>
                    <a:pt x="326" y="333"/>
                    <a:pt x="326" y="333"/>
                  </a:cubicBezTo>
                  <a:cubicBezTo>
                    <a:pt x="325" y="333"/>
                    <a:pt x="325" y="333"/>
                    <a:pt x="325" y="333"/>
                  </a:cubicBezTo>
                  <a:cubicBezTo>
                    <a:pt x="325" y="333"/>
                    <a:pt x="325" y="333"/>
                    <a:pt x="325" y="333"/>
                  </a:cubicBezTo>
                  <a:cubicBezTo>
                    <a:pt x="325" y="333"/>
                    <a:pt x="325" y="333"/>
                    <a:pt x="325" y="333"/>
                  </a:cubicBezTo>
                  <a:cubicBezTo>
                    <a:pt x="325" y="333"/>
                    <a:pt x="325" y="333"/>
                    <a:pt x="325" y="333"/>
                  </a:cubicBezTo>
                  <a:cubicBezTo>
                    <a:pt x="325" y="333"/>
                    <a:pt x="325" y="333"/>
                    <a:pt x="325" y="333"/>
                  </a:cubicBezTo>
                  <a:cubicBezTo>
                    <a:pt x="325" y="333"/>
                    <a:pt x="325" y="333"/>
                    <a:pt x="325" y="333"/>
                  </a:cubicBezTo>
                  <a:cubicBezTo>
                    <a:pt x="325" y="334"/>
                    <a:pt x="325" y="334"/>
                    <a:pt x="325" y="334"/>
                  </a:cubicBezTo>
                  <a:cubicBezTo>
                    <a:pt x="325" y="334"/>
                    <a:pt x="325" y="334"/>
                    <a:pt x="325" y="334"/>
                  </a:cubicBezTo>
                  <a:cubicBezTo>
                    <a:pt x="324" y="334"/>
                    <a:pt x="324" y="334"/>
                    <a:pt x="324" y="334"/>
                  </a:cubicBezTo>
                  <a:cubicBezTo>
                    <a:pt x="324" y="334"/>
                    <a:pt x="324" y="334"/>
                    <a:pt x="324" y="334"/>
                  </a:cubicBezTo>
                  <a:cubicBezTo>
                    <a:pt x="324" y="334"/>
                    <a:pt x="324" y="334"/>
                    <a:pt x="324" y="334"/>
                  </a:cubicBezTo>
                  <a:cubicBezTo>
                    <a:pt x="324" y="334"/>
                    <a:pt x="324" y="334"/>
                    <a:pt x="324" y="334"/>
                  </a:cubicBezTo>
                  <a:cubicBezTo>
                    <a:pt x="324" y="334"/>
                    <a:pt x="324" y="334"/>
                    <a:pt x="324" y="334"/>
                  </a:cubicBezTo>
                  <a:cubicBezTo>
                    <a:pt x="324" y="335"/>
                    <a:pt x="324" y="335"/>
                    <a:pt x="324" y="335"/>
                  </a:cubicBezTo>
                  <a:cubicBezTo>
                    <a:pt x="324" y="335"/>
                    <a:pt x="324" y="335"/>
                    <a:pt x="324" y="335"/>
                  </a:cubicBezTo>
                  <a:cubicBezTo>
                    <a:pt x="323" y="335"/>
                    <a:pt x="323" y="335"/>
                    <a:pt x="323" y="335"/>
                  </a:cubicBezTo>
                  <a:cubicBezTo>
                    <a:pt x="323" y="335"/>
                    <a:pt x="323" y="335"/>
                    <a:pt x="323" y="335"/>
                  </a:cubicBezTo>
                  <a:cubicBezTo>
                    <a:pt x="317" y="342"/>
                    <a:pt x="317" y="342"/>
                    <a:pt x="317" y="342"/>
                  </a:cubicBezTo>
                  <a:cubicBezTo>
                    <a:pt x="317" y="320"/>
                    <a:pt x="317" y="320"/>
                    <a:pt x="317" y="320"/>
                  </a:cubicBezTo>
                  <a:cubicBezTo>
                    <a:pt x="323" y="314"/>
                    <a:pt x="323" y="314"/>
                    <a:pt x="323" y="314"/>
                  </a:cubicBezTo>
                  <a:cubicBezTo>
                    <a:pt x="317" y="308"/>
                    <a:pt x="317" y="308"/>
                    <a:pt x="317" y="308"/>
                  </a:cubicBezTo>
                  <a:cubicBezTo>
                    <a:pt x="317" y="283"/>
                    <a:pt x="317" y="283"/>
                    <a:pt x="317" y="283"/>
                  </a:cubicBezTo>
                  <a:cubicBezTo>
                    <a:pt x="328" y="294"/>
                    <a:pt x="328" y="294"/>
                    <a:pt x="328" y="294"/>
                  </a:cubicBezTo>
                  <a:close/>
                  <a:moveTo>
                    <a:pt x="328" y="380"/>
                  </a:moveTo>
                  <a:cubicBezTo>
                    <a:pt x="328" y="401"/>
                    <a:pt x="328" y="401"/>
                    <a:pt x="328" y="401"/>
                  </a:cubicBezTo>
                  <a:cubicBezTo>
                    <a:pt x="317" y="412"/>
                    <a:pt x="317" y="412"/>
                    <a:pt x="317" y="412"/>
                  </a:cubicBezTo>
                  <a:cubicBezTo>
                    <a:pt x="317" y="373"/>
                    <a:pt x="317" y="373"/>
                    <a:pt x="317" y="373"/>
                  </a:cubicBezTo>
                  <a:cubicBezTo>
                    <a:pt x="325" y="382"/>
                    <a:pt x="325" y="382"/>
                    <a:pt x="325" y="382"/>
                  </a:cubicBezTo>
                  <a:lnTo>
                    <a:pt x="328" y="380"/>
                  </a:lnTo>
                  <a:close/>
                  <a:moveTo>
                    <a:pt x="317" y="447"/>
                  </a:moveTo>
                  <a:cubicBezTo>
                    <a:pt x="305" y="435"/>
                    <a:pt x="305" y="435"/>
                    <a:pt x="305" y="435"/>
                  </a:cubicBezTo>
                  <a:cubicBezTo>
                    <a:pt x="305" y="402"/>
                    <a:pt x="305" y="402"/>
                    <a:pt x="305" y="402"/>
                  </a:cubicBezTo>
                  <a:cubicBezTo>
                    <a:pt x="313" y="395"/>
                    <a:pt x="313" y="395"/>
                    <a:pt x="313" y="395"/>
                  </a:cubicBezTo>
                  <a:cubicBezTo>
                    <a:pt x="305" y="387"/>
                    <a:pt x="305" y="387"/>
                    <a:pt x="305" y="387"/>
                  </a:cubicBezTo>
                  <a:cubicBezTo>
                    <a:pt x="305" y="362"/>
                    <a:pt x="305" y="362"/>
                    <a:pt x="305" y="362"/>
                  </a:cubicBezTo>
                  <a:cubicBezTo>
                    <a:pt x="317" y="373"/>
                    <a:pt x="317" y="373"/>
                    <a:pt x="317" y="373"/>
                  </a:cubicBezTo>
                  <a:cubicBezTo>
                    <a:pt x="317" y="412"/>
                    <a:pt x="317" y="412"/>
                    <a:pt x="317" y="412"/>
                  </a:cubicBezTo>
                  <a:cubicBezTo>
                    <a:pt x="314" y="416"/>
                    <a:pt x="314" y="416"/>
                    <a:pt x="314" y="416"/>
                  </a:cubicBezTo>
                  <a:cubicBezTo>
                    <a:pt x="317" y="419"/>
                    <a:pt x="317" y="419"/>
                    <a:pt x="317" y="419"/>
                  </a:cubicBezTo>
                  <a:cubicBezTo>
                    <a:pt x="317" y="447"/>
                    <a:pt x="317" y="447"/>
                    <a:pt x="317" y="447"/>
                  </a:cubicBezTo>
                  <a:close/>
                  <a:moveTo>
                    <a:pt x="305" y="178"/>
                  </a:moveTo>
                  <a:cubicBezTo>
                    <a:pt x="317" y="189"/>
                    <a:pt x="317" y="189"/>
                    <a:pt x="317" y="189"/>
                  </a:cubicBezTo>
                  <a:cubicBezTo>
                    <a:pt x="317" y="217"/>
                    <a:pt x="317" y="217"/>
                    <a:pt x="317" y="217"/>
                  </a:cubicBezTo>
                  <a:cubicBezTo>
                    <a:pt x="308" y="209"/>
                    <a:pt x="308" y="209"/>
                    <a:pt x="308" y="209"/>
                  </a:cubicBezTo>
                  <a:cubicBezTo>
                    <a:pt x="305" y="211"/>
                    <a:pt x="305" y="211"/>
                    <a:pt x="305" y="211"/>
                  </a:cubicBezTo>
                  <a:cubicBezTo>
                    <a:pt x="305" y="178"/>
                    <a:pt x="305" y="178"/>
                    <a:pt x="305" y="178"/>
                  </a:cubicBezTo>
                  <a:close/>
                  <a:moveTo>
                    <a:pt x="317" y="249"/>
                  </a:moveTo>
                  <a:cubicBezTo>
                    <a:pt x="317" y="271"/>
                    <a:pt x="317" y="271"/>
                    <a:pt x="317" y="271"/>
                  </a:cubicBezTo>
                  <a:cubicBezTo>
                    <a:pt x="311" y="277"/>
                    <a:pt x="311" y="277"/>
                    <a:pt x="311" y="277"/>
                  </a:cubicBezTo>
                  <a:cubicBezTo>
                    <a:pt x="317" y="283"/>
                    <a:pt x="317" y="283"/>
                    <a:pt x="317" y="283"/>
                  </a:cubicBezTo>
                  <a:cubicBezTo>
                    <a:pt x="317" y="308"/>
                    <a:pt x="317" y="308"/>
                    <a:pt x="317" y="308"/>
                  </a:cubicBezTo>
                  <a:cubicBezTo>
                    <a:pt x="305" y="296"/>
                    <a:pt x="305" y="296"/>
                    <a:pt x="305" y="296"/>
                  </a:cubicBezTo>
                  <a:cubicBezTo>
                    <a:pt x="305" y="260"/>
                    <a:pt x="305" y="260"/>
                    <a:pt x="305" y="260"/>
                  </a:cubicBezTo>
                  <a:cubicBezTo>
                    <a:pt x="305" y="260"/>
                    <a:pt x="305" y="260"/>
                    <a:pt x="305" y="260"/>
                  </a:cubicBezTo>
                  <a:cubicBezTo>
                    <a:pt x="306" y="260"/>
                    <a:pt x="306" y="260"/>
                    <a:pt x="306" y="260"/>
                  </a:cubicBezTo>
                  <a:cubicBezTo>
                    <a:pt x="306" y="260"/>
                    <a:pt x="306" y="260"/>
                    <a:pt x="306" y="260"/>
                  </a:cubicBezTo>
                  <a:cubicBezTo>
                    <a:pt x="306" y="260"/>
                    <a:pt x="306" y="260"/>
                    <a:pt x="306" y="260"/>
                  </a:cubicBezTo>
                  <a:cubicBezTo>
                    <a:pt x="306" y="260"/>
                    <a:pt x="306" y="260"/>
                    <a:pt x="306" y="260"/>
                  </a:cubicBezTo>
                  <a:cubicBezTo>
                    <a:pt x="306" y="260"/>
                    <a:pt x="306" y="260"/>
                    <a:pt x="306" y="260"/>
                  </a:cubicBezTo>
                  <a:cubicBezTo>
                    <a:pt x="306" y="259"/>
                    <a:pt x="306" y="259"/>
                    <a:pt x="306" y="259"/>
                  </a:cubicBezTo>
                  <a:cubicBezTo>
                    <a:pt x="306" y="259"/>
                    <a:pt x="306" y="259"/>
                    <a:pt x="306" y="259"/>
                  </a:cubicBezTo>
                  <a:cubicBezTo>
                    <a:pt x="307" y="259"/>
                    <a:pt x="307" y="259"/>
                    <a:pt x="307" y="259"/>
                  </a:cubicBezTo>
                  <a:cubicBezTo>
                    <a:pt x="307" y="259"/>
                    <a:pt x="307" y="259"/>
                    <a:pt x="307" y="259"/>
                  </a:cubicBezTo>
                  <a:cubicBezTo>
                    <a:pt x="307" y="259"/>
                    <a:pt x="307" y="259"/>
                    <a:pt x="307" y="259"/>
                  </a:cubicBezTo>
                  <a:cubicBezTo>
                    <a:pt x="307" y="259"/>
                    <a:pt x="307" y="259"/>
                    <a:pt x="307" y="259"/>
                  </a:cubicBezTo>
                  <a:cubicBezTo>
                    <a:pt x="307" y="259"/>
                    <a:pt x="307" y="259"/>
                    <a:pt x="307" y="259"/>
                  </a:cubicBezTo>
                  <a:cubicBezTo>
                    <a:pt x="307" y="258"/>
                    <a:pt x="307" y="258"/>
                    <a:pt x="307" y="258"/>
                  </a:cubicBezTo>
                  <a:cubicBezTo>
                    <a:pt x="307" y="258"/>
                    <a:pt x="307" y="258"/>
                    <a:pt x="307" y="258"/>
                  </a:cubicBezTo>
                  <a:cubicBezTo>
                    <a:pt x="308" y="258"/>
                    <a:pt x="308" y="258"/>
                    <a:pt x="308" y="258"/>
                  </a:cubicBezTo>
                  <a:cubicBezTo>
                    <a:pt x="308" y="258"/>
                    <a:pt x="308" y="258"/>
                    <a:pt x="308" y="258"/>
                  </a:cubicBezTo>
                  <a:cubicBezTo>
                    <a:pt x="308" y="258"/>
                    <a:pt x="308" y="258"/>
                    <a:pt x="308" y="258"/>
                  </a:cubicBezTo>
                  <a:cubicBezTo>
                    <a:pt x="308" y="258"/>
                    <a:pt x="308" y="258"/>
                    <a:pt x="308" y="258"/>
                  </a:cubicBezTo>
                  <a:cubicBezTo>
                    <a:pt x="308" y="258"/>
                    <a:pt x="308" y="258"/>
                    <a:pt x="308" y="258"/>
                  </a:cubicBezTo>
                  <a:cubicBezTo>
                    <a:pt x="308" y="258"/>
                    <a:pt x="308" y="258"/>
                    <a:pt x="308" y="258"/>
                  </a:cubicBezTo>
                  <a:cubicBezTo>
                    <a:pt x="308" y="257"/>
                    <a:pt x="308" y="257"/>
                    <a:pt x="308" y="257"/>
                  </a:cubicBezTo>
                  <a:cubicBezTo>
                    <a:pt x="309" y="257"/>
                    <a:pt x="309" y="257"/>
                    <a:pt x="309" y="257"/>
                  </a:cubicBezTo>
                  <a:cubicBezTo>
                    <a:pt x="309" y="257"/>
                    <a:pt x="309" y="257"/>
                    <a:pt x="309" y="257"/>
                  </a:cubicBezTo>
                  <a:cubicBezTo>
                    <a:pt x="309" y="257"/>
                    <a:pt x="309" y="257"/>
                    <a:pt x="309" y="257"/>
                  </a:cubicBezTo>
                  <a:cubicBezTo>
                    <a:pt x="309" y="257"/>
                    <a:pt x="309" y="257"/>
                    <a:pt x="309" y="257"/>
                  </a:cubicBezTo>
                  <a:cubicBezTo>
                    <a:pt x="309" y="257"/>
                    <a:pt x="309" y="257"/>
                    <a:pt x="309" y="257"/>
                  </a:cubicBezTo>
                  <a:cubicBezTo>
                    <a:pt x="309" y="256"/>
                    <a:pt x="309" y="256"/>
                    <a:pt x="309" y="256"/>
                  </a:cubicBezTo>
                  <a:cubicBezTo>
                    <a:pt x="309" y="256"/>
                    <a:pt x="309" y="256"/>
                    <a:pt x="309" y="256"/>
                  </a:cubicBezTo>
                  <a:cubicBezTo>
                    <a:pt x="310" y="256"/>
                    <a:pt x="310" y="256"/>
                    <a:pt x="310" y="256"/>
                  </a:cubicBezTo>
                  <a:cubicBezTo>
                    <a:pt x="310" y="256"/>
                    <a:pt x="310" y="256"/>
                    <a:pt x="310" y="256"/>
                  </a:cubicBezTo>
                  <a:cubicBezTo>
                    <a:pt x="310" y="256"/>
                    <a:pt x="310" y="256"/>
                    <a:pt x="310" y="256"/>
                  </a:cubicBezTo>
                  <a:cubicBezTo>
                    <a:pt x="310" y="256"/>
                    <a:pt x="310" y="256"/>
                    <a:pt x="310" y="256"/>
                  </a:cubicBezTo>
                  <a:cubicBezTo>
                    <a:pt x="317" y="249"/>
                    <a:pt x="317" y="249"/>
                    <a:pt x="317" y="249"/>
                  </a:cubicBezTo>
                  <a:close/>
                  <a:moveTo>
                    <a:pt x="317" y="320"/>
                  </a:moveTo>
                  <a:cubicBezTo>
                    <a:pt x="317" y="342"/>
                    <a:pt x="317" y="342"/>
                    <a:pt x="317" y="342"/>
                  </a:cubicBezTo>
                  <a:cubicBezTo>
                    <a:pt x="305" y="353"/>
                    <a:pt x="305" y="353"/>
                    <a:pt x="305" y="353"/>
                  </a:cubicBezTo>
                  <a:cubicBezTo>
                    <a:pt x="305" y="317"/>
                    <a:pt x="305" y="317"/>
                    <a:pt x="305" y="317"/>
                  </a:cubicBezTo>
                  <a:cubicBezTo>
                    <a:pt x="313" y="324"/>
                    <a:pt x="313" y="324"/>
                    <a:pt x="313" y="324"/>
                  </a:cubicBezTo>
                  <a:lnTo>
                    <a:pt x="317" y="320"/>
                  </a:lnTo>
                  <a:close/>
                  <a:moveTo>
                    <a:pt x="305" y="435"/>
                  </a:moveTo>
                  <a:cubicBezTo>
                    <a:pt x="294" y="424"/>
                    <a:pt x="294" y="424"/>
                    <a:pt x="294" y="424"/>
                  </a:cubicBezTo>
                  <a:cubicBezTo>
                    <a:pt x="294" y="396"/>
                    <a:pt x="294" y="396"/>
                    <a:pt x="294" y="396"/>
                  </a:cubicBezTo>
                  <a:cubicBezTo>
                    <a:pt x="303" y="405"/>
                    <a:pt x="303" y="405"/>
                    <a:pt x="303" y="405"/>
                  </a:cubicBezTo>
                  <a:cubicBezTo>
                    <a:pt x="305" y="402"/>
                    <a:pt x="305" y="402"/>
                    <a:pt x="305" y="402"/>
                  </a:cubicBezTo>
                  <a:cubicBezTo>
                    <a:pt x="305" y="435"/>
                    <a:pt x="305" y="435"/>
                    <a:pt x="305" y="435"/>
                  </a:cubicBezTo>
                  <a:close/>
                  <a:moveTo>
                    <a:pt x="294" y="166"/>
                  </a:moveTo>
                  <a:cubicBezTo>
                    <a:pt x="298" y="170"/>
                    <a:pt x="298" y="170"/>
                    <a:pt x="298" y="170"/>
                  </a:cubicBezTo>
                  <a:cubicBezTo>
                    <a:pt x="305" y="178"/>
                    <a:pt x="305" y="178"/>
                    <a:pt x="305" y="178"/>
                  </a:cubicBezTo>
                  <a:cubicBezTo>
                    <a:pt x="305" y="211"/>
                    <a:pt x="305" y="211"/>
                    <a:pt x="305" y="211"/>
                  </a:cubicBezTo>
                  <a:cubicBezTo>
                    <a:pt x="294" y="222"/>
                    <a:pt x="294" y="222"/>
                    <a:pt x="294" y="222"/>
                  </a:cubicBezTo>
                  <a:cubicBezTo>
                    <a:pt x="294" y="201"/>
                    <a:pt x="294" y="201"/>
                    <a:pt x="294" y="201"/>
                  </a:cubicBezTo>
                  <a:cubicBezTo>
                    <a:pt x="297" y="198"/>
                    <a:pt x="297" y="198"/>
                    <a:pt x="297" y="198"/>
                  </a:cubicBezTo>
                  <a:cubicBezTo>
                    <a:pt x="294" y="195"/>
                    <a:pt x="294" y="195"/>
                    <a:pt x="294" y="195"/>
                  </a:cubicBezTo>
                  <a:cubicBezTo>
                    <a:pt x="294" y="166"/>
                    <a:pt x="294" y="166"/>
                    <a:pt x="294" y="166"/>
                  </a:cubicBezTo>
                  <a:close/>
                  <a:moveTo>
                    <a:pt x="305" y="260"/>
                  </a:moveTo>
                  <a:cubicBezTo>
                    <a:pt x="305" y="296"/>
                    <a:pt x="305" y="296"/>
                    <a:pt x="305" y="296"/>
                  </a:cubicBezTo>
                  <a:cubicBezTo>
                    <a:pt x="298" y="289"/>
                    <a:pt x="298" y="289"/>
                    <a:pt x="298" y="289"/>
                  </a:cubicBezTo>
                  <a:cubicBezTo>
                    <a:pt x="294" y="293"/>
                    <a:pt x="294" y="293"/>
                    <a:pt x="294" y="293"/>
                  </a:cubicBezTo>
                  <a:cubicBezTo>
                    <a:pt x="294" y="272"/>
                    <a:pt x="294" y="272"/>
                    <a:pt x="294" y="272"/>
                  </a:cubicBezTo>
                  <a:cubicBezTo>
                    <a:pt x="300" y="266"/>
                    <a:pt x="300" y="266"/>
                    <a:pt x="300" y="266"/>
                  </a:cubicBezTo>
                  <a:cubicBezTo>
                    <a:pt x="300" y="266"/>
                    <a:pt x="300" y="266"/>
                    <a:pt x="300" y="266"/>
                  </a:cubicBezTo>
                  <a:cubicBezTo>
                    <a:pt x="300" y="266"/>
                    <a:pt x="300" y="266"/>
                    <a:pt x="300" y="266"/>
                  </a:cubicBezTo>
                  <a:cubicBezTo>
                    <a:pt x="300" y="265"/>
                    <a:pt x="300" y="265"/>
                    <a:pt x="300" y="265"/>
                  </a:cubicBezTo>
                  <a:cubicBezTo>
                    <a:pt x="300" y="265"/>
                    <a:pt x="300" y="265"/>
                    <a:pt x="300" y="265"/>
                  </a:cubicBezTo>
                  <a:cubicBezTo>
                    <a:pt x="301" y="265"/>
                    <a:pt x="301" y="265"/>
                    <a:pt x="301" y="265"/>
                  </a:cubicBezTo>
                  <a:cubicBezTo>
                    <a:pt x="301" y="265"/>
                    <a:pt x="301" y="265"/>
                    <a:pt x="301" y="265"/>
                  </a:cubicBezTo>
                  <a:cubicBezTo>
                    <a:pt x="301" y="265"/>
                    <a:pt x="301" y="265"/>
                    <a:pt x="301" y="265"/>
                  </a:cubicBezTo>
                  <a:cubicBezTo>
                    <a:pt x="301" y="265"/>
                    <a:pt x="301" y="265"/>
                    <a:pt x="301" y="265"/>
                  </a:cubicBezTo>
                  <a:cubicBezTo>
                    <a:pt x="301" y="265"/>
                    <a:pt x="301" y="265"/>
                    <a:pt x="301" y="265"/>
                  </a:cubicBezTo>
                  <a:cubicBezTo>
                    <a:pt x="301" y="264"/>
                    <a:pt x="301" y="264"/>
                    <a:pt x="301" y="264"/>
                  </a:cubicBezTo>
                  <a:cubicBezTo>
                    <a:pt x="301" y="264"/>
                    <a:pt x="301" y="264"/>
                    <a:pt x="301" y="264"/>
                  </a:cubicBezTo>
                  <a:cubicBezTo>
                    <a:pt x="302" y="264"/>
                    <a:pt x="302" y="264"/>
                    <a:pt x="302" y="264"/>
                  </a:cubicBezTo>
                  <a:cubicBezTo>
                    <a:pt x="302" y="264"/>
                    <a:pt x="302" y="264"/>
                    <a:pt x="302" y="264"/>
                  </a:cubicBezTo>
                  <a:cubicBezTo>
                    <a:pt x="302" y="264"/>
                    <a:pt x="302" y="264"/>
                    <a:pt x="302" y="264"/>
                  </a:cubicBezTo>
                  <a:cubicBezTo>
                    <a:pt x="302" y="264"/>
                    <a:pt x="302" y="264"/>
                    <a:pt x="302" y="264"/>
                  </a:cubicBezTo>
                  <a:cubicBezTo>
                    <a:pt x="302" y="264"/>
                    <a:pt x="302" y="264"/>
                    <a:pt x="302" y="264"/>
                  </a:cubicBezTo>
                  <a:cubicBezTo>
                    <a:pt x="302" y="264"/>
                    <a:pt x="302" y="264"/>
                    <a:pt x="302" y="264"/>
                  </a:cubicBezTo>
                  <a:cubicBezTo>
                    <a:pt x="302" y="263"/>
                    <a:pt x="302" y="263"/>
                    <a:pt x="302" y="263"/>
                  </a:cubicBezTo>
                  <a:cubicBezTo>
                    <a:pt x="302" y="263"/>
                    <a:pt x="302" y="263"/>
                    <a:pt x="302" y="263"/>
                  </a:cubicBezTo>
                  <a:cubicBezTo>
                    <a:pt x="303" y="263"/>
                    <a:pt x="303" y="263"/>
                    <a:pt x="303" y="263"/>
                  </a:cubicBezTo>
                  <a:cubicBezTo>
                    <a:pt x="303" y="263"/>
                    <a:pt x="303" y="263"/>
                    <a:pt x="303" y="263"/>
                  </a:cubicBezTo>
                  <a:cubicBezTo>
                    <a:pt x="303" y="263"/>
                    <a:pt x="303" y="263"/>
                    <a:pt x="303" y="263"/>
                  </a:cubicBezTo>
                  <a:cubicBezTo>
                    <a:pt x="303" y="263"/>
                    <a:pt x="303" y="263"/>
                    <a:pt x="303" y="263"/>
                  </a:cubicBezTo>
                  <a:cubicBezTo>
                    <a:pt x="303" y="262"/>
                    <a:pt x="303" y="262"/>
                    <a:pt x="303" y="262"/>
                  </a:cubicBezTo>
                  <a:cubicBezTo>
                    <a:pt x="303" y="262"/>
                    <a:pt x="303" y="262"/>
                    <a:pt x="303" y="262"/>
                  </a:cubicBezTo>
                  <a:cubicBezTo>
                    <a:pt x="303" y="262"/>
                    <a:pt x="303" y="262"/>
                    <a:pt x="303" y="262"/>
                  </a:cubicBezTo>
                  <a:cubicBezTo>
                    <a:pt x="304" y="262"/>
                    <a:pt x="304" y="262"/>
                    <a:pt x="304" y="262"/>
                  </a:cubicBezTo>
                  <a:cubicBezTo>
                    <a:pt x="304" y="262"/>
                    <a:pt x="304" y="262"/>
                    <a:pt x="304" y="262"/>
                  </a:cubicBezTo>
                  <a:cubicBezTo>
                    <a:pt x="304" y="262"/>
                    <a:pt x="304" y="262"/>
                    <a:pt x="304" y="262"/>
                  </a:cubicBezTo>
                  <a:cubicBezTo>
                    <a:pt x="304" y="262"/>
                    <a:pt x="304" y="262"/>
                    <a:pt x="304" y="262"/>
                  </a:cubicBezTo>
                  <a:cubicBezTo>
                    <a:pt x="304" y="262"/>
                    <a:pt x="304" y="262"/>
                    <a:pt x="304" y="262"/>
                  </a:cubicBezTo>
                  <a:cubicBezTo>
                    <a:pt x="304" y="261"/>
                    <a:pt x="304" y="261"/>
                    <a:pt x="304" y="261"/>
                  </a:cubicBezTo>
                  <a:cubicBezTo>
                    <a:pt x="304" y="261"/>
                    <a:pt x="304" y="261"/>
                    <a:pt x="304" y="261"/>
                  </a:cubicBezTo>
                  <a:cubicBezTo>
                    <a:pt x="305" y="261"/>
                    <a:pt x="305" y="261"/>
                    <a:pt x="305" y="261"/>
                  </a:cubicBezTo>
                  <a:cubicBezTo>
                    <a:pt x="305" y="261"/>
                    <a:pt x="305" y="261"/>
                    <a:pt x="305" y="261"/>
                  </a:cubicBezTo>
                  <a:cubicBezTo>
                    <a:pt x="305" y="261"/>
                    <a:pt x="305" y="261"/>
                    <a:pt x="305" y="261"/>
                  </a:cubicBezTo>
                  <a:cubicBezTo>
                    <a:pt x="305" y="261"/>
                    <a:pt x="305" y="261"/>
                    <a:pt x="305" y="261"/>
                  </a:cubicBezTo>
                  <a:cubicBezTo>
                    <a:pt x="305" y="261"/>
                    <a:pt x="305" y="261"/>
                    <a:pt x="305" y="261"/>
                  </a:cubicBezTo>
                  <a:cubicBezTo>
                    <a:pt x="305" y="260"/>
                    <a:pt x="305" y="260"/>
                    <a:pt x="305" y="260"/>
                  </a:cubicBezTo>
                  <a:cubicBezTo>
                    <a:pt x="305" y="260"/>
                    <a:pt x="305" y="260"/>
                    <a:pt x="305" y="260"/>
                  </a:cubicBezTo>
                  <a:close/>
                  <a:moveTo>
                    <a:pt x="305" y="317"/>
                  </a:moveTo>
                  <a:cubicBezTo>
                    <a:pt x="305" y="353"/>
                    <a:pt x="305" y="353"/>
                    <a:pt x="305" y="353"/>
                  </a:cubicBezTo>
                  <a:cubicBezTo>
                    <a:pt x="301" y="357"/>
                    <a:pt x="301" y="357"/>
                    <a:pt x="301" y="357"/>
                  </a:cubicBezTo>
                  <a:cubicBezTo>
                    <a:pt x="305" y="362"/>
                    <a:pt x="305" y="362"/>
                    <a:pt x="305" y="362"/>
                  </a:cubicBezTo>
                  <a:cubicBezTo>
                    <a:pt x="305" y="387"/>
                    <a:pt x="305" y="387"/>
                    <a:pt x="305" y="387"/>
                  </a:cubicBezTo>
                  <a:cubicBezTo>
                    <a:pt x="294" y="375"/>
                    <a:pt x="294" y="375"/>
                    <a:pt x="294" y="375"/>
                  </a:cubicBezTo>
                  <a:cubicBezTo>
                    <a:pt x="294" y="342"/>
                    <a:pt x="294" y="342"/>
                    <a:pt x="294" y="342"/>
                  </a:cubicBezTo>
                  <a:cubicBezTo>
                    <a:pt x="294" y="342"/>
                    <a:pt x="294" y="342"/>
                    <a:pt x="294" y="342"/>
                  </a:cubicBezTo>
                  <a:cubicBezTo>
                    <a:pt x="294" y="342"/>
                    <a:pt x="294" y="342"/>
                    <a:pt x="294" y="342"/>
                  </a:cubicBezTo>
                  <a:cubicBezTo>
                    <a:pt x="295" y="342"/>
                    <a:pt x="295" y="342"/>
                    <a:pt x="295" y="342"/>
                  </a:cubicBezTo>
                  <a:cubicBezTo>
                    <a:pt x="295" y="342"/>
                    <a:pt x="295" y="342"/>
                    <a:pt x="295" y="342"/>
                  </a:cubicBezTo>
                  <a:cubicBezTo>
                    <a:pt x="295" y="342"/>
                    <a:pt x="295" y="342"/>
                    <a:pt x="295" y="342"/>
                  </a:cubicBezTo>
                  <a:cubicBezTo>
                    <a:pt x="295" y="342"/>
                    <a:pt x="295" y="342"/>
                    <a:pt x="295" y="342"/>
                  </a:cubicBezTo>
                  <a:cubicBezTo>
                    <a:pt x="295" y="342"/>
                    <a:pt x="295" y="342"/>
                    <a:pt x="295" y="342"/>
                  </a:cubicBezTo>
                  <a:cubicBezTo>
                    <a:pt x="295" y="341"/>
                    <a:pt x="295" y="341"/>
                    <a:pt x="295" y="341"/>
                  </a:cubicBezTo>
                  <a:cubicBezTo>
                    <a:pt x="295" y="341"/>
                    <a:pt x="295" y="341"/>
                    <a:pt x="295" y="341"/>
                  </a:cubicBezTo>
                  <a:cubicBezTo>
                    <a:pt x="295" y="341"/>
                    <a:pt x="295" y="341"/>
                    <a:pt x="295" y="341"/>
                  </a:cubicBezTo>
                  <a:cubicBezTo>
                    <a:pt x="295" y="341"/>
                    <a:pt x="295" y="341"/>
                    <a:pt x="295" y="341"/>
                  </a:cubicBezTo>
                  <a:cubicBezTo>
                    <a:pt x="296" y="341"/>
                    <a:pt x="296" y="341"/>
                    <a:pt x="296" y="341"/>
                  </a:cubicBezTo>
                  <a:cubicBezTo>
                    <a:pt x="296" y="341"/>
                    <a:pt x="296" y="341"/>
                    <a:pt x="296" y="341"/>
                  </a:cubicBezTo>
                  <a:cubicBezTo>
                    <a:pt x="296" y="341"/>
                    <a:pt x="296" y="341"/>
                    <a:pt x="296" y="341"/>
                  </a:cubicBezTo>
                  <a:cubicBezTo>
                    <a:pt x="296" y="341"/>
                    <a:pt x="296" y="341"/>
                    <a:pt x="296" y="341"/>
                  </a:cubicBezTo>
                  <a:cubicBezTo>
                    <a:pt x="296" y="340"/>
                    <a:pt x="296" y="340"/>
                    <a:pt x="296" y="340"/>
                  </a:cubicBezTo>
                  <a:cubicBezTo>
                    <a:pt x="296" y="340"/>
                    <a:pt x="296" y="340"/>
                    <a:pt x="296" y="340"/>
                  </a:cubicBezTo>
                  <a:cubicBezTo>
                    <a:pt x="296" y="340"/>
                    <a:pt x="296" y="340"/>
                    <a:pt x="296" y="340"/>
                  </a:cubicBezTo>
                  <a:cubicBezTo>
                    <a:pt x="296" y="340"/>
                    <a:pt x="296" y="340"/>
                    <a:pt x="296" y="340"/>
                  </a:cubicBezTo>
                  <a:cubicBezTo>
                    <a:pt x="297" y="340"/>
                    <a:pt x="297" y="340"/>
                    <a:pt x="297" y="340"/>
                  </a:cubicBezTo>
                  <a:cubicBezTo>
                    <a:pt x="297" y="340"/>
                    <a:pt x="297" y="340"/>
                    <a:pt x="297" y="340"/>
                  </a:cubicBezTo>
                  <a:cubicBezTo>
                    <a:pt x="297" y="340"/>
                    <a:pt x="297" y="340"/>
                    <a:pt x="297" y="340"/>
                  </a:cubicBezTo>
                  <a:cubicBezTo>
                    <a:pt x="297" y="340"/>
                    <a:pt x="297" y="340"/>
                    <a:pt x="297" y="340"/>
                  </a:cubicBezTo>
                  <a:cubicBezTo>
                    <a:pt x="297" y="339"/>
                    <a:pt x="297" y="339"/>
                    <a:pt x="297" y="339"/>
                  </a:cubicBezTo>
                  <a:cubicBezTo>
                    <a:pt x="297" y="339"/>
                    <a:pt x="297" y="339"/>
                    <a:pt x="297" y="339"/>
                  </a:cubicBezTo>
                  <a:cubicBezTo>
                    <a:pt x="297" y="339"/>
                    <a:pt x="297" y="339"/>
                    <a:pt x="297" y="339"/>
                  </a:cubicBezTo>
                  <a:cubicBezTo>
                    <a:pt x="297" y="339"/>
                    <a:pt x="297" y="339"/>
                    <a:pt x="297" y="339"/>
                  </a:cubicBezTo>
                  <a:cubicBezTo>
                    <a:pt x="298" y="339"/>
                    <a:pt x="298" y="339"/>
                    <a:pt x="298" y="339"/>
                  </a:cubicBezTo>
                  <a:cubicBezTo>
                    <a:pt x="298" y="339"/>
                    <a:pt x="298" y="339"/>
                    <a:pt x="298" y="339"/>
                  </a:cubicBezTo>
                  <a:cubicBezTo>
                    <a:pt x="298" y="339"/>
                    <a:pt x="298" y="339"/>
                    <a:pt x="298" y="339"/>
                  </a:cubicBezTo>
                  <a:cubicBezTo>
                    <a:pt x="298" y="339"/>
                    <a:pt x="298" y="339"/>
                    <a:pt x="298" y="339"/>
                  </a:cubicBezTo>
                  <a:cubicBezTo>
                    <a:pt x="298" y="338"/>
                    <a:pt x="298" y="338"/>
                    <a:pt x="298" y="338"/>
                  </a:cubicBezTo>
                  <a:cubicBezTo>
                    <a:pt x="298" y="338"/>
                    <a:pt x="298" y="338"/>
                    <a:pt x="298" y="338"/>
                  </a:cubicBezTo>
                  <a:cubicBezTo>
                    <a:pt x="298" y="338"/>
                    <a:pt x="298" y="338"/>
                    <a:pt x="298" y="338"/>
                  </a:cubicBezTo>
                  <a:cubicBezTo>
                    <a:pt x="298" y="338"/>
                    <a:pt x="298" y="338"/>
                    <a:pt x="298" y="338"/>
                  </a:cubicBezTo>
                  <a:cubicBezTo>
                    <a:pt x="299" y="338"/>
                    <a:pt x="299" y="338"/>
                    <a:pt x="299" y="338"/>
                  </a:cubicBezTo>
                  <a:cubicBezTo>
                    <a:pt x="299" y="338"/>
                    <a:pt x="299" y="338"/>
                    <a:pt x="299" y="338"/>
                  </a:cubicBezTo>
                  <a:cubicBezTo>
                    <a:pt x="299" y="338"/>
                    <a:pt x="299" y="338"/>
                    <a:pt x="299" y="338"/>
                  </a:cubicBezTo>
                  <a:cubicBezTo>
                    <a:pt x="299" y="338"/>
                    <a:pt x="299" y="338"/>
                    <a:pt x="299" y="338"/>
                  </a:cubicBezTo>
                  <a:cubicBezTo>
                    <a:pt x="299" y="337"/>
                    <a:pt x="299" y="337"/>
                    <a:pt x="299" y="337"/>
                  </a:cubicBezTo>
                  <a:cubicBezTo>
                    <a:pt x="299" y="337"/>
                    <a:pt x="299" y="337"/>
                    <a:pt x="299" y="337"/>
                  </a:cubicBezTo>
                  <a:cubicBezTo>
                    <a:pt x="299" y="337"/>
                    <a:pt x="299" y="337"/>
                    <a:pt x="299" y="337"/>
                  </a:cubicBezTo>
                  <a:cubicBezTo>
                    <a:pt x="299" y="337"/>
                    <a:pt x="299" y="337"/>
                    <a:pt x="299" y="337"/>
                  </a:cubicBezTo>
                  <a:cubicBezTo>
                    <a:pt x="300" y="337"/>
                    <a:pt x="300" y="337"/>
                    <a:pt x="300" y="337"/>
                  </a:cubicBezTo>
                  <a:cubicBezTo>
                    <a:pt x="300" y="337"/>
                    <a:pt x="300" y="337"/>
                    <a:pt x="300" y="337"/>
                  </a:cubicBezTo>
                  <a:cubicBezTo>
                    <a:pt x="300" y="337"/>
                    <a:pt x="300" y="337"/>
                    <a:pt x="300" y="337"/>
                  </a:cubicBezTo>
                  <a:cubicBezTo>
                    <a:pt x="300" y="337"/>
                    <a:pt x="300" y="337"/>
                    <a:pt x="300" y="337"/>
                  </a:cubicBezTo>
                  <a:cubicBezTo>
                    <a:pt x="300" y="336"/>
                    <a:pt x="300" y="336"/>
                    <a:pt x="300" y="336"/>
                  </a:cubicBezTo>
                  <a:cubicBezTo>
                    <a:pt x="300" y="336"/>
                    <a:pt x="300" y="336"/>
                    <a:pt x="300" y="336"/>
                  </a:cubicBezTo>
                  <a:cubicBezTo>
                    <a:pt x="294" y="330"/>
                    <a:pt x="294" y="330"/>
                    <a:pt x="294" y="330"/>
                  </a:cubicBezTo>
                  <a:cubicBezTo>
                    <a:pt x="294" y="305"/>
                    <a:pt x="294" y="305"/>
                    <a:pt x="294" y="305"/>
                  </a:cubicBezTo>
                  <a:lnTo>
                    <a:pt x="305" y="317"/>
                  </a:lnTo>
                  <a:close/>
                  <a:moveTo>
                    <a:pt x="294" y="424"/>
                  </a:moveTo>
                  <a:cubicBezTo>
                    <a:pt x="271" y="401"/>
                    <a:pt x="271" y="401"/>
                    <a:pt x="271" y="401"/>
                  </a:cubicBezTo>
                  <a:cubicBezTo>
                    <a:pt x="271" y="365"/>
                    <a:pt x="271" y="365"/>
                    <a:pt x="271" y="365"/>
                  </a:cubicBezTo>
                  <a:cubicBezTo>
                    <a:pt x="290" y="347"/>
                    <a:pt x="290" y="347"/>
                    <a:pt x="290" y="347"/>
                  </a:cubicBezTo>
                  <a:cubicBezTo>
                    <a:pt x="290" y="347"/>
                    <a:pt x="290" y="347"/>
                    <a:pt x="290" y="347"/>
                  </a:cubicBezTo>
                  <a:cubicBezTo>
                    <a:pt x="290" y="346"/>
                    <a:pt x="290" y="346"/>
                    <a:pt x="290" y="346"/>
                  </a:cubicBezTo>
                  <a:cubicBezTo>
                    <a:pt x="290" y="346"/>
                    <a:pt x="290" y="346"/>
                    <a:pt x="290" y="346"/>
                  </a:cubicBezTo>
                  <a:cubicBezTo>
                    <a:pt x="290" y="346"/>
                    <a:pt x="290" y="346"/>
                    <a:pt x="290" y="346"/>
                  </a:cubicBezTo>
                  <a:cubicBezTo>
                    <a:pt x="290" y="346"/>
                    <a:pt x="290" y="346"/>
                    <a:pt x="290" y="346"/>
                  </a:cubicBezTo>
                  <a:cubicBezTo>
                    <a:pt x="291" y="346"/>
                    <a:pt x="291" y="346"/>
                    <a:pt x="291" y="346"/>
                  </a:cubicBezTo>
                  <a:cubicBezTo>
                    <a:pt x="291" y="346"/>
                    <a:pt x="291" y="346"/>
                    <a:pt x="291" y="346"/>
                  </a:cubicBezTo>
                  <a:cubicBezTo>
                    <a:pt x="291" y="346"/>
                    <a:pt x="291" y="346"/>
                    <a:pt x="291" y="346"/>
                  </a:cubicBezTo>
                  <a:cubicBezTo>
                    <a:pt x="291" y="346"/>
                    <a:pt x="291" y="346"/>
                    <a:pt x="291" y="346"/>
                  </a:cubicBezTo>
                  <a:cubicBezTo>
                    <a:pt x="291" y="346"/>
                    <a:pt x="291" y="346"/>
                    <a:pt x="291" y="346"/>
                  </a:cubicBezTo>
                  <a:cubicBezTo>
                    <a:pt x="291" y="345"/>
                    <a:pt x="291" y="345"/>
                    <a:pt x="291" y="345"/>
                  </a:cubicBezTo>
                  <a:cubicBezTo>
                    <a:pt x="291" y="345"/>
                    <a:pt x="291" y="345"/>
                    <a:pt x="291" y="345"/>
                  </a:cubicBezTo>
                  <a:cubicBezTo>
                    <a:pt x="291" y="345"/>
                    <a:pt x="291" y="345"/>
                    <a:pt x="291" y="345"/>
                  </a:cubicBezTo>
                  <a:cubicBezTo>
                    <a:pt x="291" y="345"/>
                    <a:pt x="291" y="345"/>
                    <a:pt x="291" y="345"/>
                  </a:cubicBezTo>
                  <a:cubicBezTo>
                    <a:pt x="292" y="345"/>
                    <a:pt x="292" y="345"/>
                    <a:pt x="292" y="345"/>
                  </a:cubicBezTo>
                  <a:cubicBezTo>
                    <a:pt x="292" y="345"/>
                    <a:pt x="292" y="345"/>
                    <a:pt x="292" y="345"/>
                  </a:cubicBezTo>
                  <a:cubicBezTo>
                    <a:pt x="292" y="345"/>
                    <a:pt x="292" y="345"/>
                    <a:pt x="292" y="345"/>
                  </a:cubicBezTo>
                  <a:cubicBezTo>
                    <a:pt x="292" y="345"/>
                    <a:pt x="292" y="345"/>
                    <a:pt x="292" y="345"/>
                  </a:cubicBezTo>
                  <a:cubicBezTo>
                    <a:pt x="292" y="344"/>
                    <a:pt x="292" y="344"/>
                    <a:pt x="292" y="344"/>
                  </a:cubicBezTo>
                  <a:cubicBezTo>
                    <a:pt x="292" y="344"/>
                    <a:pt x="292" y="344"/>
                    <a:pt x="292" y="344"/>
                  </a:cubicBezTo>
                  <a:cubicBezTo>
                    <a:pt x="292" y="344"/>
                    <a:pt x="292" y="344"/>
                    <a:pt x="292" y="344"/>
                  </a:cubicBezTo>
                  <a:cubicBezTo>
                    <a:pt x="293" y="344"/>
                    <a:pt x="293" y="344"/>
                    <a:pt x="293" y="344"/>
                  </a:cubicBezTo>
                  <a:cubicBezTo>
                    <a:pt x="293" y="344"/>
                    <a:pt x="293" y="344"/>
                    <a:pt x="293" y="344"/>
                  </a:cubicBezTo>
                  <a:cubicBezTo>
                    <a:pt x="293" y="344"/>
                    <a:pt x="293" y="344"/>
                    <a:pt x="293" y="344"/>
                  </a:cubicBezTo>
                  <a:cubicBezTo>
                    <a:pt x="293" y="344"/>
                    <a:pt x="293" y="344"/>
                    <a:pt x="293" y="344"/>
                  </a:cubicBezTo>
                  <a:cubicBezTo>
                    <a:pt x="293" y="344"/>
                    <a:pt x="293" y="344"/>
                    <a:pt x="293" y="344"/>
                  </a:cubicBezTo>
                  <a:cubicBezTo>
                    <a:pt x="293" y="343"/>
                    <a:pt x="293" y="343"/>
                    <a:pt x="293" y="343"/>
                  </a:cubicBezTo>
                  <a:cubicBezTo>
                    <a:pt x="293" y="343"/>
                    <a:pt x="293" y="343"/>
                    <a:pt x="293" y="343"/>
                  </a:cubicBezTo>
                  <a:cubicBezTo>
                    <a:pt x="293" y="343"/>
                    <a:pt x="293" y="343"/>
                    <a:pt x="293" y="343"/>
                  </a:cubicBezTo>
                  <a:cubicBezTo>
                    <a:pt x="294" y="343"/>
                    <a:pt x="294" y="343"/>
                    <a:pt x="294" y="343"/>
                  </a:cubicBezTo>
                  <a:cubicBezTo>
                    <a:pt x="294" y="343"/>
                    <a:pt x="294" y="343"/>
                    <a:pt x="294" y="343"/>
                  </a:cubicBezTo>
                  <a:cubicBezTo>
                    <a:pt x="294" y="343"/>
                    <a:pt x="294" y="343"/>
                    <a:pt x="294" y="343"/>
                  </a:cubicBezTo>
                  <a:cubicBezTo>
                    <a:pt x="294" y="343"/>
                    <a:pt x="294" y="343"/>
                    <a:pt x="294" y="343"/>
                  </a:cubicBezTo>
                  <a:cubicBezTo>
                    <a:pt x="294" y="343"/>
                    <a:pt x="294" y="343"/>
                    <a:pt x="294" y="343"/>
                  </a:cubicBezTo>
                  <a:cubicBezTo>
                    <a:pt x="294" y="342"/>
                    <a:pt x="294" y="342"/>
                    <a:pt x="294" y="342"/>
                  </a:cubicBezTo>
                  <a:cubicBezTo>
                    <a:pt x="294" y="342"/>
                    <a:pt x="294" y="342"/>
                    <a:pt x="294" y="342"/>
                  </a:cubicBezTo>
                  <a:cubicBezTo>
                    <a:pt x="294" y="375"/>
                    <a:pt x="294" y="375"/>
                    <a:pt x="294" y="375"/>
                  </a:cubicBezTo>
                  <a:cubicBezTo>
                    <a:pt x="288" y="370"/>
                    <a:pt x="288" y="370"/>
                    <a:pt x="288" y="370"/>
                  </a:cubicBezTo>
                  <a:cubicBezTo>
                    <a:pt x="285" y="373"/>
                    <a:pt x="281" y="376"/>
                    <a:pt x="278" y="380"/>
                  </a:cubicBezTo>
                  <a:cubicBezTo>
                    <a:pt x="294" y="396"/>
                    <a:pt x="294" y="396"/>
                    <a:pt x="294" y="396"/>
                  </a:cubicBezTo>
                  <a:cubicBezTo>
                    <a:pt x="294" y="424"/>
                    <a:pt x="294" y="424"/>
                    <a:pt x="294" y="424"/>
                  </a:cubicBezTo>
                  <a:close/>
                  <a:moveTo>
                    <a:pt x="271" y="143"/>
                  </a:moveTo>
                  <a:cubicBezTo>
                    <a:pt x="294" y="166"/>
                    <a:pt x="294" y="166"/>
                    <a:pt x="294" y="166"/>
                  </a:cubicBezTo>
                  <a:cubicBezTo>
                    <a:pt x="294" y="195"/>
                    <a:pt x="294" y="195"/>
                    <a:pt x="294" y="195"/>
                  </a:cubicBezTo>
                  <a:cubicBezTo>
                    <a:pt x="272" y="173"/>
                    <a:pt x="272" y="173"/>
                    <a:pt x="272" y="173"/>
                  </a:cubicBezTo>
                  <a:cubicBezTo>
                    <a:pt x="271" y="174"/>
                    <a:pt x="271" y="174"/>
                    <a:pt x="271" y="174"/>
                  </a:cubicBezTo>
                  <a:cubicBezTo>
                    <a:pt x="271" y="143"/>
                    <a:pt x="271" y="143"/>
                    <a:pt x="271" y="143"/>
                  </a:cubicBezTo>
                  <a:close/>
                  <a:moveTo>
                    <a:pt x="294" y="201"/>
                  </a:moveTo>
                  <a:cubicBezTo>
                    <a:pt x="287" y="208"/>
                    <a:pt x="287" y="208"/>
                    <a:pt x="287" y="208"/>
                  </a:cubicBezTo>
                  <a:cubicBezTo>
                    <a:pt x="271" y="192"/>
                    <a:pt x="271" y="192"/>
                    <a:pt x="271" y="192"/>
                  </a:cubicBezTo>
                  <a:cubicBezTo>
                    <a:pt x="271" y="217"/>
                    <a:pt x="271" y="217"/>
                    <a:pt x="271" y="217"/>
                  </a:cubicBezTo>
                  <a:cubicBezTo>
                    <a:pt x="275" y="220"/>
                    <a:pt x="275" y="220"/>
                    <a:pt x="275" y="220"/>
                  </a:cubicBezTo>
                  <a:cubicBezTo>
                    <a:pt x="271" y="223"/>
                    <a:pt x="271" y="223"/>
                    <a:pt x="271" y="223"/>
                  </a:cubicBezTo>
                  <a:cubicBezTo>
                    <a:pt x="271" y="245"/>
                    <a:pt x="271" y="245"/>
                    <a:pt x="271" y="245"/>
                  </a:cubicBezTo>
                  <a:cubicBezTo>
                    <a:pt x="275" y="241"/>
                    <a:pt x="275" y="241"/>
                    <a:pt x="275" y="241"/>
                  </a:cubicBezTo>
                  <a:cubicBezTo>
                    <a:pt x="275" y="241"/>
                    <a:pt x="275" y="241"/>
                    <a:pt x="275" y="241"/>
                  </a:cubicBezTo>
                  <a:cubicBezTo>
                    <a:pt x="275" y="241"/>
                    <a:pt x="275" y="241"/>
                    <a:pt x="275" y="241"/>
                  </a:cubicBezTo>
                  <a:cubicBezTo>
                    <a:pt x="276" y="241"/>
                    <a:pt x="276" y="241"/>
                    <a:pt x="276" y="241"/>
                  </a:cubicBezTo>
                  <a:cubicBezTo>
                    <a:pt x="276" y="240"/>
                    <a:pt x="276" y="240"/>
                    <a:pt x="276" y="240"/>
                  </a:cubicBezTo>
                  <a:cubicBezTo>
                    <a:pt x="276" y="240"/>
                    <a:pt x="276" y="240"/>
                    <a:pt x="276" y="240"/>
                  </a:cubicBezTo>
                  <a:cubicBezTo>
                    <a:pt x="276" y="240"/>
                    <a:pt x="276" y="240"/>
                    <a:pt x="276" y="240"/>
                  </a:cubicBezTo>
                  <a:cubicBezTo>
                    <a:pt x="276" y="240"/>
                    <a:pt x="276" y="240"/>
                    <a:pt x="276" y="240"/>
                  </a:cubicBezTo>
                  <a:cubicBezTo>
                    <a:pt x="276" y="240"/>
                    <a:pt x="276" y="240"/>
                    <a:pt x="276" y="240"/>
                  </a:cubicBezTo>
                  <a:cubicBezTo>
                    <a:pt x="276" y="240"/>
                    <a:pt x="276" y="240"/>
                    <a:pt x="276" y="240"/>
                  </a:cubicBezTo>
                  <a:cubicBezTo>
                    <a:pt x="277" y="240"/>
                    <a:pt x="277" y="240"/>
                    <a:pt x="277" y="240"/>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7" y="239"/>
                    <a:pt x="277" y="239"/>
                    <a:pt x="277" y="239"/>
                  </a:cubicBezTo>
                  <a:cubicBezTo>
                    <a:pt x="278" y="238"/>
                    <a:pt x="278" y="238"/>
                    <a:pt x="278" y="238"/>
                  </a:cubicBezTo>
                  <a:cubicBezTo>
                    <a:pt x="278" y="238"/>
                    <a:pt x="278" y="238"/>
                    <a:pt x="278" y="238"/>
                  </a:cubicBezTo>
                  <a:cubicBezTo>
                    <a:pt x="278" y="238"/>
                    <a:pt x="278" y="238"/>
                    <a:pt x="278" y="238"/>
                  </a:cubicBezTo>
                  <a:cubicBezTo>
                    <a:pt x="278" y="238"/>
                    <a:pt x="278" y="238"/>
                    <a:pt x="278" y="238"/>
                  </a:cubicBezTo>
                  <a:cubicBezTo>
                    <a:pt x="278" y="238"/>
                    <a:pt x="278" y="238"/>
                    <a:pt x="278" y="238"/>
                  </a:cubicBezTo>
                  <a:cubicBezTo>
                    <a:pt x="278" y="238"/>
                    <a:pt x="278" y="238"/>
                    <a:pt x="278" y="238"/>
                  </a:cubicBezTo>
                  <a:cubicBezTo>
                    <a:pt x="279" y="238"/>
                    <a:pt x="279" y="238"/>
                    <a:pt x="279" y="238"/>
                  </a:cubicBezTo>
                  <a:cubicBezTo>
                    <a:pt x="279" y="238"/>
                    <a:pt x="279" y="238"/>
                    <a:pt x="279" y="238"/>
                  </a:cubicBezTo>
                  <a:cubicBezTo>
                    <a:pt x="279" y="237"/>
                    <a:pt x="279" y="237"/>
                    <a:pt x="279" y="237"/>
                  </a:cubicBezTo>
                  <a:cubicBezTo>
                    <a:pt x="279" y="237"/>
                    <a:pt x="279" y="237"/>
                    <a:pt x="279" y="237"/>
                  </a:cubicBezTo>
                  <a:cubicBezTo>
                    <a:pt x="279" y="237"/>
                    <a:pt x="279" y="237"/>
                    <a:pt x="279" y="237"/>
                  </a:cubicBezTo>
                  <a:cubicBezTo>
                    <a:pt x="279" y="237"/>
                    <a:pt x="279" y="237"/>
                    <a:pt x="279" y="237"/>
                  </a:cubicBezTo>
                  <a:cubicBezTo>
                    <a:pt x="279" y="237"/>
                    <a:pt x="279" y="237"/>
                    <a:pt x="279" y="237"/>
                  </a:cubicBezTo>
                  <a:cubicBezTo>
                    <a:pt x="280" y="237"/>
                    <a:pt x="280" y="237"/>
                    <a:pt x="280" y="237"/>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0" y="236"/>
                    <a:pt x="280" y="236"/>
                    <a:pt x="280" y="236"/>
                  </a:cubicBezTo>
                  <a:cubicBezTo>
                    <a:pt x="281" y="236"/>
                    <a:pt x="281" y="236"/>
                    <a:pt x="281" y="236"/>
                  </a:cubicBezTo>
                  <a:cubicBezTo>
                    <a:pt x="281" y="235"/>
                    <a:pt x="281" y="235"/>
                    <a:pt x="281" y="235"/>
                  </a:cubicBezTo>
                  <a:cubicBezTo>
                    <a:pt x="281" y="235"/>
                    <a:pt x="281" y="235"/>
                    <a:pt x="281" y="235"/>
                  </a:cubicBezTo>
                  <a:cubicBezTo>
                    <a:pt x="281" y="235"/>
                    <a:pt x="281" y="235"/>
                    <a:pt x="281" y="235"/>
                  </a:cubicBezTo>
                  <a:cubicBezTo>
                    <a:pt x="281" y="235"/>
                    <a:pt x="281" y="235"/>
                    <a:pt x="281" y="235"/>
                  </a:cubicBezTo>
                  <a:cubicBezTo>
                    <a:pt x="281" y="235"/>
                    <a:pt x="281" y="235"/>
                    <a:pt x="281" y="235"/>
                  </a:cubicBezTo>
                  <a:cubicBezTo>
                    <a:pt x="281" y="235"/>
                    <a:pt x="281" y="235"/>
                    <a:pt x="281" y="235"/>
                  </a:cubicBezTo>
                  <a:cubicBezTo>
                    <a:pt x="282" y="235"/>
                    <a:pt x="282" y="235"/>
                    <a:pt x="282" y="235"/>
                  </a:cubicBezTo>
                  <a:cubicBezTo>
                    <a:pt x="282" y="234"/>
                    <a:pt x="282" y="234"/>
                    <a:pt x="282" y="234"/>
                  </a:cubicBezTo>
                  <a:cubicBezTo>
                    <a:pt x="282" y="234"/>
                    <a:pt x="282" y="234"/>
                    <a:pt x="282" y="234"/>
                  </a:cubicBezTo>
                  <a:cubicBezTo>
                    <a:pt x="282" y="234"/>
                    <a:pt x="282" y="234"/>
                    <a:pt x="282" y="234"/>
                  </a:cubicBezTo>
                  <a:cubicBezTo>
                    <a:pt x="282" y="234"/>
                    <a:pt x="282" y="234"/>
                    <a:pt x="282" y="234"/>
                  </a:cubicBezTo>
                  <a:cubicBezTo>
                    <a:pt x="282" y="234"/>
                    <a:pt x="282" y="234"/>
                    <a:pt x="282" y="234"/>
                  </a:cubicBezTo>
                  <a:cubicBezTo>
                    <a:pt x="282" y="234"/>
                    <a:pt x="282" y="234"/>
                    <a:pt x="282" y="234"/>
                  </a:cubicBezTo>
                  <a:cubicBezTo>
                    <a:pt x="283" y="234"/>
                    <a:pt x="283" y="234"/>
                    <a:pt x="283" y="234"/>
                  </a:cubicBezTo>
                  <a:cubicBezTo>
                    <a:pt x="283" y="233"/>
                    <a:pt x="283" y="233"/>
                    <a:pt x="283" y="233"/>
                  </a:cubicBezTo>
                  <a:cubicBezTo>
                    <a:pt x="283" y="233"/>
                    <a:pt x="283" y="233"/>
                    <a:pt x="283" y="233"/>
                  </a:cubicBezTo>
                  <a:cubicBezTo>
                    <a:pt x="283" y="233"/>
                    <a:pt x="283" y="233"/>
                    <a:pt x="283" y="233"/>
                  </a:cubicBezTo>
                  <a:cubicBezTo>
                    <a:pt x="283" y="233"/>
                    <a:pt x="283" y="233"/>
                    <a:pt x="283" y="233"/>
                  </a:cubicBezTo>
                  <a:cubicBezTo>
                    <a:pt x="283" y="233"/>
                    <a:pt x="283" y="233"/>
                    <a:pt x="283" y="233"/>
                  </a:cubicBezTo>
                  <a:cubicBezTo>
                    <a:pt x="283" y="233"/>
                    <a:pt x="283" y="233"/>
                    <a:pt x="283" y="233"/>
                  </a:cubicBezTo>
                  <a:cubicBezTo>
                    <a:pt x="284" y="233"/>
                    <a:pt x="284" y="233"/>
                    <a:pt x="284" y="233"/>
                  </a:cubicBezTo>
                  <a:cubicBezTo>
                    <a:pt x="284" y="232"/>
                    <a:pt x="284" y="232"/>
                    <a:pt x="284" y="232"/>
                  </a:cubicBezTo>
                  <a:cubicBezTo>
                    <a:pt x="284" y="232"/>
                    <a:pt x="284" y="232"/>
                    <a:pt x="284" y="232"/>
                  </a:cubicBezTo>
                  <a:cubicBezTo>
                    <a:pt x="284" y="232"/>
                    <a:pt x="284" y="232"/>
                    <a:pt x="284" y="232"/>
                  </a:cubicBezTo>
                  <a:cubicBezTo>
                    <a:pt x="284" y="232"/>
                    <a:pt x="284" y="232"/>
                    <a:pt x="284" y="232"/>
                  </a:cubicBezTo>
                  <a:cubicBezTo>
                    <a:pt x="284" y="232"/>
                    <a:pt x="284" y="232"/>
                    <a:pt x="284" y="232"/>
                  </a:cubicBezTo>
                  <a:cubicBezTo>
                    <a:pt x="285" y="232"/>
                    <a:pt x="285" y="232"/>
                    <a:pt x="285" y="232"/>
                  </a:cubicBezTo>
                  <a:cubicBezTo>
                    <a:pt x="285" y="232"/>
                    <a:pt x="285" y="232"/>
                    <a:pt x="285" y="232"/>
                  </a:cubicBezTo>
                  <a:cubicBezTo>
                    <a:pt x="285" y="232"/>
                    <a:pt x="285" y="232"/>
                    <a:pt x="285" y="232"/>
                  </a:cubicBezTo>
                  <a:cubicBezTo>
                    <a:pt x="285" y="231"/>
                    <a:pt x="285" y="231"/>
                    <a:pt x="285" y="231"/>
                  </a:cubicBezTo>
                  <a:cubicBezTo>
                    <a:pt x="285" y="231"/>
                    <a:pt x="285" y="231"/>
                    <a:pt x="285" y="231"/>
                  </a:cubicBezTo>
                  <a:cubicBezTo>
                    <a:pt x="285" y="231"/>
                    <a:pt x="285" y="231"/>
                    <a:pt x="285" y="231"/>
                  </a:cubicBezTo>
                  <a:cubicBezTo>
                    <a:pt x="285" y="231"/>
                    <a:pt x="285" y="231"/>
                    <a:pt x="285" y="231"/>
                  </a:cubicBezTo>
                  <a:cubicBezTo>
                    <a:pt x="294" y="222"/>
                    <a:pt x="294" y="222"/>
                    <a:pt x="294" y="222"/>
                  </a:cubicBezTo>
                  <a:cubicBezTo>
                    <a:pt x="294" y="201"/>
                    <a:pt x="294" y="201"/>
                    <a:pt x="294" y="201"/>
                  </a:cubicBezTo>
                  <a:close/>
                  <a:moveTo>
                    <a:pt x="294" y="272"/>
                  </a:moveTo>
                  <a:cubicBezTo>
                    <a:pt x="294" y="293"/>
                    <a:pt x="294" y="293"/>
                    <a:pt x="294" y="293"/>
                  </a:cubicBezTo>
                  <a:cubicBezTo>
                    <a:pt x="288" y="299"/>
                    <a:pt x="288" y="299"/>
                    <a:pt x="288" y="299"/>
                  </a:cubicBezTo>
                  <a:cubicBezTo>
                    <a:pt x="294" y="305"/>
                    <a:pt x="294" y="305"/>
                    <a:pt x="294" y="305"/>
                  </a:cubicBezTo>
                  <a:cubicBezTo>
                    <a:pt x="294" y="330"/>
                    <a:pt x="294" y="330"/>
                    <a:pt x="294" y="330"/>
                  </a:cubicBezTo>
                  <a:cubicBezTo>
                    <a:pt x="276" y="311"/>
                    <a:pt x="276" y="311"/>
                    <a:pt x="276" y="311"/>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5" y="312"/>
                    <a:pt x="275" y="312"/>
                    <a:pt x="275" y="312"/>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4" y="313"/>
                    <a:pt x="274" y="313"/>
                    <a:pt x="274" y="313"/>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3" y="314"/>
                    <a:pt x="273" y="314"/>
                    <a:pt x="273" y="314"/>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2" y="315"/>
                    <a:pt x="272" y="315"/>
                    <a:pt x="272" y="315"/>
                  </a:cubicBezTo>
                  <a:cubicBezTo>
                    <a:pt x="271" y="316"/>
                    <a:pt x="271" y="316"/>
                    <a:pt x="271" y="316"/>
                  </a:cubicBezTo>
                  <a:cubicBezTo>
                    <a:pt x="271" y="316"/>
                    <a:pt x="271" y="316"/>
                    <a:pt x="271" y="316"/>
                  </a:cubicBezTo>
                  <a:cubicBezTo>
                    <a:pt x="271" y="294"/>
                    <a:pt x="271" y="294"/>
                    <a:pt x="271" y="294"/>
                  </a:cubicBezTo>
                  <a:cubicBezTo>
                    <a:pt x="277" y="288"/>
                    <a:pt x="277" y="288"/>
                    <a:pt x="277" y="288"/>
                  </a:cubicBezTo>
                  <a:cubicBezTo>
                    <a:pt x="287" y="278"/>
                    <a:pt x="287" y="278"/>
                    <a:pt x="287" y="278"/>
                  </a:cubicBezTo>
                  <a:lnTo>
                    <a:pt x="294" y="272"/>
                  </a:lnTo>
                  <a:close/>
                  <a:moveTo>
                    <a:pt x="271" y="401"/>
                  </a:moveTo>
                  <a:cubicBezTo>
                    <a:pt x="244" y="374"/>
                    <a:pt x="244" y="374"/>
                    <a:pt x="244" y="374"/>
                  </a:cubicBezTo>
                  <a:cubicBezTo>
                    <a:pt x="244" y="346"/>
                    <a:pt x="244" y="346"/>
                    <a:pt x="244" y="346"/>
                  </a:cubicBezTo>
                  <a:cubicBezTo>
                    <a:pt x="267" y="369"/>
                    <a:pt x="267" y="369"/>
                    <a:pt x="267" y="369"/>
                  </a:cubicBezTo>
                  <a:cubicBezTo>
                    <a:pt x="271" y="365"/>
                    <a:pt x="271" y="365"/>
                    <a:pt x="271" y="365"/>
                  </a:cubicBezTo>
                  <a:cubicBezTo>
                    <a:pt x="271" y="401"/>
                    <a:pt x="271" y="401"/>
                    <a:pt x="271" y="401"/>
                  </a:cubicBezTo>
                  <a:close/>
                  <a:moveTo>
                    <a:pt x="244" y="116"/>
                  </a:moveTo>
                  <a:cubicBezTo>
                    <a:pt x="271" y="143"/>
                    <a:pt x="271" y="143"/>
                    <a:pt x="271" y="143"/>
                  </a:cubicBezTo>
                  <a:cubicBezTo>
                    <a:pt x="271" y="174"/>
                    <a:pt x="271" y="174"/>
                    <a:pt x="271" y="174"/>
                  </a:cubicBezTo>
                  <a:cubicBezTo>
                    <a:pt x="262" y="183"/>
                    <a:pt x="262" y="183"/>
                    <a:pt x="262" y="183"/>
                  </a:cubicBezTo>
                  <a:cubicBezTo>
                    <a:pt x="271" y="192"/>
                    <a:pt x="271" y="192"/>
                    <a:pt x="271" y="192"/>
                  </a:cubicBezTo>
                  <a:cubicBezTo>
                    <a:pt x="271" y="217"/>
                    <a:pt x="271" y="217"/>
                    <a:pt x="271" y="217"/>
                  </a:cubicBezTo>
                  <a:cubicBezTo>
                    <a:pt x="250" y="195"/>
                    <a:pt x="250" y="195"/>
                    <a:pt x="250" y="195"/>
                  </a:cubicBezTo>
                  <a:cubicBezTo>
                    <a:pt x="244" y="201"/>
                    <a:pt x="244" y="201"/>
                    <a:pt x="244" y="201"/>
                  </a:cubicBezTo>
                  <a:cubicBezTo>
                    <a:pt x="244" y="165"/>
                    <a:pt x="244" y="165"/>
                    <a:pt x="244" y="165"/>
                  </a:cubicBezTo>
                  <a:cubicBezTo>
                    <a:pt x="251" y="172"/>
                    <a:pt x="251" y="172"/>
                    <a:pt x="251" y="172"/>
                  </a:cubicBezTo>
                  <a:cubicBezTo>
                    <a:pt x="255" y="169"/>
                    <a:pt x="258" y="165"/>
                    <a:pt x="262" y="162"/>
                  </a:cubicBezTo>
                  <a:cubicBezTo>
                    <a:pt x="244" y="144"/>
                    <a:pt x="244" y="144"/>
                    <a:pt x="244" y="144"/>
                  </a:cubicBezTo>
                  <a:cubicBezTo>
                    <a:pt x="244" y="116"/>
                    <a:pt x="244" y="116"/>
                    <a:pt x="244" y="116"/>
                  </a:cubicBezTo>
                  <a:close/>
                  <a:moveTo>
                    <a:pt x="271" y="223"/>
                  </a:moveTo>
                  <a:cubicBezTo>
                    <a:pt x="264" y="230"/>
                    <a:pt x="264" y="230"/>
                    <a:pt x="264" y="230"/>
                  </a:cubicBezTo>
                  <a:cubicBezTo>
                    <a:pt x="244" y="210"/>
                    <a:pt x="244" y="210"/>
                    <a:pt x="244" y="210"/>
                  </a:cubicBezTo>
                  <a:cubicBezTo>
                    <a:pt x="244" y="235"/>
                    <a:pt x="244" y="235"/>
                    <a:pt x="244" y="235"/>
                  </a:cubicBezTo>
                  <a:cubicBezTo>
                    <a:pt x="252" y="243"/>
                    <a:pt x="252" y="243"/>
                    <a:pt x="252" y="243"/>
                  </a:cubicBezTo>
                  <a:cubicBezTo>
                    <a:pt x="252" y="243"/>
                    <a:pt x="252" y="243"/>
                    <a:pt x="252" y="243"/>
                  </a:cubicBezTo>
                  <a:cubicBezTo>
                    <a:pt x="252" y="243"/>
                    <a:pt x="252" y="243"/>
                    <a:pt x="252" y="243"/>
                  </a:cubicBezTo>
                  <a:cubicBezTo>
                    <a:pt x="251" y="243"/>
                    <a:pt x="251" y="243"/>
                    <a:pt x="251" y="243"/>
                  </a:cubicBezTo>
                  <a:cubicBezTo>
                    <a:pt x="251" y="243"/>
                    <a:pt x="251" y="243"/>
                    <a:pt x="251" y="243"/>
                  </a:cubicBezTo>
                  <a:cubicBezTo>
                    <a:pt x="251" y="243"/>
                    <a:pt x="251" y="243"/>
                    <a:pt x="251" y="243"/>
                  </a:cubicBezTo>
                  <a:cubicBezTo>
                    <a:pt x="251" y="243"/>
                    <a:pt x="251" y="243"/>
                    <a:pt x="251" y="243"/>
                  </a:cubicBezTo>
                  <a:cubicBezTo>
                    <a:pt x="251" y="243"/>
                    <a:pt x="251" y="243"/>
                    <a:pt x="251" y="243"/>
                  </a:cubicBezTo>
                  <a:cubicBezTo>
                    <a:pt x="251" y="244"/>
                    <a:pt x="251" y="244"/>
                    <a:pt x="251" y="244"/>
                  </a:cubicBezTo>
                  <a:cubicBezTo>
                    <a:pt x="251" y="244"/>
                    <a:pt x="251" y="244"/>
                    <a:pt x="251" y="244"/>
                  </a:cubicBezTo>
                  <a:cubicBezTo>
                    <a:pt x="250" y="244"/>
                    <a:pt x="250" y="244"/>
                    <a:pt x="250" y="244"/>
                  </a:cubicBezTo>
                  <a:cubicBezTo>
                    <a:pt x="250" y="244"/>
                    <a:pt x="250" y="244"/>
                    <a:pt x="250" y="244"/>
                  </a:cubicBezTo>
                  <a:cubicBezTo>
                    <a:pt x="250" y="244"/>
                    <a:pt x="250" y="244"/>
                    <a:pt x="250" y="244"/>
                  </a:cubicBezTo>
                  <a:cubicBezTo>
                    <a:pt x="250" y="244"/>
                    <a:pt x="250" y="244"/>
                    <a:pt x="250" y="244"/>
                  </a:cubicBezTo>
                  <a:cubicBezTo>
                    <a:pt x="250" y="244"/>
                    <a:pt x="250" y="244"/>
                    <a:pt x="250" y="244"/>
                  </a:cubicBezTo>
                  <a:cubicBezTo>
                    <a:pt x="250" y="245"/>
                    <a:pt x="250" y="245"/>
                    <a:pt x="250" y="245"/>
                  </a:cubicBezTo>
                  <a:cubicBezTo>
                    <a:pt x="250" y="245"/>
                    <a:pt x="250" y="245"/>
                    <a:pt x="250" y="245"/>
                  </a:cubicBezTo>
                  <a:cubicBezTo>
                    <a:pt x="249" y="245"/>
                    <a:pt x="249" y="245"/>
                    <a:pt x="249" y="245"/>
                  </a:cubicBezTo>
                  <a:cubicBezTo>
                    <a:pt x="249" y="245"/>
                    <a:pt x="249" y="245"/>
                    <a:pt x="249" y="245"/>
                  </a:cubicBezTo>
                  <a:cubicBezTo>
                    <a:pt x="249" y="245"/>
                    <a:pt x="249" y="245"/>
                    <a:pt x="249" y="245"/>
                  </a:cubicBezTo>
                  <a:cubicBezTo>
                    <a:pt x="249" y="245"/>
                    <a:pt x="249" y="245"/>
                    <a:pt x="249" y="245"/>
                  </a:cubicBezTo>
                  <a:cubicBezTo>
                    <a:pt x="249" y="245"/>
                    <a:pt x="249" y="245"/>
                    <a:pt x="249" y="245"/>
                  </a:cubicBezTo>
                  <a:cubicBezTo>
                    <a:pt x="249" y="246"/>
                    <a:pt x="249" y="246"/>
                    <a:pt x="249" y="246"/>
                  </a:cubicBezTo>
                  <a:cubicBezTo>
                    <a:pt x="249" y="246"/>
                    <a:pt x="249" y="246"/>
                    <a:pt x="249" y="246"/>
                  </a:cubicBezTo>
                  <a:cubicBezTo>
                    <a:pt x="248" y="246"/>
                    <a:pt x="248" y="246"/>
                    <a:pt x="248" y="246"/>
                  </a:cubicBezTo>
                  <a:cubicBezTo>
                    <a:pt x="248" y="246"/>
                    <a:pt x="248" y="246"/>
                    <a:pt x="248" y="246"/>
                  </a:cubicBezTo>
                  <a:cubicBezTo>
                    <a:pt x="248" y="246"/>
                    <a:pt x="248" y="246"/>
                    <a:pt x="248" y="246"/>
                  </a:cubicBezTo>
                  <a:cubicBezTo>
                    <a:pt x="248" y="246"/>
                    <a:pt x="248" y="246"/>
                    <a:pt x="248" y="246"/>
                  </a:cubicBezTo>
                  <a:cubicBezTo>
                    <a:pt x="248" y="246"/>
                    <a:pt x="248" y="246"/>
                    <a:pt x="248" y="246"/>
                  </a:cubicBezTo>
                  <a:cubicBezTo>
                    <a:pt x="248" y="247"/>
                    <a:pt x="248" y="247"/>
                    <a:pt x="248" y="247"/>
                  </a:cubicBezTo>
                  <a:cubicBezTo>
                    <a:pt x="248" y="247"/>
                    <a:pt x="248" y="247"/>
                    <a:pt x="248" y="247"/>
                  </a:cubicBezTo>
                  <a:cubicBezTo>
                    <a:pt x="248" y="247"/>
                    <a:pt x="248" y="247"/>
                    <a:pt x="248" y="247"/>
                  </a:cubicBezTo>
                  <a:cubicBezTo>
                    <a:pt x="248" y="247"/>
                    <a:pt x="248" y="247"/>
                    <a:pt x="248" y="247"/>
                  </a:cubicBezTo>
                  <a:cubicBezTo>
                    <a:pt x="247" y="247"/>
                    <a:pt x="247" y="247"/>
                    <a:pt x="247" y="247"/>
                  </a:cubicBezTo>
                  <a:cubicBezTo>
                    <a:pt x="247" y="247"/>
                    <a:pt x="247" y="247"/>
                    <a:pt x="247" y="247"/>
                  </a:cubicBezTo>
                  <a:cubicBezTo>
                    <a:pt x="247" y="247"/>
                    <a:pt x="247" y="247"/>
                    <a:pt x="247" y="247"/>
                  </a:cubicBezTo>
                  <a:cubicBezTo>
                    <a:pt x="247" y="247"/>
                    <a:pt x="247" y="247"/>
                    <a:pt x="247" y="247"/>
                  </a:cubicBezTo>
                  <a:cubicBezTo>
                    <a:pt x="247" y="248"/>
                    <a:pt x="247" y="248"/>
                    <a:pt x="247" y="248"/>
                  </a:cubicBezTo>
                  <a:cubicBezTo>
                    <a:pt x="247" y="248"/>
                    <a:pt x="247" y="248"/>
                    <a:pt x="247" y="248"/>
                  </a:cubicBezTo>
                  <a:cubicBezTo>
                    <a:pt x="247" y="248"/>
                    <a:pt x="247" y="248"/>
                    <a:pt x="247" y="248"/>
                  </a:cubicBezTo>
                  <a:cubicBezTo>
                    <a:pt x="246" y="248"/>
                    <a:pt x="246" y="248"/>
                    <a:pt x="246" y="248"/>
                  </a:cubicBezTo>
                  <a:cubicBezTo>
                    <a:pt x="246" y="248"/>
                    <a:pt x="246" y="248"/>
                    <a:pt x="246" y="248"/>
                  </a:cubicBezTo>
                  <a:cubicBezTo>
                    <a:pt x="246" y="248"/>
                    <a:pt x="246" y="248"/>
                    <a:pt x="246" y="248"/>
                  </a:cubicBezTo>
                  <a:cubicBezTo>
                    <a:pt x="246" y="248"/>
                    <a:pt x="246" y="248"/>
                    <a:pt x="246" y="248"/>
                  </a:cubicBezTo>
                  <a:cubicBezTo>
                    <a:pt x="246" y="249"/>
                    <a:pt x="246" y="249"/>
                    <a:pt x="246" y="249"/>
                  </a:cubicBezTo>
                  <a:cubicBezTo>
                    <a:pt x="246" y="249"/>
                    <a:pt x="246" y="249"/>
                    <a:pt x="246" y="249"/>
                  </a:cubicBezTo>
                  <a:cubicBezTo>
                    <a:pt x="246" y="249"/>
                    <a:pt x="246" y="249"/>
                    <a:pt x="246" y="249"/>
                  </a:cubicBezTo>
                  <a:cubicBezTo>
                    <a:pt x="245" y="249"/>
                    <a:pt x="245" y="249"/>
                    <a:pt x="245" y="249"/>
                  </a:cubicBezTo>
                  <a:cubicBezTo>
                    <a:pt x="245" y="249"/>
                    <a:pt x="245" y="249"/>
                    <a:pt x="245" y="249"/>
                  </a:cubicBezTo>
                  <a:cubicBezTo>
                    <a:pt x="245" y="249"/>
                    <a:pt x="245" y="249"/>
                    <a:pt x="245" y="249"/>
                  </a:cubicBezTo>
                  <a:cubicBezTo>
                    <a:pt x="245" y="249"/>
                    <a:pt x="245" y="249"/>
                    <a:pt x="245" y="249"/>
                  </a:cubicBezTo>
                  <a:cubicBezTo>
                    <a:pt x="245" y="249"/>
                    <a:pt x="245" y="249"/>
                    <a:pt x="245" y="249"/>
                  </a:cubicBezTo>
                  <a:cubicBezTo>
                    <a:pt x="245" y="250"/>
                    <a:pt x="245" y="250"/>
                    <a:pt x="245" y="250"/>
                  </a:cubicBezTo>
                  <a:cubicBezTo>
                    <a:pt x="245" y="250"/>
                    <a:pt x="245" y="250"/>
                    <a:pt x="245" y="250"/>
                  </a:cubicBezTo>
                  <a:cubicBezTo>
                    <a:pt x="245" y="250"/>
                    <a:pt x="245" y="250"/>
                    <a:pt x="245" y="250"/>
                  </a:cubicBezTo>
                  <a:cubicBezTo>
                    <a:pt x="244" y="250"/>
                    <a:pt x="244" y="250"/>
                    <a:pt x="244" y="250"/>
                  </a:cubicBezTo>
                  <a:cubicBezTo>
                    <a:pt x="244" y="250"/>
                    <a:pt x="244" y="250"/>
                    <a:pt x="244" y="250"/>
                  </a:cubicBezTo>
                  <a:cubicBezTo>
                    <a:pt x="244" y="272"/>
                    <a:pt x="244" y="272"/>
                    <a:pt x="244" y="272"/>
                  </a:cubicBezTo>
                  <a:cubicBezTo>
                    <a:pt x="252" y="263"/>
                    <a:pt x="252" y="263"/>
                    <a:pt x="252" y="263"/>
                  </a:cubicBezTo>
                  <a:cubicBezTo>
                    <a:pt x="263" y="253"/>
                    <a:pt x="263" y="253"/>
                    <a:pt x="263" y="253"/>
                  </a:cubicBezTo>
                  <a:cubicBezTo>
                    <a:pt x="271" y="245"/>
                    <a:pt x="271" y="245"/>
                    <a:pt x="271" y="245"/>
                  </a:cubicBezTo>
                  <a:cubicBezTo>
                    <a:pt x="271" y="223"/>
                    <a:pt x="271" y="223"/>
                    <a:pt x="271" y="223"/>
                  </a:cubicBezTo>
                  <a:close/>
                  <a:moveTo>
                    <a:pt x="271" y="294"/>
                  </a:move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1" y="316"/>
                    <a:pt x="271" y="316"/>
                    <a:pt x="271" y="316"/>
                  </a:cubicBezTo>
                  <a:cubicBezTo>
                    <a:pt x="270" y="316"/>
                    <a:pt x="270" y="316"/>
                    <a:pt x="270" y="316"/>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70" y="317"/>
                    <a:pt x="270" y="317"/>
                    <a:pt x="270" y="317"/>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9" y="318"/>
                    <a:pt x="269" y="318"/>
                    <a:pt x="269" y="318"/>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8" y="319"/>
                    <a:pt x="268" y="319"/>
                    <a:pt x="268" y="319"/>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7" y="320"/>
                    <a:pt x="267" y="320"/>
                    <a:pt x="267" y="320"/>
                  </a:cubicBezTo>
                  <a:cubicBezTo>
                    <a:pt x="266" y="320"/>
                    <a:pt x="266" y="320"/>
                    <a:pt x="266" y="320"/>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6" y="321"/>
                    <a:pt x="266" y="321"/>
                    <a:pt x="266" y="321"/>
                  </a:cubicBezTo>
                  <a:cubicBezTo>
                    <a:pt x="265" y="322"/>
                    <a:pt x="265" y="322"/>
                    <a:pt x="265" y="322"/>
                  </a:cubicBezTo>
                  <a:cubicBezTo>
                    <a:pt x="265" y="322"/>
                    <a:pt x="265" y="322"/>
                    <a:pt x="265" y="322"/>
                  </a:cubicBezTo>
                  <a:cubicBezTo>
                    <a:pt x="265" y="322"/>
                    <a:pt x="265" y="322"/>
                    <a:pt x="265" y="322"/>
                  </a:cubicBezTo>
                  <a:cubicBezTo>
                    <a:pt x="244" y="343"/>
                    <a:pt x="244" y="343"/>
                    <a:pt x="244" y="343"/>
                  </a:cubicBezTo>
                  <a:cubicBezTo>
                    <a:pt x="244" y="301"/>
                    <a:pt x="244" y="301"/>
                    <a:pt x="244" y="301"/>
                  </a:cubicBezTo>
                  <a:cubicBezTo>
                    <a:pt x="254" y="311"/>
                    <a:pt x="254" y="311"/>
                    <a:pt x="254" y="311"/>
                  </a:cubicBezTo>
                  <a:cubicBezTo>
                    <a:pt x="255" y="311"/>
                    <a:pt x="255" y="311"/>
                    <a:pt x="255" y="311"/>
                  </a:cubicBezTo>
                  <a:cubicBezTo>
                    <a:pt x="255" y="311"/>
                    <a:pt x="255" y="311"/>
                    <a:pt x="255" y="311"/>
                  </a:cubicBezTo>
                  <a:cubicBezTo>
                    <a:pt x="255" y="310"/>
                    <a:pt x="255" y="310"/>
                    <a:pt x="255" y="310"/>
                  </a:cubicBezTo>
                  <a:cubicBezTo>
                    <a:pt x="255" y="310"/>
                    <a:pt x="255" y="310"/>
                    <a:pt x="255" y="310"/>
                  </a:cubicBezTo>
                  <a:cubicBezTo>
                    <a:pt x="255" y="310"/>
                    <a:pt x="255" y="310"/>
                    <a:pt x="255" y="310"/>
                  </a:cubicBezTo>
                  <a:cubicBezTo>
                    <a:pt x="255" y="310"/>
                    <a:pt x="255" y="310"/>
                    <a:pt x="255" y="310"/>
                  </a:cubicBezTo>
                  <a:cubicBezTo>
                    <a:pt x="256" y="310"/>
                    <a:pt x="256" y="310"/>
                    <a:pt x="256" y="310"/>
                  </a:cubicBezTo>
                  <a:cubicBezTo>
                    <a:pt x="256" y="310"/>
                    <a:pt x="256" y="310"/>
                    <a:pt x="256" y="310"/>
                  </a:cubicBezTo>
                  <a:cubicBezTo>
                    <a:pt x="256" y="309"/>
                    <a:pt x="256" y="309"/>
                    <a:pt x="256" y="309"/>
                  </a:cubicBezTo>
                  <a:cubicBezTo>
                    <a:pt x="256" y="309"/>
                    <a:pt x="256" y="309"/>
                    <a:pt x="256" y="309"/>
                  </a:cubicBezTo>
                  <a:cubicBezTo>
                    <a:pt x="256" y="309"/>
                    <a:pt x="256" y="309"/>
                    <a:pt x="256" y="309"/>
                  </a:cubicBezTo>
                  <a:cubicBezTo>
                    <a:pt x="256" y="309"/>
                    <a:pt x="256" y="309"/>
                    <a:pt x="256" y="309"/>
                  </a:cubicBezTo>
                  <a:cubicBezTo>
                    <a:pt x="256" y="309"/>
                    <a:pt x="256" y="309"/>
                    <a:pt x="256" y="309"/>
                  </a:cubicBezTo>
                  <a:cubicBezTo>
                    <a:pt x="257" y="309"/>
                    <a:pt x="257" y="309"/>
                    <a:pt x="257" y="309"/>
                  </a:cubicBezTo>
                  <a:cubicBezTo>
                    <a:pt x="257" y="309"/>
                    <a:pt x="257" y="309"/>
                    <a:pt x="257" y="309"/>
                  </a:cubicBezTo>
                  <a:cubicBezTo>
                    <a:pt x="257" y="308"/>
                    <a:pt x="257" y="308"/>
                    <a:pt x="257" y="308"/>
                  </a:cubicBezTo>
                  <a:cubicBezTo>
                    <a:pt x="257" y="308"/>
                    <a:pt x="257" y="308"/>
                    <a:pt x="257" y="308"/>
                  </a:cubicBezTo>
                  <a:cubicBezTo>
                    <a:pt x="257" y="308"/>
                    <a:pt x="257" y="308"/>
                    <a:pt x="257" y="308"/>
                  </a:cubicBezTo>
                  <a:cubicBezTo>
                    <a:pt x="257" y="308"/>
                    <a:pt x="257" y="308"/>
                    <a:pt x="257" y="308"/>
                  </a:cubicBezTo>
                  <a:cubicBezTo>
                    <a:pt x="258" y="308"/>
                    <a:pt x="258" y="308"/>
                    <a:pt x="258" y="308"/>
                  </a:cubicBezTo>
                  <a:cubicBezTo>
                    <a:pt x="258" y="308"/>
                    <a:pt x="258" y="308"/>
                    <a:pt x="258" y="308"/>
                  </a:cubicBezTo>
                  <a:cubicBezTo>
                    <a:pt x="258" y="307"/>
                    <a:pt x="258" y="307"/>
                    <a:pt x="258" y="307"/>
                  </a:cubicBezTo>
                  <a:cubicBezTo>
                    <a:pt x="258" y="307"/>
                    <a:pt x="258" y="307"/>
                    <a:pt x="258" y="307"/>
                  </a:cubicBezTo>
                  <a:cubicBezTo>
                    <a:pt x="258" y="307"/>
                    <a:pt x="258" y="307"/>
                    <a:pt x="258" y="307"/>
                  </a:cubicBezTo>
                  <a:cubicBezTo>
                    <a:pt x="258" y="307"/>
                    <a:pt x="258" y="307"/>
                    <a:pt x="258" y="307"/>
                  </a:cubicBezTo>
                  <a:cubicBezTo>
                    <a:pt x="259" y="307"/>
                    <a:pt x="259" y="307"/>
                    <a:pt x="259" y="307"/>
                  </a:cubicBezTo>
                  <a:cubicBezTo>
                    <a:pt x="259" y="307"/>
                    <a:pt x="259" y="307"/>
                    <a:pt x="259" y="307"/>
                  </a:cubicBezTo>
                  <a:cubicBezTo>
                    <a:pt x="259" y="306"/>
                    <a:pt x="259" y="306"/>
                    <a:pt x="259" y="306"/>
                  </a:cubicBezTo>
                  <a:cubicBezTo>
                    <a:pt x="259" y="306"/>
                    <a:pt x="259" y="306"/>
                    <a:pt x="259" y="306"/>
                  </a:cubicBezTo>
                  <a:cubicBezTo>
                    <a:pt x="259" y="306"/>
                    <a:pt x="259" y="306"/>
                    <a:pt x="259" y="306"/>
                  </a:cubicBezTo>
                  <a:cubicBezTo>
                    <a:pt x="259" y="306"/>
                    <a:pt x="259" y="306"/>
                    <a:pt x="259" y="306"/>
                  </a:cubicBezTo>
                  <a:cubicBezTo>
                    <a:pt x="260" y="306"/>
                    <a:pt x="260" y="306"/>
                    <a:pt x="260" y="306"/>
                  </a:cubicBezTo>
                  <a:cubicBezTo>
                    <a:pt x="260" y="306"/>
                    <a:pt x="260" y="306"/>
                    <a:pt x="260" y="306"/>
                  </a:cubicBezTo>
                  <a:cubicBezTo>
                    <a:pt x="260" y="305"/>
                    <a:pt x="260" y="305"/>
                    <a:pt x="260" y="305"/>
                  </a:cubicBezTo>
                  <a:cubicBezTo>
                    <a:pt x="260" y="305"/>
                    <a:pt x="260" y="305"/>
                    <a:pt x="260" y="305"/>
                  </a:cubicBezTo>
                  <a:cubicBezTo>
                    <a:pt x="260" y="305"/>
                    <a:pt x="260" y="305"/>
                    <a:pt x="260" y="305"/>
                  </a:cubicBezTo>
                  <a:cubicBezTo>
                    <a:pt x="260" y="305"/>
                    <a:pt x="260" y="305"/>
                    <a:pt x="260" y="305"/>
                  </a:cubicBezTo>
                  <a:cubicBezTo>
                    <a:pt x="261" y="305"/>
                    <a:pt x="261" y="305"/>
                    <a:pt x="261" y="305"/>
                  </a:cubicBezTo>
                  <a:cubicBezTo>
                    <a:pt x="261" y="305"/>
                    <a:pt x="261" y="305"/>
                    <a:pt x="261" y="305"/>
                  </a:cubicBezTo>
                  <a:cubicBezTo>
                    <a:pt x="261" y="304"/>
                    <a:pt x="261" y="304"/>
                    <a:pt x="261" y="304"/>
                  </a:cubicBezTo>
                  <a:cubicBezTo>
                    <a:pt x="261" y="304"/>
                    <a:pt x="261" y="304"/>
                    <a:pt x="261" y="304"/>
                  </a:cubicBezTo>
                  <a:cubicBezTo>
                    <a:pt x="261" y="304"/>
                    <a:pt x="261" y="304"/>
                    <a:pt x="261" y="304"/>
                  </a:cubicBezTo>
                  <a:cubicBezTo>
                    <a:pt x="261" y="304"/>
                    <a:pt x="261" y="304"/>
                    <a:pt x="261" y="304"/>
                  </a:cubicBezTo>
                  <a:cubicBezTo>
                    <a:pt x="262" y="304"/>
                    <a:pt x="262" y="304"/>
                    <a:pt x="262" y="304"/>
                  </a:cubicBezTo>
                  <a:cubicBezTo>
                    <a:pt x="262" y="304"/>
                    <a:pt x="262" y="304"/>
                    <a:pt x="262" y="304"/>
                  </a:cubicBezTo>
                  <a:cubicBezTo>
                    <a:pt x="262" y="304"/>
                    <a:pt x="262" y="304"/>
                    <a:pt x="262" y="304"/>
                  </a:cubicBezTo>
                  <a:cubicBezTo>
                    <a:pt x="262" y="303"/>
                    <a:pt x="262" y="303"/>
                    <a:pt x="262" y="303"/>
                  </a:cubicBezTo>
                  <a:cubicBezTo>
                    <a:pt x="262" y="303"/>
                    <a:pt x="262" y="303"/>
                    <a:pt x="262" y="303"/>
                  </a:cubicBezTo>
                  <a:cubicBezTo>
                    <a:pt x="262" y="303"/>
                    <a:pt x="262" y="303"/>
                    <a:pt x="262" y="303"/>
                  </a:cubicBezTo>
                  <a:cubicBezTo>
                    <a:pt x="263" y="303"/>
                    <a:pt x="263" y="303"/>
                    <a:pt x="263" y="303"/>
                  </a:cubicBezTo>
                  <a:cubicBezTo>
                    <a:pt x="263" y="303"/>
                    <a:pt x="263" y="303"/>
                    <a:pt x="263" y="303"/>
                  </a:cubicBezTo>
                  <a:cubicBezTo>
                    <a:pt x="263" y="303"/>
                    <a:pt x="263" y="303"/>
                    <a:pt x="263" y="303"/>
                  </a:cubicBezTo>
                  <a:cubicBezTo>
                    <a:pt x="263" y="302"/>
                    <a:pt x="263" y="302"/>
                    <a:pt x="263" y="302"/>
                  </a:cubicBezTo>
                  <a:cubicBezTo>
                    <a:pt x="263" y="302"/>
                    <a:pt x="263" y="302"/>
                    <a:pt x="263" y="302"/>
                  </a:cubicBezTo>
                  <a:cubicBezTo>
                    <a:pt x="263" y="302"/>
                    <a:pt x="263" y="302"/>
                    <a:pt x="263" y="302"/>
                  </a:cubicBezTo>
                  <a:cubicBezTo>
                    <a:pt x="263" y="302"/>
                    <a:pt x="263" y="302"/>
                    <a:pt x="263" y="302"/>
                  </a:cubicBezTo>
                  <a:cubicBezTo>
                    <a:pt x="264" y="302"/>
                    <a:pt x="264" y="302"/>
                    <a:pt x="264" y="302"/>
                  </a:cubicBezTo>
                  <a:cubicBezTo>
                    <a:pt x="264" y="302"/>
                    <a:pt x="264" y="302"/>
                    <a:pt x="264" y="302"/>
                  </a:cubicBezTo>
                  <a:cubicBezTo>
                    <a:pt x="264" y="301"/>
                    <a:pt x="264" y="301"/>
                    <a:pt x="264" y="301"/>
                  </a:cubicBezTo>
                  <a:cubicBezTo>
                    <a:pt x="264" y="301"/>
                    <a:pt x="264" y="301"/>
                    <a:pt x="264" y="301"/>
                  </a:cubicBezTo>
                  <a:cubicBezTo>
                    <a:pt x="264" y="301"/>
                    <a:pt x="264" y="301"/>
                    <a:pt x="264" y="301"/>
                  </a:cubicBezTo>
                  <a:cubicBezTo>
                    <a:pt x="264" y="301"/>
                    <a:pt x="264" y="301"/>
                    <a:pt x="264" y="301"/>
                  </a:cubicBezTo>
                  <a:cubicBezTo>
                    <a:pt x="265" y="301"/>
                    <a:pt x="265" y="301"/>
                    <a:pt x="265" y="301"/>
                  </a:cubicBezTo>
                  <a:cubicBezTo>
                    <a:pt x="265" y="301"/>
                    <a:pt x="265" y="301"/>
                    <a:pt x="265" y="301"/>
                  </a:cubicBezTo>
                  <a:lnTo>
                    <a:pt x="271" y="294"/>
                  </a:lnTo>
                  <a:close/>
                  <a:moveTo>
                    <a:pt x="244" y="374"/>
                  </a:moveTo>
                  <a:cubicBezTo>
                    <a:pt x="233" y="362"/>
                    <a:pt x="233" y="362"/>
                    <a:pt x="233" y="362"/>
                  </a:cubicBezTo>
                  <a:cubicBezTo>
                    <a:pt x="233" y="332"/>
                    <a:pt x="233" y="332"/>
                    <a:pt x="233" y="332"/>
                  </a:cubicBezTo>
                  <a:cubicBezTo>
                    <a:pt x="242" y="323"/>
                    <a:pt x="242" y="323"/>
                    <a:pt x="242" y="323"/>
                  </a:cubicBezTo>
                  <a:cubicBezTo>
                    <a:pt x="233" y="314"/>
                    <a:pt x="233" y="314"/>
                    <a:pt x="233" y="314"/>
                  </a:cubicBezTo>
                  <a:cubicBezTo>
                    <a:pt x="233" y="289"/>
                    <a:pt x="233" y="289"/>
                    <a:pt x="233" y="289"/>
                  </a:cubicBezTo>
                  <a:cubicBezTo>
                    <a:pt x="244" y="301"/>
                    <a:pt x="244" y="301"/>
                    <a:pt x="244" y="301"/>
                  </a:cubicBezTo>
                  <a:cubicBezTo>
                    <a:pt x="244" y="343"/>
                    <a:pt x="244" y="343"/>
                    <a:pt x="244" y="343"/>
                  </a:cubicBezTo>
                  <a:cubicBezTo>
                    <a:pt x="243" y="344"/>
                    <a:pt x="243" y="344"/>
                    <a:pt x="243" y="344"/>
                  </a:cubicBezTo>
                  <a:cubicBezTo>
                    <a:pt x="244" y="346"/>
                    <a:pt x="244" y="346"/>
                    <a:pt x="244" y="346"/>
                  </a:cubicBezTo>
                  <a:cubicBezTo>
                    <a:pt x="244" y="374"/>
                    <a:pt x="244" y="374"/>
                    <a:pt x="244" y="374"/>
                  </a:cubicBezTo>
                  <a:close/>
                  <a:moveTo>
                    <a:pt x="233" y="105"/>
                  </a:moveTo>
                  <a:cubicBezTo>
                    <a:pt x="244" y="116"/>
                    <a:pt x="244" y="116"/>
                    <a:pt x="244" y="116"/>
                  </a:cubicBezTo>
                  <a:cubicBezTo>
                    <a:pt x="244" y="144"/>
                    <a:pt x="244" y="144"/>
                    <a:pt x="244" y="144"/>
                  </a:cubicBezTo>
                  <a:cubicBezTo>
                    <a:pt x="237" y="137"/>
                    <a:pt x="237" y="137"/>
                    <a:pt x="237" y="137"/>
                  </a:cubicBezTo>
                  <a:cubicBezTo>
                    <a:pt x="233" y="141"/>
                    <a:pt x="233" y="141"/>
                    <a:pt x="233" y="141"/>
                  </a:cubicBezTo>
                  <a:cubicBezTo>
                    <a:pt x="233" y="105"/>
                    <a:pt x="233" y="105"/>
                    <a:pt x="233" y="105"/>
                  </a:cubicBezTo>
                  <a:close/>
                  <a:moveTo>
                    <a:pt x="244" y="165"/>
                  </a:moveTo>
                  <a:cubicBezTo>
                    <a:pt x="244" y="201"/>
                    <a:pt x="244" y="201"/>
                    <a:pt x="244" y="201"/>
                  </a:cubicBezTo>
                  <a:cubicBezTo>
                    <a:pt x="240" y="205"/>
                    <a:pt x="240" y="205"/>
                    <a:pt x="240" y="205"/>
                  </a:cubicBezTo>
                  <a:cubicBezTo>
                    <a:pt x="244" y="210"/>
                    <a:pt x="244" y="210"/>
                    <a:pt x="244" y="210"/>
                  </a:cubicBezTo>
                  <a:cubicBezTo>
                    <a:pt x="244" y="235"/>
                    <a:pt x="244" y="235"/>
                    <a:pt x="244" y="235"/>
                  </a:cubicBezTo>
                  <a:cubicBezTo>
                    <a:pt x="233" y="223"/>
                    <a:pt x="233" y="223"/>
                    <a:pt x="233" y="223"/>
                  </a:cubicBezTo>
                  <a:cubicBezTo>
                    <a:pt x="233" y="190"/>
                    <a:pt x="233" y="190"/>
                    <a:pt x="233" y="190"/>
                  </a:cubicBezTo>
                  <a:cubicBezTo>
                    <a:pt x="233" y="190"/>
                    <a:pt x="233" y="190"/>
                    <a:pt x="233" y="190"/>
                  </a:cubicBezTo>
                  <a:cubicBezTo>
                    <a:pt x="233" y="190"/>
                    <a:pt x="233" y="190"/>
                    <a:pt x="233" y="190"/>
                  </a:cubicBezTo>
                  <a:cubicBezTo>
                    <a:pt x="233" y="190"/>
                    <a:pt x="233" y="190"/>
                    <a:pt x="233" y="190"/>
                  </a:cubicBezTo>
                  <a:cubicBezTo>
                    <a:pt x="233" y="190"/>
                    <a:pt x="233" y="190"/>
                    <a:pt x="233" y="190"/>
                  </a:cubicBezTo>
                  <a:cubicBezTo>
                    <a:pt x="234" y="190"/>
                    <a:pt x="234" y="190"/>
                    <a:pt x="234" y="190"/>
                  </a:cubicBezTo>
                  <a:cubicBezTo>
                    <a:pt x="234" y="190"/>
                    <a:pt x="234" y="190"/>
                    <a:pt x="234" y="190"/>
                  </a:cubicBezTo>
                  <a:cubicBezTo>
                    <a:pt x="234" y="190"/>
                    <a:pt x="234" y="190"/>
                    <a:pt x="234" y="190"/>
                  </a:cubicBezTo>
                  <a:cubicBezTo>
                    <a:pt x="234" y="189"/>
                    <a:pt x="234" y="189"/>
                    <a:pt x="234" y="189"/>
                  </a:cubicBezTo>
                  <a:cubicBezTo>
                    <a:pt x="234" y="189"/>
                    <a:pt x="234" y="189"/>
                    <a:pt x="234" y="189"/>
                  </a:cubicBezTo>
                  <a:cubicBezTo>
                    <a:pt x="234" y="189"/>
                    <a:pt x="234" y="189"/>
                    <a:pt x="234" y="189"/>
                  </a:cubicBezTo>
                  <a:cubicBezTo>
                    <a:pt x="234" y="189"/>
                    <a:pt x="234" y="189"/>
                    <a:pt x="234" y="189"/>
                  </a:cubicBezTo>
                  <a:cubicBezTo>
                    <a:pt x="234" y="189"/>
                    <a:pt x="234" y="189"/>
                    <a:pt x="234" y="189"/>
                  </a:cubicBezTo>
                  <a:cubicBezTo>
                    <a:pt x="235" y="189"/>
                    <a:pt x="235" y="189"/>
                    <a:pt x="235" y="189"/>
                  </a:cubicBezTo>
                  <a:cubicBezTo>
                    <a:pt x="235" y="189"/>
                    <a:pt x="235" y="189"/>
                    <a:pt x="235" y="189"/>
                  </a:cubicBezTo>
                  <a:cubicBezTo>
                    <a:pt x="235" y="189"/>
                    <a:pt x="235" y="189"/>
                    <a:pt x="235" y="189"/>
                  </a:cubicBezTo>
                  <a:cubicBezTo>
                    <a:pt x="235" y="188"/>
                    <a:pt x="235" y="188"/>
                    <a:pt x="235" y="188"/>
                  </a:cubicBezTo>
                  <a:cubicBezTo>
                    <a:pt x="235" y="188"/>
                    <a:pt x="235" y="188"/>
                    <a:pt x="235" y="188"/>
                  </a:cubicBezTo>
                  <a:cubicBezTo>
                    <a:pt x="235" y="188"/>
                    <a:pt x="235" y="188"/>
                    <a:pt x="235" y="188"/>
                  </a:cubicBezTo>
                  <a:cubicBezTo>
                    <a:pt x="235" y="188"/>
                    <a:pt x="235" y="188"/>
                    <a:pt x="235" y="188"/>
                  </a:cubicBezTo>
                  <a:cubicBezTo>
                    <a:pt x="236" y="188"/>
                    <a:pt x="236" y="188"/>
                    <a:pt x="236" y="188"/>
                  </a:cubicBezTo>
                  <a:cubicBezTo>
                    <a:pt x="236" y="188"/>
                    <a:pt x="236" y="188"/>
                    <a:pt x="236" y="188"/>
                  </a:cubicBezTo>
                  <a:cubicBezTo>
                    <a:pt x="236" y="188"/>
                    <a:pt x="236" y="188"/>
                    <a:pt x="236" y="188"/>
                  </a:cubicBezTo>
                  <a:cubicBezTo>
                    <a:pt x="236" y="188"/>
                    <a:pt x="236" y="188"/>
                    <a:pt x="236" y="188"/>
                  </a:cubicBezTo>
                  <a:cubicBezTo>
                    <a:pt x="236" y="187"/>
                    <a:pt x="236" y="187"/>
                    <a:pt x="236" y="187"/>
                  </a:cubicBezTo>
                  <a:cubicBezTo>
                    <a:pt x="236" y="187"/>
                    <a:pt x="236" y="187"/>
                    <a:pt x="236" y="187"/>
                  </a:cubicBezTo>
                  <a:cubicBezTo>
                    <a:pt x="236" y="187"/>
                    <a:pt x="236" y="187"/>
                    <a:pt x="236" y="187"/>
                  </a:cubicBezTo>
                  <a:cubicBezTo>
                    <a:pt x="237" y="187"/>
                    <a:pt x="237" y="187"/>
                    <a:pt x="237" y="187"/>
                  </a:cubicBezTo>
                  <a:cubicBezTo>
                    <a:pt x="237" y="187"/>
                    <a:pt x="237" y="187"/>
                    <a:pt x="237" y="187"/>
                  </a:cubicBezTo>
                  <a:cubicBezTo>
                    <a:pt x="237" y="187"/>
                    <a:pt x="237" y="187"/>
                    <a:pt x="237" y="187"/>
                  </a:cubicBezTo>
                  <a:cubicBezTo>
                    <a:pt x="237" y="187"/>
                    <a:pt x="237" y="187"/>
                    <a:pt x="237" y="187"/>
                  </a:cubicBezTo>
                  <a:cubicBezTo>
                    <a:pt x="237" y="186"/>
                    <a:pt x="237" y="186"/>
                    <a:pt x="237" y="186"/>
                  </a:cubicBezTo>
                  <a:cubicBezTo>
                    <a:pt x="237" y="186"/>
                    <a:pt x="237" y="186"/>
                    <a:pt x="237" y="186"/>
                  </a:cubicBezTo>
                  <a:cubicBezTo>
                    <a:pt x="237" y="186"/>
                    <a:pt x="237" y="186"/>
                    <a:pt x="237" y="186"/>
                  </a:cubicBezTo>
                  <a:cubicBezTo>
                    <a:pt x="237" y="186"/>
                    <a:pt x="237" y="186"/>
                    <a:pt x="237" y="186"/>
                  </a:cubicBezTo>
                  <a:cubicBezTo>
                    <a:pt x="238" y="186"/>
                    <a:pt x="238" y="186"/>
                    <a:pt x="238" y="186"/>
                  </a:cubicBezTo>
                  <a:cubicBezTo>
                    <a:pt x="238" y="186"/>
                    <a:pt x="238" y="186"/>
                    <a:pt x="238" y="186"/>
                  </a:cubicBezTo>
                  <a:cubicBezTo>
                    <a:pt x="238" y="186"/>
                    <a:pt x="238" y="186"/>
                    <a:pt x="238" y="186"/>
                  </a:cubicBezTo>
                  <a:cubicBezTo>
                    <a:pt x="238" y="185"/>
                    <a:pt x="238" y="185"/>
                    <a:pt x="238" y="185"/>
                  </a:cubicBezTo>
                  <a:cubicBezTo>
                    <a:pt x="238" y="185"/>
                    <a:pt x="238" y="185"/>
                    <a:pt x="238" y="185"/>
                  </a:cubicBezTo>
                  <a:cubicBezTo>
                    <a:pt x="238" y="185"/>
                    <a:pt x="238" y="185"/>
                    <a:pt x="238" y="185"/>
                  </a:cubicBezTo>
                  <a:cubicBezTo>
                    <a:pt x="238" y="185"/>
                    <a:pt x="238" y="185"/>
                    <a:pt x="238" y="185"/>
                  </a:cubicBezTo>
                  <a:cubicBezTo>
                    <a:pt x="239" y="185"/>
                    <a:pt x="239" y="185"/>
                    <a:pt x="239" y="185"/>
                  </a:cubicBezTo>
                  <a:cubicBezTo>
                    <a:pt x="239" y="185"/>
                    <a:pt x="239" y="185"/>
                    <a:pt x="239" y="185"/>
                  </a:cubicBezTo>
                  <a:cubicBezTo>
                    <a:pt x="239" y="185"/>
                    <a:pt x="239" y="185"/>
                    <a:pt x="239" y="185"/>
                  </a:cubicBezTo>
                  <a:cubicBezTo>
                    <a:pt x="239" y="184"/>
                    <a:pt x="239" y="184"/>
                    <a:pt x="239" y="184"/>
                  </a:cubicBezTo>
                  <a:cubicBezTo>
                    <a:pt x="239" y="184"/>
                    <a:pt x="239" y="184"/>
                    <a:pt x="239" y="184"/>
                  </a:cubicBezTo>
                  <a:cubicBezTo>
                    <a:pt x="233" y="178"/>
                    <a:pt x="233" y="178"/>
                    <a:pt x="233" y="178"/>
                  </a:cubicBezTo>
                  <a:cubicBezTo>
                    <a:pt x="233" y="153"/>
                    <a:pt x="233" y="153"/>
                    <a:pt x="233" y="153"/>
                  </a:cubicBezTo>
                  <a:cubicBezTo>
                    <a:pt x="244" y="165"/>
                    <a:pt x="244" y="165"/>
                    <a:pt x="244" y="165"/>
                  </a:cubicBezTo>
                  <a:close/>
                  <a:moveTo>
                    <a:pt x="244" y="250"/>
                  </a:moveTo>
                  <a:cubicBezTo>
                    <a:pt x="244" y="272"/>
                    <a:pt x="244" y="272"/>
                    <a:pt x="244" y="272"/>
                  </a:cubicBezTo>
                  <a:cubicBezTo>
                    <a:pt x="240" y="276"/>
                    <a:pt x="240" y="276"/>
                    <a:pt x="240" y="276"/>
                  </a:cubicBezTo>
                  <a:cubicBezTo>
                    <a:pt x="240" y="276"/>
                    <a:pt x="240" y="276"/>
                    <a:pt x="240" y="276"/>
                  </a:cubicBezTo>
                  <a:cubicBezTo>
                    <a:pt x="240" y="276"/>
                    <a:pt x="240" y="276"/>
                    <a:pt x="240" y="276"/>
                  </a:cubicBezTo>
                  <a:cubicBezTo>
                    <a:pt x="240" y="276"/>
                    <a:pt x="240" y="276"/>
                    <a:pt x="240" y="276"/>
                  </a:cubicBezTo>
                  <a:cubicBezTo>
                    <a:pt x="239" y="276"/>
                    <a:pt x="239" y="276"/>
                    <a:pt x="239" y="276"/>
                  </a:cubicBezTo>
                  <a:cubicBezTo>
                    <a:pt x="239" y="276"/>
                    <a:pt x="239" y="276"/>
                    <a:pt x="239" y="276"/>
                  </a:cubicBezTo>
                  <a:cubicBezTo>
                    <a:pt x="239" y="277"/>
                    <a:pt x="239" y="277"/>
                    <a:pt x="239" y="277"/>
                  </a:cubicBezTo>
                  <a:cubicBezTo>
                    <a:pt x="239" y="277"/>
                    <a:pt x="239" y="277"/>
                    <a:pt x="239" y="277"/>
                  </a:cubicBezTo>
                  <a:cubicBezTo>
                    <a:pt x="239" y="277"/>
                    <a:pt x="239" y="277"/>
                    <a:pt x="239" y="277"/>
                  </a:cubicBezTo>
                  <a:cubicBezTo>
                    <a:pt x="239" y="277"/>
                    <a:pt x="239" y="277"/>
                    <a:pt x="239" y="277"/>
                  </a:cubicBezTo>
                  <a:cubicBezTo>
                    <a:pt x="238" y="277"/>
                    <a:pt x="238" y="277"/>
                    <a:pt x="238" y="277"/>
                  </a:cubicBezTo>
                  <a:cubicBezTo>
                    <a:pt x="238" y="277"/>
                    <a:pt x="238" y="277"/>
                    <a:pt x="238" y="277"/>
                  </a:cubicBezTo>
                  <a:cubicBezTo>
                    <a:pt x="238" y="278"/>
                    <a:pt x="238" y="278"/>
                    <a:pt x="238" y="278"/>
                  </a:cubicBezTo>
                  <a:cubicBezTo>
                    <a:pt x="238" y="278"/>
                    <a:pt x="238" y="278"/>
                    <a:pt x="238" y="278"/>
                  </a:cubicBezTo>
                  <a:cubicBezTo>
                    <a:pt x="238" y="278"/>
                    <a:pt x="238" y="278"/>
                    <a:pt x="238" y="278"/>
                  </a:cubicBezTo>
                  <a:cubicBezTo>
                    <a:pt x="238" y="278"/>
                    <a:pt x="238" y="278"/>
                    <a:pt x="238" y="278"/>
                  </a:cubicBezTo>
                  <a:cubicBezTo>
                    <a:pt x="237" y="278"/>
                    <a:pt x="237" y="278"/>
                    <a:pt x="237" y="278"/>
                  </a:cubicBezTo>
                  <a:cubicBezTo>
                    <a:pt x="237" y="278"/>
                    <a:pt x="237" y="278"/>
                    <a:pt x="237" y="278"/>
                  </a:cubicBezTo>
                  <a:cubicBezTo>
                    <a:pt x="237" y="279"/>
                    <a:pt x="237" y="279"/>
                    <a:pt x="237" y="279"/>
                  </a:cubicBezTo>
                  <a:cubicBezTo>
                    <a:pt x="237" y="279"/>
                    <a:pt x="237" y="279"/>
                    <a:pt x="237" y="279"/>
                  </a:cubicBezTo>
                  <a:cubicBezTo>
                    <a:pt x="237" y="279"/>
                    <a:pt x="237" y="279"/>
                    <a:pt x="237" y="279"/>
                  </a:cubicBezTo>
                  <a:cubicBezTo>
                    <a:pt x="237" y="279"/>
                    <a:pt x="237" y="279"/>
                    <a:pt x="237" y="279"/>
                  </a:cubicBezTo>
                  <a:cubicBezTo>
                    <a:pt x="237" y="279"/>
                    <a:pt x="237" y="279"/>
                    <a:pt x="237" y="279"/>
                  </a:cubicBezTo>
                  <a:cubicBezTo>
                    <a:pt x="236" y="279"/>
                    <a:pt x="236" y="279"/>
                    <a:pt x="236" y="279"/>
                  </a:cubicBezTo>
                  <a:cubicBezTo>
                    <a:pt x="236" y="280"/>
                    <a:pt x="236" y="280"/>
                    <a:pt x="236" y="280"/>
                  </a:cubicBezTo>
                  <a:cubicBezTo>
                    <a:pt x="236" y="280"/>
                    <a:pt x="236" y="280"/>
                    <a:pt x="236" y="280"/>
                  </a:cubicBezTo>
                  <a:cubicBezTo>
                    <a:pt x="236" y="280"/>
                    <a:pt x="236" y="280"/>
                    <a:pt x="236" y="280"/>
                  </a:cubicBezTo>
                  <a:cubicBezTo>
                    <a:pt x="236" y="280"/>
                    <a:pt x="236" y="280"/>
                    <a:pt x="236" y="280"/>
                  </a:cubicBezTo>
                  <a:cubicBezTo>
                    <a:pt x="236" y="280"/>
                    <a:pt x="236" y="280"/>
                    <a:pt x="236" y="280"/>
                  </a:cubicBezTo>
                  <a:cubicBezTo>
                    <a:pt x="235" y="280"/>
                    <a:pt x="235" y="280"/>
                    <a:pt x="235" y="280"/>
                  </a:cubicBezTo>
                  <a:cubicBezTo>
                    <a:pt x="235" y="281"/>
                    <a:pt x="235" y="281"/>
                    <a:pt x="235" y="281"/>
                  </a:cubicBezTo>
                  <a:cubicBezTo>
                    <a:pt x="235" y="281"/>
                    <a:pt x="235" y="281"/>
                    <a:pt x="235" y="281"/>
                  </a:cubicBezTo>
                  <a:cubicBezTo>
                    <a:pt x="235" y="281"/>
                    <a:pt x="235" y="281"/>
                    <a:pt x="235" y="281"/>
                  </a:cubicBezTo>
                  <a:cubicBezTo>
                    <a:pt x="235" y="281"/>
                    <a:pt x="235" y="281"/>
                    <a:pt x="235" y="281"/>
                  </a:cubicBezTo>
                  <a:cubicBezTo>
                    <a:pt x="235" y="281"/>
                    <a:pt x="235" y="281"/>
                    <a:pt x="235" y="281"/>
                  </a:cubicBezTo>
                  <a:cubicBezTo>
                    <a:pt x="234" y="281"/>
                    <a:pt x="234" y="281"/>
                    <a:pt x="234" y="281"/>
                  </a:cubicBezTo>
                  <a:cubicBezTo>
                    <a:pt x="234" y="282"/>
                    <a:pt x="234" y="282"/>
                    <a:pt x="234" y="282"/>
                  </a:cubicBezTo>
                  <a:cubicBezTo>
                    <a:pt x="234" y="282"/>
                    <a:pt x="234" y="282"/>
                    <a:pt x="234" y="282"/>
                  </a:cubicBezTo>
                  <a:cubicBezTo>
                    <a:pt x="234" y="282"/>
                    <a:pt x="234" y="282"/>
                    <a:pt x="234" y="282"/>
                  </a:cubicBezTo>
                  <a:cubicBezTo>
                    <a:pt x="234" y="282"/>
                    <a:pt x="234" y="282"/>
                    <a:pt x="234" y="282"/>
                  </a:cubicBezTo>
                  <a:cubicBezTo>
                    <a:pt x="234" y="282"/>
                    <a:pt x="234" y="282"/>
                    <a:pt x="234" y="282"/>
                  </a:cubicBezTo>
                  <a:cubicBezTo>
                    <a:pt x="233" y="282"/>
                    <a:pt x="233" y="282"/>
                    <a:pt x="233" y="282"/>
                  </a:cubicBezTo>
                  <a:cubicBezTo>
                    <a:pt x="233" y="282"/>
                    <a:pt x="233" y="282"/>
                    <a:pt x="233" y="282"/>
                  </a:cubicBezTo>
                  <a:cubicBezTo>
                    <a:pt x="233" y="283"/>
                    <a:pt x="233" y="283"/>
                    <a:pt x="233" y="283"/>
                  </a:cubicBezTo>
                  <a:cubicBezTo>
                    <a:pt x="233" y="283"/>
                    <a:pt x="233" y="283"/>
                    <a:pt x="233" y="283"/>
                  </a:cubicBezTo>
                  <a:cubicBezTo>
                    <a:pt x="233" y="261"/>
                    <a:pt x="233" y="261"/>
                    <a:pt x="233" y="261"/>
                  </a:cubicBezTo>
                  <a:cubicBezTo>
                    <a:pt x="242" y="253"/>
                    <a:pt x="242" y="253"/>
                    <a:pt x="242" y="253"/>
                  </a:cubicBezTo>
                  <a:cubicBezTo>
                    <a:pt x="242" y="252"/>
                    <a:pt x="242" y="252"/>
                    <a:pt x="242" y="252"/>
                  </a:cubicBezTo>
                  <a:cubicBezTo>
                    <a:pt x="242" y="252"/>
                    <a:pt x="242" y="252"/>
                    <a:pt x="242" y="252"/>
                  </a:cubicBezTo>
                  <a:cubicBezTo>
                    <a:pt x="242" y="252"/>
                    <a:pt x="242" y="252"/>
                    <a:pt x="242" y="252"/>
                  </a:cubicBezTo>
                  <a:cubicBezTo>
                    <a:pt x="242" y="252"/>
                    <a:pt x="242" y="252"/>
                    <a:pt x="242" y="252"/>
                  </a:cubicBezTo>
                  <a:cubicBezTo>
                    <a:pt x="242" y="252"/>
                    <a:pt x="242" y="252"/>
                    <a:pt x="242" y="252"/>
                  </a:cubicBezTo>
                  <a:cubicBezTo>
                    <a:pt x="242" y="252"/>
                    <a:pt x="242" y="252"/>
                    <a:pt x="242" y="252"/>
                  </a:cubicBezTo>
                  <a:cubicBezTo>
                    <a:pt x="243" y="252"/>
                    <a:pt x="243" y="252"/>
                    <a:pt x="243" y="252"/>
                  </a:cubicBezTo>
                  <a:cubicBezTo>
                    <a:pt x="243" y="252"/>
                    <a:pt x="243" y="252"/>
                    <a:pt x="243" y="252"/>
                  </a:cubicBezTo>
                  <a:cubicBezTo>
                    <a:pt x="243" y="251"/>
                    <a:pt x="243" y="251"/>
                    <a:pt x="243" y="251"/>
                  </a:cubicBezTo>
                  <a:cubicBezTo>
                    <a:pt x="243" y="251"/>
                    <a:pt x="243" y="251"/>
                    <a:pt x="243" y="251"/>
                  </a:cubicBezTo>
                  <a:cubicBezTo>
                    <a:pt x="243" y="251"/>
                    <a:pt x="243" y="251"/>
                    <a:pt x="243" y="251"/>
                  </a:cubicBezTo>
                  <a:cubicBezTo>
                    <a:pt x="243" y="251"/>
                    <a:pt x="243" y="251"/>
                    <a:pt x="243" y="251"/>
                  </a:cubicBezTo>
                  <a:cubicBezTo>
                    <a:pt x="243" y="251"/>
                    <a:pt x="243" y="251"/>
                    <a:pt x="243" y="251"/>
                  </a:cubicBezTo>
                  <a:cubicBezTo>
                    <a:pt x="244" y="251"/>
                    <a:pt x="244" y="251"/>
                    <a:pt x="244" y="251"/>
                  </a:cubicBezTo>
                  <a:cubicBezTo>
                    <a:pt x="244" y="251"/>
                    <a:pt x="244" y="251"/>
                    <a:pt x="244" y="251"/>
                  </a:cubicBezTo>
                  <a:cubicBezTo>
                    <a:pt x="244" y="250"/>
                    <a:pt x="244" y="250"/>
                    <a:pt x="244" y="250"/>
                  </a:cubicBezTo>
                  <a:cubicBezTo>
                    <a:pt x="244" y="250"/>
                    <a:pt x="244" y="250"/>
                    <a:pt x="244" y="250"/>
                  </a:cubicBezTo>
                  <a:cubicBezTo>
                    <a:pt x="244" y="250"/>
                    <a:pt x="244" y="250"/>
                    <a:pt x="244" y="250"/>
                  </a:cubicBezTo>
                  <a:cubicBezTo>
                    <a:pt x="244" y="250"/>
                    <a:pt x="244" y="250"/>
                    <a:pt x="244" y="250"/>
                  </a:cubicBezTo>
                  <a:close/>
                  <a:moveTo>
                    <a:pt x="233" y="362"/>
                  </a:moveTo>
                  <a:cubicBezTo>
                    <a:pt x="209" y="338"/>
                    <a:pt x="209" y="338"/>
                    <a:pt x="209" y="338"/>
                  </a:cubicBezTo>
                  <a:cubicBezTo>
                    <a:pt x="209" y="310"/>
                    <a:pt x="209" y="310"/>
                    <a:pt x="209" y="310"/>
                  </a:cubicBezTo>
                  <a:cubicBezTo>
                    <a:pt x="232" y="333"/>
                    <a:pt x="232" y="333"/>
                    <a:pt x="232" y="333"/>
                  </a:cubicBezTo>
                  <a:cubicBezTo>
                    <a:pt x="233" y="332"/>
                    <a:pt x="233" y="332"/>
                    <a:pt x="233" y="332"/>
                  </a:cubicBezTo>
                  <a:cubicBezTo>
                    <a:pt x="233" y="362"/>
                    <a:pt x="233" y="362"/>
                    <a:pt x="233" y="362"/>
                  </a:cubicBezTo>
                  <a:close/>
                  <a:moveTo>
                    <a:pt x="209" y="80"/>
                  </a:moveTo>
                  <a:cubicBezTo>
                    <a:pt x="233" y="105"/>
                    <a:pt x="233" y="105"/>
                    <a:pt x="233" y="105"/>
                  </a:cubicBezTo>
                  <a:cubicBezTo>
                    <a:pt x="233" y="141"/>
                    <a:pt x="233" y="141"/>
                    <a:pt x="233" y="141"/>
                  </a:cubicBezTo>
                  <a:cubicBezTo>
                    <a:pt x="227" y="147"/>
                    <a:pt x="227" y="147"/>
                    <a:pt x="227" y="147"/>
                  </a:cubicBezTo>
                  <a:cubicBezTo>
                    <a:pt x="233" y="153"/>
                    <a:pt x="233" y="153"/>
                    <a:pt x="233" y="153"/>
                  </a:cubicBezTo>
                  <a:cubicBezTo>
                    <a:pt x="233" y="178"/>
                    <a:pt x="233" y="178"/>
                    <a:pt x="233" y="178"/>
                  </a:cubicBezTo>
                  <a:cubicBezTo>
                    <a:pt x="214" y="159"/>
                    <a:pt x="214" y="159"/>
                    <a:pt x="214" y="159"/>
                  </a:cubicBezTo>
                  <a:cubicBezTo>
                    <a:pt x="214" y="160"/>
                    <a:pt x="214" y="160"/>
                    <a:pt x="214" y="160"/>
                  </a:cubicBezTo>
                  <a:cubicBezTo>
                    <a:pt x="214" y="160"/>
                    <a:pt x="214" y="160"/>
                    <a:pt x="214" y="160"/>
                  </a:cubicBezTo>
                  <a:cubicBezTo>
                    <a:pt x="214" y="160"/>
                    <a:pt x="214" y="160"/>
                    <a:pt x="214" y="160"/>
                  </a:cubicBezTo>
                  <a:cubicBezTo>
                    <a:pt x="214" y="160"/>
                    <a:pt x="214" y="160"/>
                    <a:pt x="214" y="160"/>
                  </a:cubicBezTo>
                  <a:cubicBezTo>
                    <a:pt x="214" y="160"/>
                    <a:pt x="214" y="160"/>
                    <a:pt x="214" y="160"/>
                  </a:cubicBezTo>
                  <a:cubicBezTo>
                    <a:pt x="214" y="160"/>
                    <a:pt x="214" y="160"/>
                    <a:pt x="214" y="160"/>
                  </a:cubicBezTo>
                  <a:cubicBezTo>
                    <a:pt x="213" y="160"/>
                    <a:pt x="213" y="160"/>
                    <a:pt x="213" y="160"/>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3" y="161"/>
                    <a:pt x="213" y="161"/>
                    <a:pt x="213" y="161"/>
                  </a:cubicBezTo>
                  <a:cubicBezTo>
                    <a:pt x="212" y="161"/>
                    <a:pt x="212" y="161"/>
                    <a:pt x="212" y="161"/>
                  </a:cubicBezTo>
                  <a:cubicBezTo>
                    <a:pt x="212" y="162"/>
                    <a:pt x="212" y="162"/>
                    <a:pt x="212" y="162"/>
                  </a:cubicBezTo>
                  <a:cubicBezTo>
                    <a:pt x="212" y="162"/>
                    <a:pt x="212" y="162"/>
                    <a:pt x="212" y="162"/>
                  </a:cubicBezTo>
                  <a:cubicBezTo>
                    <a:pt x="212" y="162"/>
                    <a:pt x="212" y="162"/>
                    <a:pt x="212" y="162"/>
                  </a:cubicBezTo>
                  <a:cubicBezTo>
                    <a:pt x="212" y="162"/>
                    <a:pt x="212" y="162"/>
                    <a:pt x="212" y="162"/>
                  </a:cubicBezTo>
                  <a:cubicBezTo>
                    <a:pt x="212" y="162"/>
                    <a:pt x="212" y="162"/>
                    <a:pt x="212" y="162"/>
                  </a:cubicBezTo>
                  <a:cubicBezTo>
                    <a:pt x="212" y="162"/>
                    <a:pt x="212" y="162"/>
                    <a:pt x="212" y="162"/>
                  </a:cubicBezTo>
                  <a:cubicBezTo>
                    <a:pt x="211" y="162"/>
                    <a:pt x="211" y="162"/>
                    <a:pt x="211" y="162"/>
                  </a:cubicBezTo>
                  <a:cubicBezTo>
                    <a:pt x="211" y="163"/>
                    <a:pt x="211" y="163"/>
                    <a:pt x="211" y="163"/>
                  </a:cubicBezTo>
                  <a:cubicBezTo>
                    <a:pt x="211" y="163"/>
                    <a:pt x="211" y="163"/>
                    <a:pt x="211" y="163"/>
                  </a:cubicBezTo>
                  <a:cubicBezTo>
                    <a:pt x="211" y="163"/>
                    <a:pt x="211" y="163"/>
                    <a:pt x="211" y="163"/>
                  </a:cubicBezTo>
                  <a:cubicBezTo>
                    <a:pt x="211" y="163"/>
                    <a:pt x="211" y="163"/>
                    <a:pt x="211" y="163"/>
                  </a:cubicBezTo>
                  <a:cubicBezTo>
                    <a:pt x="211" y="163"/>
                    <a:pt x="211" y="163"/>
                    <a:pt x="211" y="163"/>
                  </a:cubicBezTo>
                  <a:cubicBezTo>
                    <a:pt x="211" y="163"/>
                    <a:pt x="211" y="163"/>
                    <a:pt x="211" y="163"/>
                  </a:cubicBezTo>
                  <a:cubicBezTo>
                    <a:pt x="210" y="163"/>
                    <a:pt x="210" y="163"/>
                    <a:pt x="210" y="163"/>
                  </a:cubicBezTo>
                  <a:cubicBezTo>
                    <a:pt x="210" y="164"/>
                    <a:pt x="210" y="164"/>
                    <a:pt x="210" y="164"/>
                  </a:cubicBezTo>
                  <a:cubicBezTo>
                    <a:pt x="210" y="164"/>
                    <a:pt x="210" y="164"/>
                    <a:pt x="210" y="164"/>
                  </a:cubicBezTo>
                  <a:cubicBezTo>
                    <a:pt x="210" y="164"/>
                    <a:pt x="210" y="164"/>
                    <a:pt x="210" y="164"/>
                  </a:cubicBezTo>
                  <a:cubicBezTo>
                    <a:pt x="210" y="164"/>
                    <a:pt x="210" y="164"/>
                    <a:pt x="210" y="164"/>
                  </a:cubicBezTo>
                  <a:cubicBezTo>
                    <a:pt x="210" y="164"/>
                    <a:pt x="210" y="164"/>
                    <a:pt x="210" y="164"/>
                  </a:cubicBezTo>
                  <a:cubicBezTo>
                    <a:pt x="210" y="164"/>
                    <a:pt x="210" y="164"/>
                    <a:pt x="210" y="164"/>
                  </a:cubicBezTo>
                  <a:cubicBezTo>
                    <a:pt x="209" y="164"/>
                    <a:pt x="209" y="164"/>
                    <a:pt x="209" y="164"/>
                  </a:cubicBezTo>
                  <a:cubicBezTo>
                    <a:pt x="209" y="164"/>
                    <a:pt x="209" y="164"/>
                    <a:pt x="209" y="164"/>
                  </a:cubicBezTo>
                  <a:cubicBezTo>
                    <a:pt x="209" y="165"/>
                    <a:pt x="209" y="165"/>
                    <a:pt x="209" y="165"/>
                  </a:cubicBezTo>
                  <a:cubicBezTo>
                    <a:pt x="209" y="165"/>
                    <a:pt x="209" y="165"/>
                    <a:pt x="209" y="165"/>
                  </a:cubicBezTo>
                  <a:cubicBezTo>
                    <a:pt x="209" y="165"/>
                    <a:pt x="209" y="165"/>
                    <a:pt x="209" y="165"/>
                  </a:cubicBezTo>
                  <a:cubicBezTo>
                    <a:pt x="209" y="165"/>
                    <a:pt x="209" y="165"/>
                    <a:pt x="209" y="165"/>
                  </a:cubicBezTo>
                  <a:cubicBezTo>
                    <a:pt x="209" y="165"/>
                    <a:pt x="209" y="165"/>
                    <a:pt x="209" y="165"/>
                  </a:cubicBezTo>
                  <a:cubicBezTo>
                    <a:pt x="209" y="129"/>
                    <a:pt x="209" y="129"/>
                    <a:pt x="209" y="129"/>
                  </a:cubicBezTo>
                  <a:cubicBezTo>
                    <a:pt x="216" y="136"/>
                    <a:pt x="216" y="136"/>
                    <a:pt x="216" y="136"/>
                  </a:cubicBezTo>
                  <a:cubicBezTo>
                    <a:pt x="219" y="133"/>
                    <a:pt x="223" y="130"/>
                    <a:pt x="226" y="126"/>
                  </a:cubicBezTo>
                  <a:cubicBezTo>
                    <a:pt x="209" y="109"/>
                    <a:pt x="209" y="109"/>
                    <a:pt x="209" y="109"/>
                  </a:cubicBezTo>
                  <a:cubicBezTo>
                    <a:pt x="209" y="80"/>
                    <a:pt x="209" y="80"/>
                    <a:pt x="209" y="80"/>
                  </a:cubicBezTo>
                  <a:close/>
                  <a:moveTo>
                    <a:pt x="233" y="190"/>
                  </a:moveTo>
                  <a:cubicBezTo>
                    <a:pt x="233" y="223"/>
                    <a:pt x="233" y="223"/>
                    <a:pt x="233" y="223"/>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7" y="218"/>
                    <a:pt x="227" y="218"/>
                    <a:pt x="227" y="218"/>
                  </a:cubicBezTo>
                  <a:cubicBezTo>
                    <a:pt x="226" y="218"/>
                    <a:pt x="226" y="218"/>
                    <a:pt x="226" y="218"/>
                  </a:cubicBezTo>
                  <a:cubicBezTo>
                    <a:pt x="226" y="218"/>
                    <a:pt x="226" y="218"/>
                    <a:pt x="226" y="218"/>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6" y="219"/>
                    <a:pt x="226" y="219"/>
                    <a:pt x="226" y="219"/>
                  </a:cubicBezTo>
                  <a:cubicBezTo>
                    <a:pt x="225" y="219"/>
                    <a:pt x="225" y="219"/>
                    <a:pt x="225" y="219"/>
                  </a:cubicBezTo>
                  <a:cubicBezTo>
                    <a:pt x="225" y="219"/>
                    <a:pt x="225" y="219"/>
                    <a:pt x="225" y="219"/>
                  </a:cubicBezTo>
                  <a:cubicBezTo>
                    <a:pt x="225" y="220"/>
                    <a:pt x="225" y="220"/>
                    <a:pt x="225" y="220"/>
                  </a:cubicBezTo>
                  <a:cubicBezTo>
                    <a:pt x="225" y="220"/>
                    <a:pt x="225" y="220"/>
                    <a:pt x="225" y="220"/>
                  </a:cubicBezTo>
                  <a:cubicBezTo>
                    <a:pt x="225" y="220"/>
                    <a:pt x="225" y="220"/>
                    <a:pt x="225" y="220"/>
                  </a:cubicBezTo>
                  <a:cubicBezTo>
                    <a:pt x="225" y="220"/>
                    <a:pt x="225" y="220"/>
                    <a:pt x="225" y="220"/>
                  </a:cubicBezTo>
                  <a:cubicBezTo>
                    <a:pt x="225" y="220"/>
                    <a:pt x="225" y="220"/>
                    <a:pt x="225" y="220"/>
                  </a:cubicBezTo>
                  <a:cubicBezTo>
                    <a:pt x="225" y="220"/>
                    <a:pt x="225" y="220"/>
                    <a:pt x="225" y="220"/>
                  </a:cubicBezTo>
                  <a:cubicBezTo>
                    <a:pt x="224" y="220"/>
                    <a:pt x="224" y="220"/>
                    <a:pt x="224" y="220"/>
                  </a:cubicBezTo>
                  <a:cubicBezTo>
                    <a:pt x="224" y="221"/>
                    <a:pt x="224" y="221"/>
                    <a:pt x="224" y="221"/>
                  </a:cubicBezTo>
                  <a:cubicBezTo>
                    <a:pt x="224" y="221"/>
                    <a:pt x="224" y="221"/>
                    <a:pt x="224" y="221"/>
                  </a:cubicBezTo>
                  <a:cubicBezTo>
                    <a:pt x="224" y="221"/>
                    <a:pt x="224" y="221"/>
                    <a:pt x="224" y="221"/>
                  </a:cubicBezTo>
                  <a:cubicBezTo>
                    <a:pt x="224" y="221"/>
                    <a:pt x="224" y="221"/>
                    <a:pt x="224" y="221"/>
                  </a:cubicBezTo>
                  <a:cubicBezTo>
                    <a:pt x="224" y="221"/>
                    <a:pt x="224" y="221"/>
                    <a:pt x="224" y="221"/>
                  </a:cubicBezTo>
                  <a:cubicBezTo>
                    <a:pt x="224" y="221"/>
                    <a:pt x="224" y="221"/>
                    <a:pt x="224" y="221"/>
                  </a:cubicBezTo>
                  <a:cubicBezTo>
                    <a:pt x="223" y="221"/>
                    <a:pt x="223" y="221"/>
                    <a:pt x="223" y="221"/>
                  </a:cubicBezTo>
                  <a:cubicBezTo>
                    <a:pt x="223" y="221"/>
                    <a:pt x="223" y="221"/>
                    <a:pt x="223" y="221"/>
                  </a:cubicBezTo>
                  <a:cubicBezTo>
                    <a:pt x="223" y="222"/>
                    <a:pt x="223" y="222"/>
                    <a:pt x="223" y="222"/>
                  </a:cubicBezTo>
                  <a:cubicBezTo>
                    <a:pt x="223" y="222"/>
                    <a:pt x="223" y="222"/>
                    <a:pt x="223" y="222"/>
                  </a:cubicBezTo>
                  <a:cubicBezTo>
                    <a:pt x="223" y="222"/>
                    <a:pt x="223" y="222"/>
                    <a:pt x="223" y="222"/>
                  </a:cubicBezTo>
                  <a:cubicBezTo>
                    <a:pt x="223" y="222"/>
                    <a:pt x="223" y="222"/>
                    <a:pt x="223" y="222"/>
                  </a:cubicBezTo>
                  <a:cubicBezTo>
                    <a:pt x="223" y="222"/>
                    <a:pt x="223" y="222"/>
                    <a:pt x="223" y="222"/>
                  </a:cubicBezTo>
                  <a:cubicBezTo>
                    <a:pt x="223" y="222"/>
                    <a:pt x="223" y="222"/>
                    <a:pt x="223" y="222"/>
                  </a:cubicBezTo>
                  <a:cubicBezTo>
                    <a:pt x="222" y="222"/>
                    <a:pt x="222" y="222"/>
                    <a:pt x="222" y="222"/>
                  </a:cubicBezTo>
                  <a:cubicBezTo>
                    <a:pt x="222" y="223"/>
                    <a:pt x="222" y="223"/>
                    <a:pt x="222" y="223"/>
                  </a:cubicBezTo>
                  <a:cubicBezTo>
                    <a:pt x="222" y="223"/>
                    <a:pt x="222" y="223"/>
                    <a:pt x="222" y="223"/>
                  </a:cubicBezTo>
                  <a:cubicBezTo>
                    <a:pt x="222" y="223"/>
                    <a:pt x="222" y="223"/>
                    <a:pt x="222" y="223"/>
                  </a:cubicBezTo>
                  <a:cubicBezTo>
                    <a:pt x="222" y="223"/>
                    <a:pt x="222" y="223"/>
                    <a:pt x="222" y="223"/>
                  </a:cubicBezTo>
                  <a:cubicBezTo>
                    <a:pt x="222" y="223"/>
                    <a:pt x="222" y="223"/>
                    <a:pt x="222" y="223"/>
                  </a:cubicBezTo>
                  <a:cubicBezTo>
                    <a:pt x="222" y="223"/>
                    <a:pt x="222" y="223"/>
                    <a:pt x="222" y="223"/>
                  </a:cubicBezTo>
                  <a:cubicBezTo>
                    <a:pt x="221" y="223"/>
                    <a:pt x="221" y="223"/>
                    <a:pt x="221" y="223"/>
                  </a:cubicBezTo>
                  <a:cubicBezTo>
                    <a:pt x="221" y="224"/>
                    <a:pt x="221" y="224"/>
                    <a:pt x="221" y="224"/>
                  </a:cubicBezTo>
                  <a:cubicBezTo>
                    <a:pt x="221" y="224"/>
                    <a:pt x="221" y="224"/>
                    <a:pt x="221" y="224"/>
                  </a:cubicBezTo>
                  <a:cubicBezTo>
                    <a:pt x="221" y="224"/>
                    <a:pt x="221" y="224"/>
                    <a:pt x="221" y="224"/>
                  </a:cubicBezTo>
                  <a:cubicBezTo>
                    <a:pt x="221" y="224"/>
                    <a:pt x="221" y="224"/>
                    <a:pt x="221" y="224"/>
                  </a:cubicBezTo>
                  <a:cubicBezTo>
                    <a:pt x="221" y="224"/>
                    <a:pt x="221" y="224"/>
                    <a:pt x="221" y="224"/>
                  </a:cubicBezTo>
                  <a:cubicBezTo>
                    <a:pt x="221" y="224"/>
                    <a:pt x="221" y="224"/>
                    <a:pt x="221" y="224"/>
                  </a:cubicBezTo>
                  <a:cubicBezTo>
                    <a:pt x="220" y="224"/>
                    <a:pt x="220" y="224"/>
                    <a:pt x="220" y="224"/>
                  </a:cubicBezTo>
                  <a:cubicBezTo>
                    <a:pt x="220" y="224"/>
                    <a:pt x="220" y="224"/>
                    <a:pt x="220" y="224"/>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19" y="225"/>
                    <a:pt x="219" y="225"/>
                    <a:pt x="219" y="225"/>
                  </a:cubicBezTo>
                  <a:cubicBezTo>
                    <a:pt x="219" y="225"/>
                    <a:pt x="219" y="225"/>
                    <a:pt x="219" y="225"/>
                  </a:cubicBezTo>
                  <a:cubicBezTo>
                    <a:pt x="219" y="226"/>
                    <a:pt x="219" y="226"/>
                    <a:pt x="219" y="226"/>
                  </a:cubicBezTo>
                  <a:cubicBezTo>
                    <a:pt x="219" y="226"/>
                    <a:pt x="219" y="226"/>
                    <a:pt x="219" y="226"/>
                  </a:cubicBezTo>
                  <a:cubicBezTo>
                    <a:pt x="219" y="226"/>
                    <a:pt x="219" y="226"/>
                    <a:pt x="219" y="226"/>
                  </a:cubicBezTo>
                  <a:cubicBezTo>
                    <a:pt x="219" y="226"/>
                    <a:pt x="219" y="226"/>
                    <a:pt x="219" y="226"/>
                  </a:cubicBezTo>
                  <a:cubicBezTo>
                    <a:pt x="219" y="226"/>
                    <a:pt x="219" y="226"/>
                    <a:pt x="219" y="226"/>
                  </a:cubicBezTo>
                  <a:cubicBezTo>
                    <a:pt x="219" y="226"/>
                    <a:pt x="219" y="226"/>
                    <a:pt x="219" y="226"/>
                  </a:cubicBezTo>
                  <a:cubicBezTo>
                    <a:pt x="218" y="226"/>
                    <a:pt x="218" y="226"/>
                    <a:pt x="218" y="226"/>
                  </a:cubicBezTo>
                  <a:cubicBezTo>
                    <a:pt x="218" y="227"/>
                    <a:pt x="218" y="227"/>
                    <a:pt x="218" y="227"/>
                  </a:cubicBezTo>
                  <a:cubicBezTo>
                    <a:pt x="218" y="227"/>
                    <a:pt x="218" y="227"/>
                    <a:pt x="218" y="227"/>
                  </a:cubicBezTo>
                  <a:cubicBezTo>
                    <a:pt x="218" y="227"/>
                    <a:pt x="218" y="227"/>
                    <a:pt x="218" y="227"/>
                  </a:cubicBezTo>
                  <a:cubicBezTo>
                    <a:pt x="218" y="227"/>
                    <a:pt x="218" y="227"/>
                    <a:pt x="218" y="227"/>
                  </a:cubicBezTo>
                  <a:cubicBezTo>
                    <a:pt x="218" y="227"/>
                    <a:pt x="218" y="227"/>
                    <a:pt x="218" y="227"/>
                  </a:cubicBezTo>
                  <a:cubicBezTo>
                    <a:pt x="218" y="227"/>
                    <a:pt x="218" y="227"/>
                    <a:pt x="218" y="227"/>
                  </a:cubicBezTo>
                  <a:cubicBezTo>
                    <a:pt x="217" y="227"/>
                    <a:pt x="217" y="227"/>
                    <a:pt x="217" y="227"/>
                  </a:cubicBezTo>
                  <a:cubicBezTo>
                    <a:pt x="217" y="227"/>
                    <a:pt x="217" y="227"/>
                    <a:pt x="217" y="227"/>
                  </a:cubicBezTo>
                  <a:cubicBezTo>
                    <a:pt x="217" y="228"/>
                    <a:pt x="217" y="228"/>
                    <a:pt x="217" y="228"/>
                  </a:cubicBezTo>
                  <a:cubicBezTo>
                    <a:pt x="217" y="228"/>
                    <a:pt x="217" y="228"/>
                    <a:pt x="217" y="228"/>
                  </a:cubicBezTo>
                  <a:cubicBezTo>
                    <a:pt x="209" y="236"/>
                    <a:pt x="209" y="236"/>
                    <a:pt x="209" y="236"/>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10" y="214"/>
                    <a:pt x="210" y="214"/>
                    <a:pt x="210" y="214"/>
                  </a:cubicBezTo>
                  <a:cubicBezTo>
                    <a:pt x="210" y="214"/>
                    <a:pt x="210" y="214"/>
                    <a:pt x="210" y="214"/>
                  </a:cubicBezTo>
                  <a:cubicBezTo>
                    <a:pt x="210" y="213"/>
                    <a:pt x="210" y="213"/>
                    <a:pt x="210" y="213"/>
                  </a:cubicBezTo>
                  <a:cubicBezTo>
                    <a:pt x="210" y="213"/>
                    <a:pt x="210" y="213"/>
                    <a:pt x="210" y="213"/>
                  </a:cubicBezTo>
                  <a:cubicBezTo>
                    <a:pt x="210" y="213"/>
                    <a:pt x="210" y="213"/>
                    <a:pt x="210" y="213"/>
                  </a:cubicBezTo>
                  <a:cubicBezTo>
                    <a:pt x="210" y="213"/>
                    <a:pt x="210" y="213"/>
                    <a:pt x="210" y="213"/>
                  </a:cubicBezTo>
                  <a:cubicBezTo>
                    <a:pt x="210" y="213"/>
                    <a:pt x="210" y="213"/>
                    <a:pt x="210" y="213"/>
                  </a:cubicBezTo>
                  <a:cubicBezTo>
                    <a:pt x="211" y="213"/>
                    <a:pt x="211" y="213"/>
                    <a:pt x="211" y="213"/>
                  </a:cubicBezTo>
                  <a:cubicBezTo>
                    <a:pt x="211" y="213"/>
                    <a:pt x="211" y="213"/>
                    <a:pt x="211" y="213"/>
                  </a:cubicBezTo>
                  <a:cubicBezTo>
                    <a:pt x="211" y="213"/>
                    <a:pt x="211" y="213"/>
                    <a:pt x="211" y="213"/>
                  </a:cubicBezTo>
                  <a:cubicBezTo>
                    <a:pt x="211" y="212"/>
                    <a:pt x="211" y="212"/>
                    <a:pt x="211" y="212"/>
                  </a:cubicBezTo>
                  <a:cubicBezTo>
                    <a:pt x="211" y="212"/>
                    <a:pt x="211" y="212"/>
                    <a:pt x="211" y="212"/>
                  </a:cubicBezTo>
                  <a:cubicBezTo>
                    <a:pt x="211" y="212"/>
                    <a:pt x="211" y="212"/>
                    <a:pt x="211" y="212"/>
                  </a:cubicBezTo>
                  <a:cubicBezTo>
                    <a:pt x="211" y="212"/>
                    <a:pt x="211" y="212"/>
                    <a:pt x="211" y="212"/>
                  </a:cubicBezTo>
                  <a:cubicBezTo>
                    <a:pt x="211" y="212"/>
                    <a:pt x="211" y="212"/>
                    <a:pt x="211" y="212"/>
                  </a:cubicBezTo>
                  <a:cubicBezTo>
                    <a:pt x="211" y="212"/>
                    <a:pt x="211" y="212"/>
                    <a:pt x="211" y="212"/>
                  </a:cubicBezTo>
                  <a:cubicBezTo>
                    <a:pt x="212" y="212"/>
                    <a:pt x="212" y="212"/>
                    <a:pt x="212" y="212"/>
                  </a:cubicBezTo>
                  <a:cubicBezTo>
                    <a:pt x="212" y="211"/>
                    <a:pt x="212" y="211"/>
                    <a:pt x="212" y="211"/>
                  </a:cubicBezTo>
                  <a:cubicBezTo>
                    <a:pt x="212" y="211"/>
                    <a:pt x="212" y="211"/>
                    <a:pt x="212" y="211"/>
                  </a:cubicBezTo>
                  <a:cubicBezTo>
                    <a:pt x="212" y="211"/>
                    <a:pt x="212" y="211"/>
                    <a:pt x="212" y="211"/>
                  </a:cubicBezTo>
                  <a:cubicBezTo>
                    <a:pt x="212" y="211"/>
                    <a:pt x="212" y="211"/>
                    <a:pt x="212" y="211"/>
                  </a:cubicBezTo>
                  <a:cubicBezTo>
                    <a:pt x="212" y="211"/>
                    <a:pt x="212" y="211"/>
                    <a:pt x="212" y="211"/>
                  </a:cubicBezTo>
                  <a:cubicBezTo>
                    <a:pt x="212" y="211"/>
                    <a:pt x="212" y="211"/>
                    <a:pt x="212" y="211"/>
                  </a:cubicBezTo>
                  <a:cubicBezTo>
                    <a:pt x="213" y="211"/>
                    <a:pt x="213" y="211"/>
                    <a:pt x="213" y="211"/>
                  </a:cubicBezTo>
                  <a:cubicBezTo>
                    <a:pt x="213" y="210"/>
                    <a:pt x="213" y="210"/>
                    <a:pt x="213" y="210"/>
                  </a:cubicBezTo>
                  <a:cubicBezTo>
                    <a:pt x="213" y="210"/>
                    <a:pt x="213" y="210"/>
                    <a:pt x="213" y="210"/>
                  </a:cubicBezTo>
                  <a:cubicBezTo>
                    <a:pt x="213" y="210"/>
                    <a:pt x="213" y="210"/>
                    <a:pt x="213" y="210"/>
                  </a:cubicBezTo>
                  <a:cubicBezTo>
                    <a:pt x="213" y="210"/>
                    <a:pt x="213" y="210"/>
                    <a:pt x="213" y="210"/>
                  </a:cubicBezTo>
                  <a:cubicBezTo>
                    <a:pt x="213" y="210"/>
                    <a:pt x="213" y="210"/>
                    <a:pt x="213" y="210"/>
                  </a:cubicBezTo>
                  <a:cubicBezTo>
                    <a:pt x="213" y="210"/>
                    <a:pt x="213" y="210"/>
                    <a:pt x="213" y="210"/>
                  </a:cubicBezTo>
                  <a:cubicBezTo>
                    <a:pt x="214" y="210"/>
                    <a:pt x="214" y="210"/>
                    <a:pt x="214" y="210"/>
                  </a:cubicBezTo>
                  <a:cubicBezTo>
                    <a:pt x="214" y="210"/>
                    <a:pt x="214" y="210"/>
                    <a:pt x="214" y="210"/>
                  </a:cubicBezTo>
                  <a:cubicBezTo>
                    <a:pt x="214" y="209"/>
                    <a:pt x="214" y="209"/>
                    <a:pt x="214" y="209"/>
                  </a:cubicBezTo>
                  <a:cubicBezTo>
                    <a:pt x="214" y="209"/>
                    <a:pt x="214" y="209"/>
                    <a:pt x="214" y="209"/>
                  </a:cubicBezTo>
                  <a:cubicBezTo>
                    <a:pt x="214" y="209"/>
                    <a:pt x="214" y="209"/>
                    <a:pt x="214" y="209"/>
                  </a:cubicBezTo>
                  <a:cubicBezTo>
                    <a:pt x="214" y="209"/>
                    <a:pt x="214" y="209"/>
                    <a:pt x="214" y="209"/>
                  </a:cubicBezTo>
                  <a:cubicBezTo>
                    <a:pt x="214" y="209"/>
                    <a:pt x="214" y="209"/>
                    <a:pt x="214" y="209"/>
                  </a:cubicBezTo>
                  <a:cubicBezTo>
                    <a:pt x="215" y="209"/>
                    <a:pt x="215" y="209"/>
                    <a:pt x="215" y="209"/>
                  </a:cubicBezTo>
                  <a:cubicBezTo>
                    <a:pt x="215" y="209"/>
                    <a:pt x="215" y="209"/>
                    <a:pt x="215" y="209"/>
                  </a:cubicBezTo>
                  <a:cubicBezTo>
                    <a:pt x="215" y="208"/>
                    <a:pt x="215" y="208"/>
                    <a:pt x="215" y="208"/>
                  </a:cubicBezTo>
                  <a:cubicBezTo>
                    <a:pt x="215" y="208"/>
                    <a:pt x="215" y="208"/>
                    <a:pt x="215" y="208"/>
                  </a:cubicBezTo>
                  <a:cubicBezTo>
                    <a:pt x="215" y="208"/>
                    <a:pt x="215" y="208"/>
                    <a:pt x="215" y="208"/>
                  </a:cubicBezTo>
                  <a:cubicBezTo>
                    <a:pt x="215" y="208"/>
                    <a:pt x="215" y="208"/>
                    <a:pt x="215" y="208"/>
                  </a:cubicBezTo>
                  <a:cubicBezTo>
                    <a:pt x="215" y="208"/>
                    <a:pt x="215" y="208"/>
                    <a:pt x="215" y="208"/>
                  </a:cubicBezTo>
                  <a:cubicBezTo>
                    <a:pt x="216" y="208"/>
                    <a:pt x="216" y="208"/>
                    <a:pt x="216" y="208"/>
                  </a:cubicBezTo>
                  <a:cubicBezTo>
                    <a:pt x="216" y="208"/>
                    <a:pt x="216" y="208"/>
                    <a:pt x="216" y="208"/>
                  </a:cubicBezTo>
                  <a:cubicBezTo>
                    <a:pt x="216" y="208"/>
                    <a:pt x="216" y="208"/>
                    <a:pt x="216" y="208"/>
                  </a:cubicBezTo>
                  <a:cubicBezTo>
                    <a:pt x="216" y="207"/>
                    <a:pt x="216" y="207"/>
                    <a:pt x="216" y="207"/>
                  </a:cubicBezTo>
                  <a:cubicBezTo>
                    <a:pt x="216" y="207"/>
                    <a:pt x="216" y="207"/>
                    <a:pt x="216" y="207"/>
                  </a:cubicBezTo>
                  <a:cubicBezTo>
                    <a:pt x="216" y="207"/>
                    <a:pt x="216" y="207"/>
                    <a:pt x="216" y="207"/>
                  </a:cubicBezTo>
                  <a:cubicBezTo>
                    <a:pt x="216" y="207"/>
                    <a:pt x="216" y="207"/>
                    <a:pt x="216" y="207"/>
                  </a:cubicBezTo>
                  <a:cubicBezTo>
                    <a:pt x="216" y="207"/>
                    <a:pt x="216" y="207"/>
                    <a:pt x="216" y="207"/>
                  </a:cubicBezTo>
                  <a:cubicBezTo>
                    <a:pt x="229" y="194"/>
                    <a:pt x="229" y="194"/>
                    <a:pt x="229" y="194"/>
                  </a:cubicBezTo>
                  <a:cubicBezTo>
                    <a:pt x="229" y="194"/>
                    <a:pt x="229" y="194"/>
                    <a:pt x="229" y="194"/>
                  </a:cubicBezTo>
                  <a:cubicBezTo>
                    <a:pt x="229" y="194"/>
                    <a:pt x="229" y="194"/>
                    <a:pt x="229" y="194"/>
                  </a:cubicBezTo>
                  <a:cubicBezTo>
                    <a:pt x="229" y="194"/>
                    <a:pt x="229" y="194"/>
                    <a:pt x="229" y="194"/>
                  </a:cubicBezTo>
                  <a:cubicBezTo>
                    <a:pt x="230" y="194"/>
                    <a:pt x="230" y="194"/>
                    <a:pt x="230" y="194"/>
                  </a:cubicBezTo>
                  <a:cubicBezTo>
                    <a:pt x="230" y="194"/>
                    <a:pt x="230" y="194"/>
                    <a:pt x="230" y="194"/>
                  </a:cubicBezTo>
                  <a:cubicBezTo>
                    <a:pt x="230" y="194"/>
                    <a:pt x="230" y="194"/>
                    <a:pt x="230" y="194"/>
                  </a:cubicBezTo>
                  <a:cubicBezTo>
                    <a:pt x="230" y="194"/>
                    <a:pt x="230" y="194"/>
                    <a:pt x="230" y="194"/>
                  </a:cubicBezTo>
                  <a:cubicBezTo>
                    <a:pt x="230" y="193"/>
                    <a:pt x="230" y="193"/>
                    <a:pt x="230" y="193"/>
                  </a:cubicBezTo>
                  <a:cubicBezTo>
                    <a:pt x="230" y="193"/>
                    <a:pt x="230" y="193"/>
                    <a:pt x="230" y="193"/>
                  </a:cubicBezTo>
                  <a:cubicBezTo>
                    <a:pt x="230" y="193"/>
                    <a:pt x="230" y="193"/>
                    <a:pt x="230" y="193"/>
                  </a:cubicBezTo>
                  <a:cubicBezTo>
                    <a:pt x="230" y="193"/>
                    <a:pt x="230" y="193"/>
                    <a:pt x="230" y="193"/>
                  </a:cubicBezTo>
                  <a:cubicBezTo>
                    <a:pt x="231" y="193"/>
                    <a:pt x="231" y="193"/>
                    <a:pt x="231" y="193"/>
                  </a:cubicBezTo>
                  <a:cubicBezTo>
                    <a:pt x="231" y="193"/>
                    <a:pt x="231" y="193"/>
                    <a:pt x="231" y="193"/>
                  </a:cubicBezTo>
                  <a:cubicBezTo>
                    <a:pt x="231" y="193"/>
                    <a:pt x="231" y="193"/>
                    <a:pt x="231" y="193"/>
                  </a:cubicBezTo>
                  <a:cubicBezTo>
                    <a:pt x="231" y="192"/>
                    <a:pt x="231" y="192"/>
                    <a:pt x="231" y="192"/>
                  </a:cubicBezTo>
                  <a:cubicBezTo>
                    <a:pt x="231" y="192"/>
                    <a:pt x="231" y="192"/>
                    <a:pt x="231" y="192"/>
                  </a:cubicBezTo>
                  <a:cubicBezTo>
                    <a:pt x="231" y="192"/>
                    <a:pt x="231" y="192"/>
                    <a:pt x="231" y="192"/>
                  </a:cubicBezTo>
                  <a:cubicBezTo>
                    <a:pt x="231" y="192"/>
                    <a:pt x="231" y="192"/>
                    <a:pt x="231" y="192"/>
                  </a:cubicBezTo>
                  <a:cubicBezTo>
                    <a:pt x="231" y="192"/>
                    <a:pt x="231" y="192"/>
                    <a:pt x="231" y="192"/>
                  </a:cubicBezTo>
                  <a:cubicBezTo>
                    <a:pt x="232" y="192"/>
                    <a:pt x="232" y="192"/>
                    <a:pt x="232" y="192"/>
                  </a:cubicBezTo>
                  <a:cubicBezTo>
                    <a:pt x="232" y="192"/>
                    <a:pt x="232" y="192"/>
                    <a:pt x="232" y="192"/>
                  </a:cubicBezTo>
                  <a:cubicBezTo>
                    <a:pt x="232" y="191"/>
                    <a:pt x="232" y="191"/>
                    <a:pt x="232" y="191"/>
                  </a:cubicBezTo>
                  <a:cubicBezTo>
                    <a:pt x="232" y="191"/>
                    <a:pt x="232" y="191"/>
                    <a:pt x="232" y="191"/>
                  </a:cubicBezTo>
                  <a:cubicBezTo>
                    <a:pt x="232" y="191"/>
                    <a:pt x="232" y="191"/>
                    <a:pt x="232" y="191"/>
                  </a:cubicBezTo>
                  <a:cubicBezTo>
                    <a:pt x="232" y="191"/>
                    <a:pt x="232" y="191"/>
                    <a:pt x="232" y="191"/>
                  </a:cubicBezTo>
                  <a:cubicBezTo>
                    <a:pt x="232" y="191"/>
                    <a:pt x="232" y="191"/>
                    <a:pt x="232" y="191"/>
                  </a:cubicBezTo>
                  <a:cubicBezTo>
                    <a:pt x="233" y="191"/>
                    <a:pt x="233" y="191"/>
                    <a:pt x="233" y="191"/>
                  </a:cubicBezTo>
                  <a:cubicBezTo>
                    <a:pt x="233" y="191"/>
                    <a:pt x="233" y="191"/>
                    <a:pt x="233" y="191"/>
                  </a:cubicBezTo>
                  <a:cubicBezTo>
                    <a:pt x="233" y="191"/>
                    <a:pt x="233" y="191"/>
                    <a:pt x="233" y="191"/>
                  </a:cubicBezTo>
                  <a:cubicBezTo>
                    <a:pt x="233" y="190"/>
                    <a:pt x="233" y="190"/>
                    <a:pt x="233" y="190"/>
                  </a:cubicBezTo>
                  <a:close/>
                  <a:moveTo>
                    <a:pt x="233" y="261"/>
                  </a:moveTo>
                  <a:cubicBezTo>
                    <a:pt x="229" y="265"/>
                    <a:pt x="229" y="265"/>
                    <a:pt x="229" y="265"/>
                  </a:cubicBezTo>
                  <a:cubicBezTo>
                    <a:pt x="229" y="265"/>
                    <a:pt x="229" y="265"/>
                    <a:pt x="229" y="265"/>
                  </a:cubicBezTo>
                  <a:cubicBezTo>
                    <a:pt x="229" y="265"/>
                    <a:pt x="229" y="265"/>
                    <a:pt x="229" y="265"/>
                  </a:cubicBezTo>
                  <a:cubicBezTo>
                    <a:pt x="229" y="265"/>
                    <a:pt x="229" y="265"/>
                    <a:pt x="229" y="265"/>
                  </a:cubicBezTo>
                  <a:cubicBezTo>
                    <a:pt x="229" y="265"/>
                    <a:pt x="229" y="265"/>
                    <a:pt x="229" y="265"/>
                  </a:cubicBezTo>
                  <a:cubicBezTo>
                    <a:pt x="229" y="266"/>
                    <a:pt x="229" y="266"/>
                    <a:pt x="229" y="266"/>
                  </a:cubicBezTo>
                  <a:cubicBezTo>
                    <a:pt x="229" y="266"/>
                    <a:pt x="229" y="266"/>
                    <a:pt x="229" y="266"/>
                  </a:cubicBezTo>
                  <a:cubicBezTo>
                    <a:pt x="228" y="266"/>
                    <a:pt x="228" y="266"/>
                    <a:pt x="228" y="266"/>
                  </a:cubicBezTo>
                  <a:cubicBezTo>
                    <a:pt x="228" y="266"/>
                    <a:pt x="228" y="266"/>
                    <a:pt x="228" y="266"/>
                  </a:cubicBezTo>
                  <a:cubicBezTo>
                    <a:pt x="228" y="266"/>
                    <a:pt x="228" y="266"/>
                    <a:pt x="228" y="266"/>
                  </a:cubicBezTo>
                  <a:cubicBezTo>
                    <a:pt x="228" y="266"/>
                    <a:pt x="228" y="266"/>
                    <a:pt x="228" y="266"/>
                  </a:cubicBezTo>
                  <a:cubicBezTo>
                    <a:pt x="228" y="266"/>
                    <a:pt x="228" y="266"/>
                    <a:pt x="228" y="266"/>
                  </a:cubicBezTo>
                  <a:cubicBezTo>
                    <a:pt x="228" y="266"/>
                    <a:pt x="228" y="266"/>
                    <a:pt x="228" y="266"/>
                  </a:cubicBezTo>
                  <a:cubicBezTo>
                    <a:pt x="228" y="267"/>
                    <a:pt x="228" y="267"/>
                    <a:pt x="228" y="267"/>
                  </a:cubicBezTo>
                  <a:cubicBezTo>
                    <a:pt x="228" y="267"/>
                    <a:pt x="228" y="267"/>
                    <a:pt x="228" y="267"/>
                  </a:cubicBezTo>
                  <a:cubicBezTo>
                    <a:pt x="227" y="267"/>
                    <a:pt x="227" y="267"/>
                    <a:pt x="227" y="267"/>
                  </a:cubicBezTo>
                  <a:cubicBezTo>
                    <a:pt x="227" y="267"/>
                    <a:pt x="227" y="267"/>
                    <a:pt x="227" y="267"/>
                  </a:cubicBezTo>
                  <a:cubicBezTo>
                    <a:pt x="227" y="267"/>
                    <a:pt x="227" y="267"/>
                    <a:pt x="227" y="267"/>
                  </a:cubicBezTo>
                  <a:cubicBezTo>
                    <a:pt x="227" y="267"/>
                    <a:pt x="227" y="267"/>
                    <a:pt x="227" y="267"/>
                  </a:cubicBezTo>
                  <a:cubicBezTo>
                    <a:pt x="227" y="267"/>
                    <a:pt x="227" y="267"/>
                    <a:pt x="227" y="267"/>
                  </a:cubicBezTo>
                  <a:cubicBezTo>
                    <a:pt x="227" y="267"/>
                    <a:pt x="227" y="267"/>
                    <a:pt x="227" y="267"/>
                  </a:cubicBezTo>
                  <a:cubicBezTo>
                    <a:pt x="227" y="268"/>
                    <a:pt x="227" y="268"/>
                    <a:pt x="227" y="268"/>
                  </a:cubicBezTo>
                  <a:cubicBezTo>
                    <a:pt x="226" y="268"/>
                    <a:pt x="226" y="268"/>
                    <a:pt x="226" y="268"/>
                  </a:cubicBezTo>
                  <a:cubicBezTo>
                    <a:pt x="226" y="268"/>
                    <a:pt x="226" y="268"/>
                    <a:pt x="226" y="268"/>
                  </a:cubicBezTo>
                  <a:cubicBezTo>
                    <a:pt x="226" y="268"/>
                    <a:pt x="226" y="268"/>
                    <a:pt x="226" y="268"/>
                  </a:cubicBezTo>
                  <a:cubicBezTo>
                    <a:pt x="226" y="268"/>
                    <a:pt x="226" y="268"/>
                    <a:pt x="226" y="268"/>
                  </a:cubicBezTo>
                  <a:cubicBezTo>
                    <a:pt x="226" y="268"/>
                    <a:pt x="226" y="268"/>
                    <a:pt x="226" y="268"/>
                  </a:cubicBezTo>
                  <a:cubicBezTo>
                    <a:pt x="226" y="268"/>
                    <a:pt x="226" y="268"/>
                    <a:pt x="226" y="268"/>
                  </a:cubicBezTo>
                  <a:cubicBezTo>
                    <a:pt x="226" y="269"/>
                    <a:pt x="226" y="269"/>
                    <a:pt x="226" y="269"/>
                  </a:cubicBezTo>
                  <a:cubicBezTo>
                    <a:pt x="225" y="269"/>
                    <a:pt x="225" y="269"/>
                    <a:pt x="225" y="269"/>
                  </a:cubicBezTo>
                  <a:cubicBezTo>
                    <a:pt x="225" y="269"/>
                    <a:pt x="225" y="269"/>
                    <a:pt x="225" y="269"/>
                  </a:cubicBezTo>
                  <a:cubicBezTo>
                    <a:pt x="225" y="269"/>
                    <a:pt x="225" y="269"/>
                    <a:pt x="225" y="269"/>
                  </a:cubicBezTo>
                  <a:cubicBezTo>
                    <a:pt x="225" y="269"/>
                    <a:pt x="225" y="269"/>
                    <a:pt x="225" y="269"/>
                  </a:cubicBezTo>
                  <a:cubicBezTo>
                    <a:pt x="225" y="269"/>
                    <a:pt x="225" y="269"/>
                    <a:pt x="225" y="269"/>
                  </a:cubicBezTo>
                  <a:cubicBezTo>
                    <a:pt x="225" y="269"/>
                    <a:pt x="225" y="269"/>
                    <a:pt x="225" y="269"/>
                  </a:cubicBezTo>
                  <a:cubicBezTo>
                    <a:pt x="225" y="270"/>
                    <a:pt x="225" y="270"/>
                    <a:pt x="225" y="270"/>
                  </a:cubicBezTo>
                  <a:cubicBezTo>
                    <a:pt x="224" y="270"/>
                    <a:pt x="224" y="270"/>
                    <a:pt x="224" y="270"/>
                  </a:cubicBezTo>
                  <a:cubicBezTo>
                    <a:pt x="224" y="270"/>
                    <a:pt x="224" y="270"/>
                    <a:pt x="224" y="270"/>
                  </a:cubicBezTo>
                  <a:cubicBezTo>
                    <a:pt x="224" y="270"/>
                    <a:pt x="224" y="270"/>
                    <a:pt x="224" y="270"/>
                  </a:cubicBezTo>
                  <a:cubicBezTo>
                    <a:pt x="224" y="270"/>
                    <a:pt x="224" y="270"/>
                    <a:pt x="224" y="270"/>
                  </a:cubicBezTo>
                  <a:cubicBezTo>
                    <a:pt x="224" y="270"/>
                    <a:pt x="224" y="270"/>
                    <a:pt x="224" y="270"/>
                  </a:cubicBezTo>
                  <a:cubicBezTo>
                    <a:pt x="224" y="271"/>
                    <a:pt x="224" y="271"/>
                    <a:pt x="224" y="271"/>
                  </a:cubicBezTo>
                  <a:cubicBezTo>
                    <a:pt x="223" y="271"/>
                    <a:pt x="223" y="271"/>
                    <a:pt x="223" y="271"/>
                  </a:cubicBezTo>
                  <a:cubicBezTo>
                    <a:pt x="223" y="271"/>
                    <a:pt x="223" y="271"/>
                    <a:pt x="223" y="271"/>
                  </a:cubicBezTo>
                  <a:cubicBezTo>
                    <a:pt x="223" y="271"/>
                    <a:pt x="223" y="271"/>
                    <a:pt x="223" y="271"/>
                  </a:cubicBezTo>
                  <a:cubicBezTo>
                    <a:pt x="223" y="271"/>
                    <a:pt x="223" y="271"/>
                    <a:pt x="223" y="271"/>
                  </a:cubicBezTo>
                  <a:cubicBezTo>
                    <a:pt x="223" y="271"/>
                    <a:pt x="223" y="271"/>
                    <a:pt x="223" y="271"/>
                  </a:cubicBezTo>
                  <a:cubicBezTo>
                    <a:pt x="223" y="271"/>
                    <a:pt x="223" y="271"/>
                    <a:pt x="223" y="271"/>
                  </a:cubicBezTo>
                  <a:cubicBezTo>
                    <a:pt x="223" y="272"/>
                    <a:pt x="223" y="272"/>
                    <a:pt x="223" y="272"/>
                  </a:cubicBezTo>
                  <a:cubicBezTo>
                    <a:pt x="223" y="272"/>
                    <a:pt x="223" y="272"/>
                    <a:pt x="223" y="272"/>
                  </a:cubicBezTo>
                  <a:cubicBezTo>
                    <a:pt x="222" y="272"/>
                    <a:pt x="222" y="272"/>
                    <a:pt x="222" y="272"/>
                  </a:cubicBezTo>
                  <a:cubicBezTo>
                    <a:pt x="222" y="272"/>
                    <a:pt x="222" y="272"/>
                    <a:pt x="222" y="272"/>
                  </a:cubicBezTo>
                  <a:cubicBezTo>
                    <a:pt x="222" y="272"/>
                    <a:pt x="222" y="272"/>
                    <a:pt x="222" y="272"/>
                  </a:cubicBezTo>
                  <a:cubicBezTo>
                    <a:pt x="222" y="272"/>
                    <a:pt x="222" y="272"/>
                    <a:pt x="222" y="272"/>
                  </a:cubicBezTo>
                  <a:cubicBezTo>
                    <a:pt x="222" y="272"/>
                    <a:pt x="222" y="272"/>
                    <a:pt x="222" y="272"/>
                  </a:cubicBezTo>
                  <a:cubicBezTo>
                    <a:pt x="222" y="272"/>
                    <a:pt x="222" y="272"/>
                    <a:pt x="222" y="272"/>
                  </a:cubicBezTo>
                  <a:cubicBezTo>
                    <a:pt x="222" y="273"/>
                    <a:pt x="222" y="273"/>
                    <a:pt x="222" y="273"/>
                  </a:cubicBezTo>
                  <a:cubicBezTo>
                    <a:pt x="222" y="273"/>
                    <a:pt x="222" y="273"/>
                    <a:pt x="222" y="273"/>
                  </a:cubicBezTo>
                  <a:cubicBezTo>
                    <a:pt x="221" y="273"/>
                    <a:pt x="221" y="273"/>
                    <a:pt x="221" y="273"/>
                  </a:cubicBezTo>
                  <a:cubicBezTo>
                    <a:pt x="221" y="273"/>
                    <a:pt x="221" y="273"/>
                    <a:pt x="221" y="273"/>
                  </a:cubicBezTo>
                  <a:cubicBezTo>
                    <a:pt x="221" y="273"/>
                    <a:pt x="221" y="273"/>
                    <a:pt x="221" y="273"/>
                  </a:cubicBezTo>
                  <a:cubicBezTo>
                    <a:pt x="221" y="273"/>
                    <a:pt x="221" y="273"/>
                    <a:pt x="221" y="273"/>
                  </a:cubicBezTo>
                  <a:cubicBezTo>
                    <a:pt x="221" y="273"/>
                    <a:pt x="221" y="273"/>
                    <a:pt x="221" y="273"/>
                  </a:cubicBezTo>
                  <a:cubicBezTo>
                    <a:pt x="221" y="273"/>
                    <a:pt x="221" y="273"/>
                    <a:pt x="221" y="273"/>
                  </a:cubicBezTo>
                  <a:cubicBezTo>
                    <a:pt x="221" y="274"/>
                    <a:pt x="221" y="274"/>
                    <a:pt x="221" y="274"/>
                  </a:cubicBezTo>
                  <a:cubicBezTo>
                    <a:pt x="220" y="274"/>
                    <a:pt x="220" y="274"/>
                    <a:pt x="220" y="274"/>
                  </a:cubicBezTo>
                  <a:cubicBezTo>
                    <a:pt x="220" y="274"/>
                    <a:pt x="220" y="274"/>
                    <a:pt x="220" y="274"/>
                  </a:cubicBezTo>
                  <a:cubicBezTo>
                    <a:pt x="220" y="274"/>
                    <a:pt x="220" y="274"/>
                    <a:pt x="220" y="274"/>
                  </a:cubicBezTo>
                  <a:cubicBezTo>
                    <a:pt x="220" y="274"/>
                    <a:pt x="220" y="274"/>
                    <a:pt x="220" y="274"/>
                  </a:cubicBezTo>
                  <a:cubicBezTo>
                    <a:pt x="220" y="274"/>
                    <a:pt x="220" y="274"/>
                    <a:pt x="220" y="274"/>
                  </a:cubicBezTo>
                  <a:cubicBezTo>
                    <a:pt x="220" y="274"/>
                    <a:pt x="220" y="274"/>
                    <a:pt x="220" y="274"/>
                  </a:cubicBezTo>
                  <a:cubicBezTo>
                    <a:pt x="220" y="275"/>
                    <a:pt x="220" y="275"/>
                    <a:pt x="220" y="275"/>
                  </a:cubicBezTo>
                  <a:cubicBezTo>
                    <a:pt x="219" y="275"/>
                    <a:pt x="219" y="275"/>
                    <a:pt x="219" y="275"/>
                  </a:cubicBezTo>
                  <a:cubicBezTo>
                    <a:pt x="219" y="275"/>
                    <a:pt x="219" y="275"/>
                    <a:pt x="219" y="275"/>
                  </a:cubicBezTo>
                  <a:cubicBezTo>
                    <a:pt x="219" y="275"/>
                    <a:pt x="219" y="275"/>
                    <a:pt x="219" y="275"/>
                  </a:cubicBezTo>
                  <a:cubicBezTo>
                    <a:pt x="219" y="275"/>
                    <a:pt x="219" y="275"/>
                    <a:pt x="219" y="275"/>
                  </a:cubicBezTo>
                  <a:cubicBezTo>
                    <a:pt x="209" y="285"/>
                    <a:pt x="209" y="285"/>
                    <a:pt x="209" y="285"/>
                  </a:cubicBezTo>
                  <a:cubicBezTo>
                    <a:pt x="209" y="307"/>
                    <a:pt x="209" y="307"/>
                    <a:pt x="209" y="307"/>
                  </a:cubicBezTo>
                  <a:cubicBezTo>
                    <a:pt x="217" y="298"/>
                    <a:pt x="217" y="298"/>
                    <a:pt x="217" y="298"/>
                  </a:cubicBezTo>
                  <a:cubicBezTo>
                    <a:pt x="233" y="314"/>
                    <a:pt x="233" y="314"/>
                    <a:pt x="233" y="314"/>
                  </a:cubicBezTo>
                  <a:cubicBezTo>
                    <a:pt x="233" y="289"/>
                    <a:pt x="233" y="289"/>
                    <a:pt x="233" y="289"/>
                  </a:cubicBezTo>
                  <a:cubicBezTo>
                    <a:pt x="230" y="286"/>
                    <a:pt x="230" y="286"/>
                    <a:pt x="230" y="286"/>
                  </a:cubicBezTo>
                  <a:cubicBezTo>
                    <a:pt x="230" y="286"/>
                    <a:pt x="230" y="286"/>
                    <a:pt x="230" y="286"/>
                  </a:cubicBezTo>
                  <a:cubicBezTo>
                    <a:pt x="230" y="286"/>
                    <a:pt x="230" y="286"/>
                    <a:pt x="230" y="286"/>
                  </a:cubicBezTo>
                  <a:cubicBezTo>
                    <a:pt x="230" y="286"/>
                    <a:pt x="230" y="286"/>
                    <a:pt x="230" y="286"/>
                  </a:cubicBezTo>
                  <a:cubicBezTo>
                    <a:pt x="230" y="285"/>
                    <a:pt x="230" y="285"/>
                    <a:pt x="230" y="285"/>
                  </a:cubicBezTo>
                  <a:cubicBezTo>
                    <a:pt x="231" y="285"/>
                    <a:pt x="231" y="285"/>
                    <a:pt x="231" y="285"/>
                  </a:cubicBezTo>
                  <a:cubicBezTo>
                    <a:pt x="231" y="285"/>
                    <a:pt x="231" y="285"/>
                    <a:pt x="231" y="285"/>
                  </a:cubicBezTo>
                  <a:cubicBezTo>
                    <a:pt x="231" y="285"/>
                    <a:pt x="231" y="285"/>
                    <a:pt x="231" y="285"/>
                  </a:cubicBezTo>
                  <a:cubicBezTo>
                    <a:pt x="231" y="285"/>
                    <a:pt x="231" y="285"/>
                    <a:pt x="231" y="285"/>
                  </a:cubicBezTo>
                  <a:cubicBezTo>
                    <a:pt x="231" y="285"/>
                    <a:pt x="231" y="285"/>
                    <a:pt x="231" y="285"/>
                  </a:cubicBezTo>
                  <a:cubicBezTo>
                    <a:pt x="231" y="284"/>
                    <a:pt x="231" y="284"/>
                    <a:pt x="231" y="284"/>
                  </a:cubicBezTo>
                  <a:cubicBezTo>
                    <a:pt x="231" y="284"/>
                    <a:pt x="231" y="284"/>
                    <a:pt x="231" y="284"/>
                  </a:cubicBezTo>
                  <a:cubicBezTo>
                    <a:pt x="232" y="284"/>
                    <a:pt x="232" y="284"/>
                    <a:pt x="232" y="284"/>
                  </a:cubicBezTo>
                  <a:cubicBezTo>
                    <a:pt x="232" y="284"/>
                    <a:pt x="232" y="284"/>
                    <a:pt x="232" y="284"/>
                  </a:cubicBezTo>
                  <a:cubicBezTo>
                    <a:pt x="232" y="284"/>
                    <a:pt x="232" y="284"/>
                    <a:pt x="232" y="284"/>
                  </a:cubicBezTo>
                  <a:cubicBezTo>
                    <a:pt x="232" y="284"/>
                    <a:pt x="232" y="284"/>
                    <a:pt x="232" y="284"/>
                  </a:cubicBezTo>
                  <a:cubicBezTo>
                    <a:pt x="232" y="283"/>
                    <a:pt x="232" y="283"/>
                    <a:pt x="232" y="283"/>
                  </a:cubicBezTo>
                  <a:cubicBezTo>
                    <a:pt x="232" y="283"/>
                    <a:pt x="232" y="283"/>
                    <a:pt x="232" y="283"/>
                  </a:cubicBezTo>
                  <a:cubicBezTo>
                    <a:pt x="233" y="283"/>
                    <a:pt x="233" y="283"/>
                    <a:pt x="233" y="283"/>
                  </a:cubicBezTo>
                  <a:cubicBezTo>
                    <a:pt x="233" y="283"/>
                    <a:pt x="233" y="283"/>
                    <a:pt x="233" y="283"/>
                  </a:cubicBezTo>
                  <a:cubicBezTo>
                    <a:pt x="233" y="283"/>
                    <a:pt x="233" y="283"/>
                    <a:pt x="233" y="283"/>
                  </a:cubicBezTo>
                  <a:cubicBezTo>
                    <a:pt x="233" y="283"/>
                    <a:pt x="233" y="283"/>
                    <a:pt x="233" y="283"/>
                  </a:cubicBezTo>
                  <a:lnTo>
                    <a:pt x="233" y="261"/>
                  </a:lnTo>
                  <a:close/>
                  <a:moveTo>
                    <a:pt x="209" y="338"/>
                  </a:moveTo>
                  <a:cubicBezTo>
                    <a:pt x="198" y="327"/>
                    <a:pt x="198" y="327"/>
                    <a:pt x="198" y="327"/>
                  </a:cubicBezTo>
                  <a:cubicBezTo>
                    <a:pt x="198" y="296"/>
                    <a:pt x="198" y="296"/>
                    <a:pt x="198" y="296"/>
                  </a:cubicBezTo>
                  <a:cubicBezTo>
                    <a:pt x="209" y="285"/>
                    <a:pt x="209" y="285"/>
                    <a:pt x="209" y="285"/>
                  </a:cubicBezTo>
                  <a:cubicBezTo>
                    <a:pt x="209" y="307"/>
                    <a:pt x="209" y="307"/>
                    <a:pt x="209" y="307"/>
                  </a:cubicBezTo>
                  <a:cubicBezTo>
                    <a:pt x="207" y="308"/>
                    <a:pt x="207" y="308"/>
                    <a:pt x="207" y="308"/>
                  </a:cubicBezTo>
                  <a:cubicBezTo>
                    <a:pt x="209" y="310"/>
                    <a:pt x="209" y="310"/>
                    <a:pt x="209" y="310"/>
                  </a:cubicBezTo>
                  <a:cubicBezTo>
                    <a:pt x="209" y="338"/>
                    <a:pt x="209" y="338"/>
                    <a:pt x="209" y="338"/>
                  </a:cubicBezTo>
                  <a:close/>
                  <a:moveTo>
                    <a:pt x="198" y="69"/>
                  </a:moveTo>
                  <a:cubicBezTo>
                    <a:pt x="209" y="80"/>
                    <a:pt x="209" y="80"/>
                    <a:pt x="209" y="80"/>
                  </a:cubicBezTo>
                  <a:cubicBezTo>
                    <a:pt x="209" y="109"/>
                    <a:pt x="209" y="109"/>
                    <a:pt x="209" y="109"/>
                  </a:cubicBezTo>
                  <a:cubicBezTo>
                    <a:pt x="202" y="101"/>
                    <a:pt x="202" y="101"/>
                    <a:pt x="202" y="101"/>
                  </a:cubicBezTo>
                  <a:cubicBezTo>
                    <a:pt x="198" y="105"/>
                    <a:pt x="198" y="105"/>
                    <a:pt x="198" y="105"/>
                  </a:cubicBezTo>
                  <a:cubicBezTo>
                    <a:pt x="198" y="69"/>
                    <a:pt x="198" y="69"/>
                    <a:pt x="198" y="69"/>
                  </a:cubicBezTo>
                  <a:close/>
                  <a:moveTo>
                    <a:pt x="209" y="129"/>
                  </a:moveTo>
                  <a:cubicBezTo>
                    <a:pt x="209" y="165"/>
                    <a:pt x="209" y="165"/>
                    <a:pt x="209" y="165"/>
                  </a:cubicBezTo>
                  <a:cubicBezTo>
                    <a:pt x="209" y="165"/>
                    <a:pt x="209" y="165"/>
                    <a:pt x="209" y="165"/>
                  </a:cubicBezTo>
                  <a:cubicBezTo>
                    <a:pt x="208" y="165"/>
                    <a:pt x="208" y="165"/>
                    <a:pt x="208" y="165"/>
                  </a:cubicBezTo>
                  <a:cubicBezTo>
                    <a:pt x="208" y="165"/>
                    <a:pt x="208" y="165"/>
                    <a:pt x="208" y="165"/>
                  </a:cubicBezTo>
                  <a:cubicBezTo>
                    <a:pt x="208" y="165"/>
                    <a:pt x="208" y="165"/>
                    <a:pt x="208" y="165"/>
                  </a:cubicBezTo>
                  <a:cubicBezTo>
                    <a:pt x="208" y="166"/>
                    <a:pt x="208" y="166"/>
                    <a:pt x="208" y="166"/>
                  </a:cubicBezTo>
                  <a:cubicBezTo>
                    <a:pt x="208" y="166"/>
                    <a:pt x="208" y="166"/>
                    <a:pt x="208" y="166"/>
                  </a:cubicBezTo>
                  <a:cubicBezTo>
                    <a:pt x="208" y="166"/>
                    <a:pt x="208" y="166"/>
                    <a:pt x="208" y="166"/>
                  </a:cubicBezTo>
                  <a:cubicBezTo>
                    <a:pt x="208" y="166"/>
                    <a:pt x="208" y="166"/>
                    <a:pt x="208" y="166"/>
                  </a:cubicBezTo>
                  <a:cubicBezTo>
                    <a:pt x="208" y="166"/>
                    <a:pt x="208" y="166"/>
                    <a:pt x="208" y="166"/>
                  </a:cubicBezTo>
                  <a:cubicBezTo>
                    <a:pt x="208" y="166"/>
                    <a:pt x="208" y="166"/>
                    <a:pt x="208" y="166"/>
                  </a:cubicBezTo>
                  <a:cubicBezTo>
                    <a:pt x="207" y="166"/>
                    <a:pt x="207" y="166"/>
                    <a:pt x="207" y="166"/>
                  </a:cubicBezTo>
                  <a:cubicBezTo>
                    <a:pt x="207" y="167"/>
                    <a:pt x="207" y="167"/>
                    <a:pt x="207" y="167"/>
                  </a:cubicBezTo>
                  <a:cubicBezTo>
                    <a:pt x="207" y="167"/>
                    <a:pt x="207" y="167"/>
                    <a:pt x="207" y="167"/>
                  </a:cubicBezTo>
                  <a:cubicBezTo>
                    <a:pt x="207" y="167"/>
                    <a:pt x="207" y="167"/>
                    <a:pt x="207" y="167"/>
                  </a:cubicBezTo>
                  <a:cubicBezTo>
                    <a:pt x="207" y="167"/>
                    <a:pt x="207" y="167"/>
                    <a:pt x="207" y="167"/>
                  </a:cubicBezTo>
                  <a:cubicBezTo>
                    <a:pt x="207" y="167"/>
                    <a:pt x="207" y="167"/>
                    <a:pt x="207" y="167"/>
                  </a:cubicBezTo>
                  <a:cubicBezTo>
                    <a:pt x="207" y="167"/>
                    <a:pt x="207" y="167"/>
                    <a:pt x="207" y="167"/>
                  </a:cubicBezTo>
                  <a:cubicBezTo>
                    <a:pt x="206" y="167"/>
                    <a:pt x="206" y="167"/>
                    <a:pt x="206" y="167"/>
                  </a:cubicBezTo>
                  <a:cubicBezTo>
                    <a:pt x="206" y="167"/>
                    <a:pt x="206" y="167"/>
                    <a:pt x="206" y="167"/>
                  </a:cubicBezTo>
                  <a:cubicBezTo>
                    <a:pt x="206" y="168"/>
                    <a:pt x="206" y="168"/>
                    <a:pt x="206" y="168"/>
                  </a:cubicBezTo>
                  <a:cubicBezTo>
                    <a:pt x="206" y="168"/>
                    <a:pt x="206" y="168"/>
                    <a:pt x="206" y="168"/>
                  </a:cubicBezTo>
                  <a:cubicBezTo>
                    <a:pt x="206" y="168"/>
                    <a:pt x="206" y="168"/>
                    <a:pt x="206" y="168"/>
                  </a:cubicBezTo>
                  <a:cubicBezTo>
                    <a:pt x="206" y="168"/>
                    <a:pt x="206" y="168"/>
                    <a:pt x="206" y="168"/>
                  </a:cubicBezTo>
                  <a:cubicBezTo>
                    <a:pt x="206" y="168"/>
                    <a:pt x="206" y="168"/>
                    <a:pt x="206" y="168"/>
                  </a:cubicBezTo>
                  <a:cubicBezTo>
                    <a:pt x="205" y="168"/>
                    <a:pt x="205" y="168"/>
                    <a:pt x="205" y="168"/>
                  </a:cubicBezTo>
                  <a:cubicBezTo>
                    <a:pt x="205" y="168"/>
                    <a:pt x="205" y="168"/>
                    <a:pt x="205" y="168"/>
                  </a:cubicBezTo>
                  <a:cubicBezTo>
                    <a:pt x="205" y="169"/>
                    <a:pt x="205" y="169"/>
                    <a:pt x="205" y="169"/>
                  </a:cubicBezTo>
                  <a:cubicBezTo>
                    <a:pt x="205" y="169"/>
                    <a:pt x="205" y="169"/>
                    <a:pt x="205" y="169"/>
                  </a:cubicBezTo>
                  <a:cubicBezTo>
                    <a:pt x="205" y="169"/>
                    <a:pt x="205" y="169"/>
                    <a:pt x="205" y="169"/>
                  </a:cubicBezTo>
                  <a:cubicBezTo>
                    <a:pt x="205" y="169"/>
                    <a:pt x="205" y="169"/>
                    <a:pt x="205" y="169"/>
                  </a:cubicBezTo>
                  <a:cubicBezTo>
                    <a:pt x="205" y="169"/>
                    <a:pt x="205" y="169"/>
                    <a:pt x="205" y="169"/>
                  </a:cubicBezTo>
                  <a:cubicBezTo>
                    <a:pt x="205" y="169"/>
                    <a:pt x="205" y="169"/>
                    <a:pt x="205" y="169"/>
                  </a:cubicBezTo>
                  <a:cubicBezTo>
                    <a:pt x="204" y="169"/>
                    <a:pt x="204" y="169"/>
                    <a:pt x="204" y="169"/>
                  </a:cubicBezTo>
                  <a:cubicBezTo>
                    <a:pt x="204" y="170"/>
                    <a:pt x="204" y="170"/>
                    <a:pt x="204" y="170"/>
                  </a:cubicBezTo>
                  <a:cubicBezTo>
                    <a:pt x="198" y="176"/>
                    <a:pt x="198" y="176"/>
                    <a:pt x="198" y="176"/>
                  </a:cubicBezTo>
                  <a:cubicBezTo>
                    <a:pt x="198" y="155"/>
                    <a:pt x="198" y="155"/>
                    <a:pt x="198" y="155"/>
                  </a:cubicBezTo>
                  <a:cubicBezTo>
                    <a:pt x="204" y="149"/>
                    <a:pt x="204" y="149"/>
                    <a:pt x="204" y="149"/>
                  </a:cubicBezTo>
                  <a:cubicBezTo>
                    <a:pt x="198" y="142"/>
                    <a:pt x="198" y="142"/>
                    <a:pt x="198" y="142"/>
                  </a:cubicBezTo>
                  <a:cubicBezTo>
                    <a:pt x="198" y="118"/>
                    <a:pt x="198" y="118"/>
                    <a:pt x="198" y="118"/>
                  </a:cubicBezTo>
                  <a:cubicBezTo>
                    <a:pt x="209" y="129"/>
                    <a:pt x="209" y="129"/>
                    <a:pt x="209" y="129"/>
                  </a:cubicBezTo>
                  <a:close/>
                  <a:moveTo>
                    <a:pt x="209" y="214"/>
                  </a:moveTo>
                  <a:cubicBezTo>
                    <a:pt x="209" y="236"/>
                    <a:pt x="209" y="236"/>
                    <a:pt x="209" y="236"/>
                  </a:cubicBezTo>
                  <a:cubicBezTo>
                    <a:pt x="205" y="240"/>
                    <a:pt x="205" y="240"/>
                    <a:pt x="205" y="240"/>
                  </a:cubicBezTo>
                  <a:cubicBezTo>
                    <a:pt x="205" y="240"/>
                    <a:pt x="205" y="240"/>
                    <a:pt x="205" y="240"/>
                  </a:cubicBezTo>
                  <a:cubicBezTo>
                    <a:pt x="205" y="240"/>
                    <a:pt x="205" y="240"/>
                    <a:pt x="205" y="240"/>
                  </a:cubicBezTo>
                  <a:cubicBezTo>
                    <a:pt x="204" y="240"/>
                    <a:pt x="204" y="240"/>
                    <a:pt x="204" y="240"/>
                  </a:cubicBezTo>
                  <a:cubicBezTo>
                    <a:pt x="204" y="240"/>
                    <a:pt x="204" y="240"/>
                    <a:pt x="204" y="240"/>
                  </a:cubicBezTo>
                  <a:cubicBezTo>
                    <a:pt x="204" y="241"/>
                    <a:pt x="204" y="241"/>
                    <a:pt x="204" y="241"/>
                  </a:cubicBezTo>
                  <a:cubicBezTo>
                    <a:pt x="204" y="241"/>
                    <a:pt x="204" y="241"/>
                    <a:pt x="204" y="241"/>
                  </a:cubicBezTo>
                  <a:cubicBezTo>
                    <a:pt x="204" y="241"/>
                    <a:pt x="204" y="241"/>
                    <a:pt x="204" y="241"/>
                  </a:cubicBezTo>
                  <a:cubicBezTo>
                    <a:pt x="204" y="241"/>
                    <a:pt x="204" y="241"/>
                    <a:pt x="204" y="241"/>
                  </a:cubicBezTo>
                  <a:cubicBezTo>
                    <a:pt x="204" y="241"/>
                    <a:pt x="204" y="241"/>
                    <a:pt x="204" y="241"/>
                  </a:cubicBezTo>
                  <a:cubicBezTo>
                    <a:pt x="203" y="241"/>
                    <a:pt x="203" y="241"/>
                    <a:pt x="203" y="241"/>
                  </a:cubicBezTo>
                  <a:cubicBezTo>
                    <a:pt x="203" y="241"/>
                    <a:pt x="203" y="241"/>
                    <a:pt x="203" y="241"/>
                  </a:cubicBezTo>
                  <a:cubicBezTo>
                    <a:pt x="203" y="242"/>
                    <a:pt x="203" y="242"/>
                    <a:pt x="203" y="242"/>
                  </a:cubicBezTo>
                  <a:cubicBezTo>
                    <a:pt x="203" y="242"/>
                    <a:pt x="203" y="242"/>
                    <a:pt x="203" y="242"/>
                  </a:cubicBezTo>
                  <a:cubicBezTo>
                    <a:pt x="203" y="242"/>
                    <a:pt x="203" y="242"/>
                    <a:pt x="203" y="242"/>
                  </a:cubicBezTo>
                  <a:cubicBezTo>
                    <a:pt x="203" y="242"/>
                    <a:pt x="203" y="242"/>
                    <a:pt x="203" y="242"/>
                  </a:cubicBezTo>
                  <a:cubicBezTo>
                    <a:pt x="203" y="242"/>
                    <a:pt x="203" y="242"/>
                    <a:pt x="203" y="242"/>
                  </a:cubicBezTo>
                  <a:cubicBezTo>
                    <a:pt x="202" y="242"/>
                    <a:pt x="202" y="242"/>
                    <a:pt x="202" y="242"/>
                  </a:cubicBezTo>
                  <a:cubicBezTo>
                    <a:pt x="202" y="242"/>
                    <a:pt x="202" y="242"/>
                    <a:pt x="202" y="242"/>
                  </a:cubicBezTo>
                  <a:cubicBezTo>
                    <a:pt x="202" y="243"/>
                    <a:pt x="202" y="243"/>
                    <a:pt x="202" y="243"/>
                  </a:cubicBezTo>
                  <a:cubicBezTo>
                    <a:pt x="202" y="243"/>
                    <a:pt x="202" y="243"/>
                    <a:pt x="202" y="243"/>
                  </a:cubicBezTo>
                  <a:cubicBezTo>
                    <a:pt x="202" y="243"/>
                    <a:pt x="202" y="243"/>
                    <a:pt x="202" y="243"/>
                  </a:cubicBezTo>
                  <a:cubicBezTo>
                    <a:pt x="202" y="243"/>
                    <a:pt x="202" y="243"/>
                    <a:pt x="202" y="243"/>
                  </a:cubicBezTo>
                  <a:cubicBezTo>
                    <a:pt x="202" y="243"/>
                    <a:pt x="202" y="243"/>
                    <a:pt x="202" y="243"/>
                  </a:cubicBezTo>
                  <a:cubicBezTo>
                    <a:pt x="201" y="243"/>
                    <a:pt x="201" y="243"/>
                    <a:pt x="201" y="243"/>
                  </a:cubicBezTo>
                  <a:cubicBezTo>
                    <a:pt x="201" y="243"/>
                    <a:pt x="201" y="243"/>
                    <a:pt x="201" y="243"/>
                  </a:cubicBezTo>
                  <a:cubicBezTo>
                    <a:pt x="201" y="243"/>
                    <a:pt x="201" y="243"/>
                    <a:pt x="201" y="243"/>
                  </a:cubicBezTo>
                  <a:cubicBezTo>
                    <a:pt x="201" y="244"/>
                    <a:pt x="201" y="244"/>
                    <a:pt x="201" y="244"/>
                  </a:cubicBezTo>
                  <a:cubicBezTo>
                    <a:pt x="201" y="244"/>
                    <a:pt x="201" y="244"/>
                    <a:pt x="201" y="244"/>
                  </a:cubicBezTo>
                  <a:cubicBezTo>
                    <a:pt x="201" y="244"/>
                    <a:pt x="201" y="244"/>
                    <a:pt x="201" y="244"/>
                  </a:cubicBezTo>
                  <a:cubicBezTo>
                    <a:pt x="201" y="244"/>
                    <a:pt x="201" y="244"/>
                    <a:pt x="201" y="244"/>
                  </a:cubicBezTo>
                  <a:cubicBezTo>
                    <a:pt x="200" y="244"/>
                    <a:pt x="200" y="244"/>
                    <a:pt x="200" y="244"/>
                  </a:cubicBezTo>
                  <a:cubicBezTo>
                    <a:pt x="200" y="244"/>
                    <a:pt x="200" y="244"/>
                    <a:pt x="200" y="244"/>
                  </a:cubicBezTo>
                  <a:cubicBezTo>
                    <a:pt x="200" y="244"/>
                    <a:pt x="200" y="244"/>
                    <a:pt x="200" y="244"/>
                  </a:cubicBezTo>
                  <a:cubicBezTo>
                    <a:pt x="200" y="245"/>
                    <a:pt x="200" y="245"/>
                    <a:pt x="200" y="245"/>
                  </a:cubicBezTo>
                  <a:cubicBezTo>
                    <a:pt x="200" y="245"/>
                    <a:pt x="200" y="245"/>
                    <a:pt x="200" y="245"/>
                  </a:cubicBezTo>
                  <a:cubicBezTo>
                    <a:pt x="200" y="245"/>
                    <a:pt x="200" y="245"/>
                    <a:pt x="200" y="245"/>
                  </a:cubicBezTo>
                  <a:cubicBezTo>
                    <a:pt x="200" y="245"/>
                    <a:pt x="200" y="245"/>
                    <a:pt x="200" y="245"/>
                  </a:cubicBezTo>
                  <a:cubicBezTo>
                    <a:pt x="199" y="245"/>
                    <a:pt x="199" y="245"/>
                    <a:pt x="199" y="245"/>
                  </a:cubicBezTo>
                  <a:cubicBezTo>
                    <a:pt x="199" y="245"/>
                    <a:pt x="199" y="245"/>
                    <a:pt x="199" y="245"/>
                  </a:cubicBezTo>
                  <a:cubicBezTo>
                    <a:pt x="199" y="245"/>
                    <a:pt x="199" y="245"/>
                    <a:pt x="199" y="245"/>
                  </a:cubicBezTo>
                  <a:cubicBezTo>
                    <a:pt x="199" y="246"/>
                    <a:pt x="199" y="246"/>
                    <a:pt x="199" y="246"/>
                  </a:cubicBezTo>
                  <a:cubicBezTo>
                    <a:pt x="199" y="246"/>
                    <a:pt x="199" y="246"/>
                    <a:pt x="199" y="246"/>
                  </a:cubicBezTo>
                  <a:cubicBezTo>
                    <a:pt x="199" y="246"/>
                    <a:pt x="199" y="246"/>
                    <a:pt x="199" y="246"/>
                  </a:cubicBezTo>
                  <a:cubicBezTo>
                    <a:pt x="199" y="246"/>
                    <a:pt x="199" y="246"/>
                    <a:pt x="199" y="246"/>
                  </a:cubicBezTo>
                  <a:cubicBezTo>
                    <a:pt x="198" y="246"/>
                    <a:pt x="198" y="246"/>
                    <a:pt x="198" y="246"/>
                  </a:cubicBezTo>
                  <a:cubicBezTo>
                    <a:pt x="198" y="246"/>
                    <a:pt x="198" y="246"/>
                    <a:pt x="198" y="246"/>
                  </a:cubicBezTo>
                  <a:cubicBezTo>
                    <a:pt x="198" y="246"/>
                    <a:pt x="198" y="246"/>
                    <a:pt x="198" y="246"/>
                  </a:cubicBezTo>
                  <a:cubicBezTo>
                    <a:pt x="198" y="247"/>
                    <a:pt x="198" y="247"/>
                    <a:pt x="198" y="247"/>
                  </a:cubicBezTo>
                  <a:cubicBezTo>
                    <a:pt x="198" y="247"/>
                    <a:pt x="198" y="247"/>
                    <a:pt x="198" y="247"/>
                  </a:cubicBezTo>
                  <a:cubicBezTo>
                    <a:pt x="198" y="247"/>
                    <a:pt x="198" y="247"/>
                    <a:pt x="198" y="247"/>
                  </a:cubicBezTo>
                  <a:cubicBezTo>
                    <a:pt x="198" y="247"/>
                    <a:pt x="198" y="247"/>
                    <a:pt x="198" y="247"/>
                  </a:cubicBezTo>
                  <a:cubicBezTo>
                    <a:pt x="198" y="247"/>
                    <a:pt x="198" y="247"/>
                    <a:pt x="198" y="247"/>
                  </a:cubicBezTo>
                  <a:cubicBezTo>
                    <a:pt x="198" y="226"/>
                    <a:pt x="198" y="226"/>
                    <a:pt x="198" y="226"/>
                  </a:cubicBezTo>
                  <a:cubicBezTo>
                    <a:pt x="206" y="217"/>
                    <a:pt x="206" y="217"/>
                    <a:pt x="206" y="217"/>
                  </a:cubicBezTo>
                  <a:cubicBezTo>
                    <a:pt x="206" y="217"/>
                    <a:pt x="206" y="217"/>
                    <a:pt x="206" y="217"/>
                  </a:cubicBezTo>
                  <a:cubicBezTo>
                    <a:pt x="207" y="217"/>
                    <a:pt x="207" y="217"/>
                    <a:pt x="207" y="217"/>
                  </a:cubicBezTo>
                  <a:cubicBezTo>
                    <a:pt x="207" y="216"/>
                    <a:pt x="207" y="216"/>
                    <a:pt x="207" y="216"/>
                  </a:cubicBezTo>
                  <a:cubicBezTo>
                    <a:pt x="207" y="216"/>
                    <a:pt x="207" y="216"/>
                    <a:pt x="207" y="216"/>
                  </a:cubicBezTo>
                  <a:cubicBezTo>
                    <a:pt x="207" y="216"/>
                    <a:pt x="207" y="216"/>
                    <a:pt x="207" y="216"/>
                  </a:cubicBezTo>
                  <a:cubicBezTo>
                    <a:pt x="207" y="216"/>
                    <a:pt x="207" y="216"/>
                    <a:pt x="207" y="216"/>
                  </a:cubicBezTo>
                  <a:cubicBezTo>
                    <a:pt x="207" y="216"/>
                    <a:pt x="207" y="216"/>
                    <a:pt x="207" y="216"/>
                  </a:cubicBezTo>
                  <a:cubicBezTo>
                    <a:pt x="207" y="216"/>
                    <a:pt x="207" y="216"/>
                    <a:pt x="207" y="216"/>
                  </a:cubicBezTo>
                  <a:cubicBezTo>
                    <a:pt x="208" y="216"/>
                    <a:pt x="208" y="216"/>
                    <a:pt x="208" y="216"/>
                  </a:cubicBezTo>
                  <a:cubicBezTo>
                    <a:pt x="208" y="216"/>
                    <a:pt x="208" y="216"/>
                    <a:pt x="208" y="216"/>
                  </a:cubicBezTo>
                  <a:cubicBezTo>
                    <a:pt x="208" y="215"/>
                    <a:pt x="208" y="215"/>
                    <a:pt x="208" y="215"/>
                  </a:cubicBezTo>
                  <a:cubicBezTo>
                    <a:pt x="208" y="215"/>
                    <a:pt x="208" y="215"/>
                    <a:pt x="208" y="215"/>
                  </a:cubicBezTo>
                  <a:cubicBezTo>
                    <a:pt x="208" y="215"/>
                    <a:pt x="208" y="215"/>
                    <a:pt x="208" y="215"/>
                  </a:cubicBezTo>
                  <a:cubicBezTo>
                    <a:pt x="208" y="215"/>
                    <a:pt x="208" y="215"/>
                    <a:pt x="208" y="215"/>
                  </a:cubicBezTo>
                  <a:cubicBezTo>
                    <a:pt x="208" y="215"/>
                    <a:pt x="208" y="215"/>
                    <a:pt x="208" y="215"/>
                  </a:cubicBezTo>
                  <a:cubicBezTo>
                    <a:pt x="208" y="215"/>
                    <a:pt x="208" y="215"/>
                    <a:pt x="208" y="215"/>
                  </a:cubicBezTo>
                  <a:cubicBezTo>
                    <a:pt x="209" y="215"/>
                    <a:pt x="209" y="215"/>
                    <a:pt x="209" y="215"/>
                  </a:cubicBezTo>
                  <a:cubicBezTo>
                    <a:pt x="209" y="214"/>
                    <a:pt x="209" y="214"/>
                    <a:pt x="209" y="214"/>
                  </a:cubicBezTo>
                  <a:close/>
                  <a:moveTo>
                    <a:pt x="198" y="327"/>
                  </a:moveTo>
                  <a:cubicBezTo>
                    <a:pt x="186" y="315"/>
                    <a:pt x="186" y="315"/>
                    <a:pt x="186" y="315"/>
                  </a:cubicBezTo>
                  <a:cubicBezTo>
                    <a:pt x="186" y="287"/>
                    <a:pt x="186" y="287"/>
                    <a:pt x="186" y="287"/>
                  </a:cubicBezTo>
                  <a:cubicBezTo>
                    <a:pt x="196" y="297"/>
                    <a:pt x="196" y="297"/>
                    <a:pt x="196" y="297"/>
                  </a:cubicBezTo>
                  <a:cubicBezTo>
                    <a:pt x="198" y="296"/>
                    <a:pt x="198" y="296"/>
                    <a:pt x="198" y="296"/>
                  </a:cubicBezTo>
                  <a:cubicBezTo>
                    <a:pt x="198" y="327"/>
                    <a:pt x="198" y="327"/>
                    <a:pt x="198" y="327"/>
                  </a:cubicBezTo>
                  <a:close/>
                  <a:moveTo>
                    <a:pt x="186" y="57"/>
                  </a:moveTo>
                  <a:cubicBezTo>
                    <a:pt x="198" y="69"/>
                    <a:pt x="198" y="69"/>
                    <a:pt x="198" y="69"/>
                  </a:cubicBezTo>
                  <a:cubicBezTo>
                    <a:pt x="198" y="105"/>
                    <a:pt x="198" y="105"/>
                    <a:pt x="198" y="105"/>
                  </a:cubicBezTo>
                  <a:cubicBezTo>
                    <a:pt x="191" y="111"/>
                    <a:pt x="191" y="111"/>
                    <a:pt x="191" y="111"/>
                  </a:cubicBezTo>
                  <a:cubicBezTo>
                    <a:pt x="198" y="118"/>
                    <a:pt x="198" y="118"/>
                    <a:pt x="198" y="118"/>
                  </a:cubicBezTo>
                  <a:cubicBezTo>
                    <a:pt x="198" y="142"/>
                    <a:pt x="198" y="142"/>
                    <a:pt x="198" y="142"/>
                  </a:cubicBezTo>
                  <a:cubicBezTo>
                    <a:pt x="186" y="131"/>
                    <a:pt x="186" y="131"/>
                    <a:pt x="186" y="131"/>
                  </a:cubicBezTo>
                  <a:cubicBezTo>
                    <a:pt x="186" y="95"/>
                    <a:pt x="186" y="95"/>
                    <a:pt x="186" y="95"/>
                  </a:cubicBezTo>
                  <a:cubicBezTo>
                    <a:pt x="191" y="90"/>
                    <a:pt x="191" y="90"/>
                    <a:pt x="191" y="90"/>
                  </a:cubicBezTo>
                  <a:cubicBezTo>
                    <a:pt x="186" y="86"/>
                    <a:pt x="186" y="86"/>
                    <a:pt x="186" y="86"/>
                  </a:cubicBezTo>
                  <a:cubicBezTo>
                    <a:pt x="186" y="57"/>
                    <a:pt x="186" y="57"/>
                    <a:pt x="186" y="57"/>
                  </a:cubicBezTo>
                  <a:close/>
                  <a:moveTo>
                    <a:pt x="198" y="155"/>
                  </a:moveTo>
                  <a:cubicBezTo>
                    <a:pt x="198" y="176"/>
                    <a:pt x="198" y="176"/>
                    <a:pt x="198" y="176"/>
                  </a:cubicBezTo>
                  <a:cubicBezTo>
                    <a:pt x="192" y="182"/>
                    <a:pt x="192" y="182"/>
                    <a:pt x="192" y="182"/>
                  </a:cubicBezTo>
                  <a:cubicBezTo>
                    <a:pt x="192" y="182"/>
                    <a:pt x="192" y="182"/>
                    <a:pt x="192" y="182"/>
                  </a:cubicBezTo>
                  <a:cubicBezTo>
                    <a:pt x="191" y="182"/>
                    <a:pt x="191" y="182"/>
                    <a:pt x="191" y="182"/>
                  </a:cubicBezTo>
                  <a:cubicBezTo>
                    <a:pt x="191" y="182"/>
                    <a:pt x="191" y="182"/>
                    <a:pt x="191" y="182"/>
                  </a:cubicBezTo>
                  <a:cubicBezTo>
                    <a:pt x="191" y="183"/>
                    <a:pt x="191" y="183"/>
                    <a:pt x="191" y="183"/>
                  </a:cubicBezTo>
                  <a:cubicBezTo>
                    <a:pt x="191" y="183"/>
                    <a:pt x="191" y="183"/>
                    <a:pt x="191" y="183"/>
                  </a:cubicBezTo>
                  <a:cubicBezTo>
                    <a:pt x="191" y="183"/>
                    <a:pt x="191" y="183"/>
                    <a:pt x="191" y="183"/>
                  </a:cubicBezTo>
                  <a:cubicBezTo>
                    <a:pt x="191" y="183"/>
                    <a:pt x="191" y="183"/>
                    <a:pt x="191" y="183"/>
                  </a:cubicBezTo>
                  <a:cubicBezTo>
                    <a:pt x="191" y="183"/>
                    <a:pt x="191" y="183"/>
                    <a:pt x="191" y="183"/>
                  </a:cubicBezTo>
                  <a:cubicBezTo>
                    <a:pt x="190" y="183"/>
                    <a:pt x="190" y="183"/>
                    <a:pt x="190" y="183"/>
                  </a:cubicBezTo>
                  <a:cubicBezTo>
                    <a:pt x="190" y="183"/>
                    <a:pt x="190" y="183"/>
                    <a:pt x="190" y="183"/>
                  </a:cubicBezTo>
                  <a:cubicBezTo>
                    <a:pt x="190" y="183"/>
                    <a:pt x="190" y="183"/>
                    <a:pt x="190" y="183"/>
                  </a:cubicBezTo>
                  <a:cubicBezTo>
                    <a:pt x="190" y="183"/>
                    <a:pt x="190" y="183"/>
                    <a:pt x="190" y="183"/>
                  </a:cubicBezTo>
                  <a:cubicBezTo>
                    <a:pt x="190" y="184"/>
                    <a:pt x="190" y="184"/>
                    <a:pt x="190" y="184"/>
                  </a:cubicBezTo>
                  <a:cubicBezTo>
                    <a:pt x="190" y="184"/>
                    <a:pt x="190" y="184"/>
                    <a:pt x="190" y="184"/>
                  </a:cubicBezTo>
                  <a:cubicBezTo>
                    <a:pt x="190" y="184"/>
                    <a:pt x="190" y="184"/>
                    <a:pt x="190" y="184"/>
                  </a:cubicBezTo>
                  <a:cubicBezTo>
                    <a:pt x="189" y="184"/>
                    <a:pt x="189" y="184"/>
                    <a:pt x="189" y="184"/>
                  </a:cubicBezTo>
                  <a:cubicBezTo>
                    <a:pt x="189" y="184"/>
                    <a:pt x="189" y="184"/>
                    <a:pt x="189" y="184"/>
                  </a:cubicBezTo>
                  <a:cubicBezTo>
                    <a:pt x="189" y="184"/>
                    <a:pt x="189" y="184"/>
                    <a:pt x="189" y="184"/>
                  </a:cubicBezTo>
                  <a:cubicBezTo>
                    <a:pt x="189" y="184"/>
                    <a:pt x="189" y="184"/>
                    <a:pt x="189" y="184"/>
                  </a:cubicBezTo>
                  <a:cubicBezTo>
                    <a:pt x="189" y="185"/>
                    <a:pt x="189" y="185"/>
                    <a:pt x="189" y="185"/>
                  </a:cubicBezTo>
                  <a:cubicBezTo>
                    <a:pt x="189" y="185"/>
                    <a:pt x="189" y="185"/>
                    <a:pt x="189" y="185"/>
                  </a:cubicBezTo>
                  <a:cubicBezTo>
                    <a:pt x="189" y="185"/>
                    <a:pt x="189" y="185"/>
                    <a:pt x="189" y="185"/>
                  </a:cubicBezTo>
                  <a:cubicBezTo>
                    <a:pt x="189" y="185"/>
                    <a:pt x="189" y="185"/>
                    <a:pt x="189" y="185"/>
                  </a:cubicBezTo>
                  <a:cubicBezTo>
                    <a:pt x="188" y="185"/>
                    <a:pt x="188" y="185"/>
                    <a:pt x="188" y="185"/>
                  </a:cubicBezTo>
                  <a:cubicBezTo>
                    <a:pt x="188" y="185"/>
                    <a:pt x="188" y="185"/>
                    <a:pt x="188" y="185"/>
                  </a:cubicBezTo>
                  <a:cubicBezTo>
                    <a:pt x="188" y="185"/>
                    <a:pt x="188" y="185"/>
                    <a:pt x="188" y="185"/>
                  </a:cubicBezTo>
                  <a:cubicBezTo>
                    <a:pt x="188" y="186"/>
                    <a:pt x="188" y="186"/>
                    <a:pt x="188" y="186"/>
                  </a:cubicBezTo>
                  <a:cubicBezTo>
                    <a:pt x="188" y="186"/>
                    <a:pt x="188" y="186"/>
                    <a:pt x="188" y="186"/>
                  </a:cubicBezTo>
                  <a:cubicBezTo>
                    <a:pt x="188" y="186"/>
                    <a:pt x="188" y="186"/>
                    <a:pt x="188" y="186"/>
                  </a:cubicBezTo>
                  <a:cubicBezTo>
                    <a:pt x="188" y="186"/>
                    <a:pt x="188" y="186"/>
                    <a:pt x="188" y="186"/>
                  </a:cubicBezTo>
                  <a:cubicBezTo>
                    <a:pt x="188" y="186"/>
                    <a:pt x="188" y="186"/>
                    <a:pt x="188" y="186"/>
                  </a:cubicBezTo>
                  <a:cubicBezTo>
                    <a:pt x="187" y="186"/>
                    <a:pt x="187" y="186"/>
                    <a:pt x="187" y="186"/>
                  </a:cubicBezTo>
                  <a:cubicBezTo>
                    <a:pt x="187" y="186"/>
                    <a:pt x="187" y="186"/>
                    <a:pt x="187" y="186"/>
                  </a:cubicBezTo>
                  <a:cubicBezTo>
                    <a:pt x="187" y="187"/>
                    <a:pt x="187" y="187"/>
                    <a:pt x="187" y="187"/>
                  </a:cubicBezTo>
                  <a:cubicBezTo>
                    <a:pt x="187" y="187"/>
                    <a:pt x="187" y="187"/>
                    <a:pt x="187" y="187"/>
                  </a:cubicBezTo>
                  <a:cubicBezTo>
                    <a:pt x="187" y="187"/>
                    <a:pt x="187" y="187"/>
                    <a:pt x="187" y="187"/>
                  </a:cubicBezTo>
                  <a:cubicBezTo>
                    <a:pt x="187" y="187"/>
                    <a:pt x="187" y="187"/>
                    <a:pt x="187" y="187"/>
                  </a:cubicBezTo>
                  <a:cubicBezTo>
                    <a:pt x="187" y="187"/>
                    <a:pt x="187" y="187"/>
                    <a:pt x="187" y="187"/>
                  </a:cubicBezTo>
                  <a:cubicBezTo>
                    <a:pt x="186" y="187"/>
                    <a:pt x="186" y="187"/>
                    <a:pt x="186" y="187"/>
                  </a:cubicBezTo>
                  <a:cubicBezTo>
                    <a:pt x="186" y="187"/>
                    <a:pt x="186" y="187"/>
                    <a:pt x="186" y="187"/>
                  </a:cubicBezTo>
                  <a:cubicBezTo>
                    <a:pt x="186" y="187"/>
                    <a:pt x="186" y="187"/>
                    <a:pt x="186" y="187"/>
                  </a:cubicBezTo>
                  <a:cubicBezTo>
                    <a:pt x="186" y="151"/>
                    <a:pt x="186" y="151"/>
                    <a:pt x="186" y="151"/>
                  </a:cubicBezTo>
                  <a:cubicBezTo>
                    <a:pt x="194" y="159"/>
                    <a:pt x="194" y="159"/>
                    <a:pt x="194" y="159"/>
                  </a:cubicBezTo>
                  <a:cubicBezTo>
                    <a:pt x="198" y="155"/>
                    <a:pt x="198" y="155"/>
                    <a:pt x="198" y="155"/>
                  </a:cubicBezTo>
                  <a:close/>
                  <a:moveTo>
                    <a:pt x="198" y="226"/>
                  </a:moveTo>
                  <a:cubicBezTo>
                    <a:pt x="198" y="247"/>
                    <a:pt x="198" y="247"/>
                    <a:pt x="198" y="247"/>
                  </a:cubicBezTo>
                  <a:cubicBezTo>
                    <a:pt x="198" y="247"/>
                    <a:pt x="198" y="247"/>
                    <a:pt x="198" y="247"/>
                  </a:cubicBezTo>
                  <a:cubicBezTo>
                    <a:pt x="197" y="247"/>
                    <a:pt x="197" y="247"/>
                    <a:pt x="197" y="247"/>
                  </a:cubicBezTo>
                  <a:cubicBezTo>
                    <a:pt x="197" y="247"/>
                    <a:pt x="197" y="247"/>
                    <a:pt x="197" y="247"/>
                  </a:cubicBezTo>
                  <a:cubicBezTo>
                    <a:pt x="197" y="248"/>
                    <a:pt x="197" y="248"/>
                    <a:pt x="197" y="248"/>
                  </a:cubicBezTo>
                  <a:cubicBezTo>
                    <a:pt x="197" y="248"/>
                    <a:pt x="197" y="248"/>
                    <a:pt x="197" y="248"/>
                  </a:cubicBezTo>
                  <a:cubicBezTo>
                    <a:pt x="197" y="248"/>
                    <a:pt x="197" y="248"/>
                    <a:pt x="197" y="248"/>
                  </a:cubicBezTo>
                  <a:cubicBezTo>
                    <a:pt x="197" y="248"/>
                    <a:pt x="197" y="248"/>
                    <a:pt x="197" y="248"/>
                  </a:cubicBezTo>
                  <a:cubicBezTo>
                    <a:pt x="197" y="248"/>
                    <a:pt x="197" y="248"/>
                    <a:pt x="197" y="248"/>
                  </a:cubicBezTo>
                  <a:cubicBezTo>
                    <a:pt x="196" y="248"/>
                    <a:pt x="196" y="248"/>
                    <a:pt x="196" y="248"/>
                  </a:cubicBezTo>
                  <a:cubicBezTo>
                    <a:pt x="196" y="248"/>
                    <a:pt x="196" y="248"/>
                    <a:pt x="196" y="248"/>
                  </a:cubicBezTo>
                  <a:cubicBezTo>
                    <a:pt x="196" y="249"/>
                    <a:pt x="196" y="249"/>
                    <a:pt x="196" y="249"/>
                  </a:cubicBezTo>
                  <a:cubicBezTo>
                    <a:pt x="196" y="249"/>
                    <a:pt x="196" y="249"/>
                    <a:pt x="196" y="249"/>
                  </a:cubicBezTo>
                  <a:cubicBezTo>
                    <a:pt x="196" y="249"/>
                    <a:pt x="196" y="249"/>
                    <a:pt x="196" y="249"/>
                  </a:cubicBezTo>
                  <a:cubicBezTo>
                    <a:pt x="196" y="249"/>
                    <a:pt x="196" y="249"/>
                    <a:pt x="196" y="249"/>
                  </a:cubicBezTo>
                  <a:cubicBezTo>
                    <a:pt x="196" y="249"/>
                    <a:pt x="196" y="249"/>
                    <a:pt x="196" y="249"/>
                  </a:cubicBezTo>
                  <a:cubicBezTo>
                    <a:pt x="195" y="249"/>
                    <a:pt x="195" y="249"/>
                    <a:pt x="195" y="249"/>
                  </a:cubicBezTo>
                  <a:cubicBezTo>
                    <a:pt x="195" y="249"/>
                    <a:pt x="195" y="249"/>
                    <a:pt x="195" y="249"/>
                  </a:cubicBezTo>
                  <a:cubicBezTo>
                    <a:pt x="195" y="249"/>
                    <a:pt x="195" y="249"/>
                    <a:pt x="195" y="249"/>
                  </a:cubicBezTo>
                  <a:cubicBezTo>
                    <a:pt x="195" y="249"/>
                    <a:pt x="195" y="249"/>
                    <a:pt x="195" y="249"/>
                  </a:cubicBezTo>
                  <a:cubicBezTo>
                    <a:pt x="195" y="250"/>
                    <a:pt x="195" y="250"/>
                    <a:pt x="195" y="250"/>
                  </a:cubicBezTo>
                  <a:cubicBezTo>
                    <a:pt x="195" y="250"/>
                    <a:pt x="195" y="250"/>
                    <a:pt x="195" y="250"/>
                  </a:cubicBezTo>
                  <a:cubicBezTo>
                    <a:pt x="195" y="250"/>
                    <a:pt x="195" y="250"/>
                    <a:pt x="195" y="250"/>
                  </a:cubicBezTo>
                  <a:cubicBezTo>
                    <a:pt x="194" y="250"/>
                    <a:pt x="194" y="250"/>
                    <a:pt x="194" y="250"/>
                  </a:cubicBezTo>
                  <a:cubicBezTo>
                    <a:pt x="194" y="250"/>
                    <a:pt x="194" y="250"/>
                    <a:pt x="194" y="250"/>
                  </a:cubicBezTo>
                  <a:cubicBezTo>
                    <a:pt x="186" y="258"/>
                    <a:pt x="186" y="258"/>
                    <a:pt x="186" y="258"/>
                  </a:cubicBezTo>
                  <a:cubicBezTo>
                    <a:pt x="186" y="237"/>
                    <a:pt x="186" y="237"/>
                    <a:pt x="186" y="237"/>
                  </a:cubicBezTo>
                  <a:lnTo>
                    <a:pt x="198" y="226"/>
                  </a:lnTo>
                  <a:close/>
                  <a:moveTo>
                    <a:pt x="186" y="315"/>
                  </a:moveTo>
                  <a:cubicBezTo>
                    <a:pt x="175" y="304"/>
                    <a:pt x="175" y="304"/>
                    <a:pt x="175" y="304"/>
                  </a:cubicBezTo>
                  <a:cubicBezTo>
                    <a:pt x="175" y="276"/>
                    <a:pt x="175" y="276"/>
                    <a:pt x="175" y="276"/>
                  </a:cubicBezTo>
                  <a:cubicBezTo>
                    <a:pt x="186" y="287"/>
                    <a:pt x="186" y="287"/>
                    <a:pt x="186" y="287"/>
                  </a:cubicBezTo>
                  <a:cubicBezTo>
                    <a:pt x="186" y="315"/>
                    <a:pt x="186" y="315"/>
                    <a:pt x="186" y="315"/>
                  </a:cubicBezTo>
                  <a:close/>
                  <a:moveTo>
                    <a:pt x="175" y="46"/>
                  </a:moveTo>
                  <a:cubicBezTo>
                    <a:pt x="186" y="57"/>
                    <a:pt x="186" y="57"/>
                    <a:pt x="186" y="57"/>
                  </a:cubicBezTo>
                  <a:cubicBezTo>
                    <a:pt x="186" y="86"/>
                    <a:pt x="186" y="86"/>
                    <a:pt x="186" y="86"/>
                  </a:cubicBezTo>
                  <a:cubicBezTo>
                    <a:pt x="175" y="74"/>
                    <a:pt x="175" y="74"/>
                    <a:pt x="175" y="74"/>
                  </a:cubicBezTo>
                  <a:cubicBezTo>
                    <a:pt x="175" y="46"/>
                    <a:pt x="175" y="46"/>
                    <a:pt x="175" y="46"/>
                  </a:cubicBezTo>
                  <a:close/>
                  <a:moveTo>
                    <a:pt x="186" y="95"/>
                  </a:moveTo>
                  <a:cubicBezTo>
                    <a:pt x="186" y="131"/>
                    <a:pt x="186" y="131"/>
                    <a:pt x="186" y="131"/>
                  </a:cubicBezTo>
                  <a:cubicBezTo>
                    <a:pt x="179" y="124"/>
                    <a:pt x="179" y="124"/>
                    <a:pt x="179" y="124"/>
                  </a:cubicBezTo>
                  <a:cubicBezTo>
                    <a:pt x="175" y="128"/>
                    <a:pt x="175" y="128"/>
                    <a:pt x="175" y="128"/>
                  </a:cubicBezTo>
                  <a:cubicBezTo>
                    <a:pt x="175" y="106"/>
                    <a:pt x="175" y="106"/>
                    <a:pt x="175" y="106"/>
                  </a:cubicBezTo>
                  <a:cubicBezTo>
                    <a:pt x="186" y="95"/>
                    <a:pt x="186" y="95"/>
                    <a:pt x="186" y="95"/>
                  </a:cubicBezTo>
                  <a:close/>
                  <a:moveTo>
                    <a:pt x="186" y="151"/>
                  </a:moveTo>
                  <a:cubicBezTo>
                    <a:pt x="186" y="187"/>
                    <a:pt x="186" y="187"/>
                    <a:pt x="186" y="187"/>
                  </a:cubicBezTo>
                  <a:cubicBezTo>
                    <a:pt x="186" y="187"/>
                    <a:pt x="186" y="187"/>
                    <a:pt x="186" y="187"/>
                  </a:cubicBezTo>
                  <a:cubicBezTo>
                    <a:pt x="186" y="188"/>
                    <a:pt x="186" y="188"/>
                    <a:pt x="186" y="188"/>
                  </a:cubicBezTo>
                  <a:cubicBezTo>
                    <a:pt x="186" y="188"/>
                    <a:pt x="186" y="188"/>
                    <a:pt x="186" y="188"/>
                  </a:cubicBezTo>
                  <a:cubicBezTo>
                    <a:pt x="186" y="188"/>
                    <a:pt x="186" y="188"/>
                    <a:pt x="186" y="188"/>
                  </a:cubicBezTo>
                  <a:cubicBezTo>
                    <a:pt x="186" y="188"/>
                    <a:pt x="186" y="188"/>
                    <a:pt x="186" y="188"/>
                  </a:cubicBezTo>
                  <a:cubicBezTo>
                    <a:pt x="185" y="188"/>
                    <a:pt x="185" y="188"/>
                    <a:pt x="185" y="188"/>
                  </a:cubicBezTo>
                  <a:cubicBezTo>
                    <a:pt x="185" y="188"/>
                    <a:pt x="185" y="188"/>
                    <a:pt x="185" y="188"/>
                  </a:cubicBezTo>
                  <a:cubicBezTo>
                    <a:pt x="185" y="188"/>
                    <a:pt x="185" y="188"/>
                    <a:pt x="185" y="188"/>
                  </a:cubicBezTo>
                  <a:cubicBezTo>
                    <a:pt x="185" y="189"/>
                    <a:pt x="185" y="189"/>
                    <a:pt x="185" y="189"/>
                  </a:cubicBezTo>
                  <a:cubicBezTo>
                    <a:pt x="185" y="189"/>
                    <a:pt x="185" y="189"/>
                    <a:pt x="185" y="189"/>
                  </a:cubicBezTo>
                  <a:cubicBezTo>
                    <a:pt x="185" y="189"/>
                    <a:pt x="185" y="189"/>
                    <a:pt x="185" y="189"/>
                  </a:cubicBezTo>
                  <a:cubicBezTo>
                    <a:pt x="185" y="189"/>
                    <a:pt x="185" y="189"/>
                    <a:pt x="185" y="189"/>
                  </a:cubicBezTo>
                  <a:cubicBezTo>
                    <a:pt x="185" y="189"/>
                    <a:pt x="185" y="189"/>
                    <a:pt x="185" y="189"/>
                  </a:cubicBezTo>
                  <a:cubicBezTo>
                    <a:pt x="184" y="189"/>
                    <a:pt x="184" y="189"/>
                    <a:pt x="184" y="189"/>
                  </a:cubicBezTo>
                  <a:cubicBezTo>
                    <a:pt x="184" y="189"/>
                    <a:pt x="184" y="189"/>
                    <a:pt x="184" y="189"/>
                  </a:cubicBezTo>
                  <a:cubicBezTo>
                    <a:pt x="184" y="189"/>
                    <a:pt x="184" y="189"/>
                    <a:pt x="184" y="189"/>
                  </a:cubicBezTo>
                  <a:cubicBezTo>
                    <a:pt x="184" y="189"/>
                    <a:pt x="184" y="189"/>
                    <a:pt x="184" y="189"/>
                  </a:cubicBezTo>
                  <a:cubicBezTo>
                    <a:pt x="184" y="190"/>
                    <a:pt x="184" y="190"/>
                    <a:pt x="184" y="190"/>
                  </a:cubicBezTo>
                  <a:cubicBezTo>
                    <a:pt x="184" y="190"/>
                    <a:pt x="184" y="190"/>
                    <a:pt x="184" y="190"/>
                  </a:cubicBezTo>
                  <a:cubicBezTo>
                    <a:pt x="184" y="190"/>
                    <a:pt x="184" y="190"/>
                    <a:pt x="184" y="190"/>
                  </a:cubicBezTo>
                  <a:cubicBezTo>
                    <a:pt x="183" y="190"/>
                    <a:pt x="183" y="190"/>
                    <a:pt x="183" y="190"/>
                  </a:cubicBezTo>
                  <a:cubicBezTo>
                    <a:pt x="183" y="190"/>
                    <a:pt x="183" y="190"/>
                    <a:pt x="183" y="190"/>
                  </a:cubicBezTo>
                  <a:cubicBezTo>
                    <a:pt x="183" y="190"/>
                    <a:pt x="183" y="190"/>
                    <a:pt x="183" y="190"/>
                  </a:cubicBezTo>
                  <a:cubicBezTo>
                    <a:pt x="183" y="190"/>
                    <a:pt x="183" y="190"/>
                    <a:pt x="183" y="190"/>
                  </a:cubicBezTo>
                  <a:cubicBezTo>
                    <a:pt x="183" y="191"/>
                    <a:pt x="183" y="191"/>
                    <a:pt x="183" y="191"/>
                  </a:cubicBezTo>
                  <a:cubicBezTo>
                    <a:pt x="183" y="191"/>
                    <a:pt x="183" y="191"/>
                    <a:pt x="183" y="191"/>
                  </a:cubicBezTo>
                  <a:cubicBezTo>
                    <a:pt x="183" y="191"/>
                    <a:pt x="183" y="191"/>
                    <a:pt x="183" y="191"/>
                  </a:cubicBezTo>
                  <a:cubicBezTo>
                    <a:pt x="182" y="191"/>
                    <a:pt x="182" y="191"/>
                    <a:pt x="182" y="191"/>
                  </a:cubicBezTo>
                  <a:cubicBezTo>
                    <a:pt x="182" y="191"/>
                    <a:pt x="182" y="191"/>
                    <a:pt x="182" y="191"/>
                  </a:cubicBezTo>
                  <a:cubicBezTo>
                    <a:pt x="182" y="191"/>
                    <a:pt x="182" y="191"/>
                    <a:pt x="182" y="191"/>
                  </a:cubicBezTo>
                  <a:cubicBezTo>
                    <a:pt x="182" y="191"/>
                    <a:pt x="182" y="191"/>
                    <a:pt x="182" y="191"/>
                  </a:cubicBezTo>
                  <a:cubicBezTo>
                    <a:pt x="182" y="192"/>
                    <a:pt x="182" y="192"/>
                    <a:pt x="182" y="192"/>
                  </a:cubicBezTo>
                  <a:cubicBezTo>
                    <a:pt x="182" y="192"/>
                    <a:pt x="182" y="192"/>
                    <a:pt x="182" y="192"/>
                  </a:cubicBezTo>
                  <a:cubicBezTo>
                    <a:pt x="182" y="192"/>
                    <a:pt x="182" y="192"/>
                    <a:pt x="182" y="192"/>
                  </a:cubicBezTo>
                  <a:cubicBezTo>
                    <a:pt x="182" y="192"/>
                    <a:pt x="182" y="192"/>
                    <a:pt x="182" y="192"/>
                  </a:cubicBezTo>
                  <a:cubicBezTo>
                    <a:pt x="175" y="199"/>
                    <a:pt x="175" y="199"/>
                    <a:pt x="175" y="199"/>
                  </a:cubicBezTo>
                  <a:cubicBezTo>
                    <a:pt x="175" y="177"/>
                    <a:pt x="175" y="177"/>
                    <a:pt x="175" y="177"/>
                  </a:cubicBezTo>
                  <a:cubicBezTo>
                    <a:pt x="181" y="171"/>
                    <a:pt x="181" y="171"/>
                    <a:pt x="181" y="171"/>
                  </a:cubicBezTo>
                  <a:cubicBezTo>
                    <a:pt x="175" y="165"/>
                    <a:pt x="175" y="165"/>
                    <a:pt x="175" y="165"/>
                  </a:cubicBezTo>
                  <a:cubicBezTo>
                    <a:pt x="175" y="140"/>
                    <a:pt x="175" y="140"/>
                    <a:pt x="175" y="140"/>
                  </a:cubicBezTo>
                  <a:cubicBezTo>
                    <a:pt x="186" y="151"/>
                    <a:pt x="186" y="151"/>
                    <a:pt x="186" y="151"/>
                  </a:cubicBezTo>
                  <a:close/>
                  <a:moveTo>
                    <a:pt x="186" y="237"/>
                  </a:moveTo>
                  <a:cubicBezTo>
                    <a:pt x="186" y="258"/>
                    <a:pt x="186" y="258"/>
                    <a:pt x="186" y="258"/>
                  </a:cubicBezTo>
                  <a:cubicBezTo>
                    <a:pt x="175" y="269"/>
                    <a:pt x="175" y="269"/>
                    <a:pt x="175" y="269"/>
                  </a:cubicBezTo>
                  <a:cubicBezTo>
                    <a:pt x="175" y="230"/>
                    <a:pt x="175" y="230"/>
                    <a:pt x="175" y="230"/>
                  </a:cubicBezTo>
                  <a:cubicBezTo>
                    <a:pt x="184" y="239"/>
                    <a:pt x="184" y="239"/>
                    <a:pt x="184" y="239"/>
                  </a:cubicBezTo>
                  <a:lnTo>
                    <a:pt x="186" y="237"/>
                  </a:lnTo>
                  <a:close/>
                  <a:moveTo>
                    <a:pt x="175" y="304"/>
                  </a:moveTo>
                  <a:cubicBezTo>
                    <a:pt x="169" y="298"/>
                    <a:pt x="169" y="298"/>
                    <a:pt x="169" y="298"/>
                  </a:cubicBezTo>
                  <a:cubicBezTo>
                    <a:pt x="164" y="292"/>
                    <a:pt x="164" y="292"/>
                    <a:pt x="164" y="292"/>
                  </a:cubicBezTo>
                  <a:cubicBezTo>
                    <a:pt x="164" y="259"/>
                    <a:pt x="164" y="259"/>
                    <a:pt x="164" y="259"/>
                  </a:cubicBezTo>
                  <a:cubicBezTo>
                    <a:pt x="171" y="252"/>
                    <a:pt x="171" y="252"/>
                    <a:pt x="171" y="252"/>
                  </a:cubicBezTo>
                  <a:cubicBezTo>
                    <a:pt x="164" y="244"/>
                    <a:pt x="164" y="244"/>
                    <a:pt x="164" y="244"/>
                  </a:cubicBezTo>
                  <a:cubicBezTo>
                    <a:pt x="164" y="219"/>
                    <a:pt x="164" y="219"/>
                    <a:pt x="164" y="219"/>
                  </a:cubicBezTo>
                  <a:cubicBezTo>
                    <a:pt x="175" y="230"/>
                    <a:pt x="175" y="230"/>
                    <a:pt x="175" y="230"/>
                  </a:cubicBezTo>
                  <a:cubicBezTo>
                    <a:pt x="175" y="269"/>
                    <a:pt x="175" y="269"/>
                    <a:pt x="175" y="269"/>
                  </a:cubicBezTo>
                  <a:cubicBezTo>
                    <a:pt x="172" y="273"/>
                    <a:pt x="172" y="273"/>
                    <a:pt x="172" y="273"/>
                  </a:cubicBezTo>
                  <a:cubicBezTo>
                    <a:pt x="175" y="276"/>
                    <a:pt x="175" y="276"/>
                    <a:pt x="175" y="276"/>
                  </a:cubicBezTo>
                  <a:cubicBezTo>
                    <a:pt x="175" y="304"/>
                    <a:pt x="175" y="304"/>
                    <a:pt x="175" y="304"/>
                  </a:cubicBezTo>
                  <a:close/>
                  <a:moveTo>
                    <a:pt x="164" y="35"/>
                  </a:moveTo>
                  <a:cubicBezTo>
                    <a:pt x="175" y="46"/>
                    <a:pt x="175" y="46"/>
                    <a:pt x="175" y="46"/>
                  </a:cubicBezTo>
                  <a:cubicBezTo>
                    <a:pt x="175" y="74"/>
                    <a:pt x="175" y="74"/>
                    <a:pt x="175" y="74"/>
                  </a:cubicBezTo>
                  <a:cubicBezTo>
                    <a:pt x="166" y="66"/>
                    <a:pt x="166" y="66"/>
                    <a:pt x="166" y="66"/>
                  </a:cubicBezTo>
                  <a:cubicBezTo>
                    <a:pt x="164" y="68"/>
                    <a:pt x="164" y="68"/>
                    <a:pt x="164" y="68"/>
                  </a:cubicBezTo>
                  <a:cubicBezTo>
                    <a:pt x="164" y="35"/>
                    <a:pt x="164" y="35"/>
                    <a:pt x="164" y="35"/>
                  </a:cubicBezTo>
                  <a:close/>
                  <a:moveTo>
                    <a:pt x="175" y="106"/>
                  </a:moveTo>
                  <a:cubicBezTo>
                    <a:pt x="175" y="128"/>
                    <a:pt x="175" y="128"/>
                    <a:pt x="175" y="128"/>
                  </a:cubicBezTo>
                  <a:cubicBezTo>
                    <a:pt x="169" y="134"/>
                    <a:pt x="169" y="134"/>
                    <a:pt x="169" y="134"/>
                  </a:cubicBezTo>
                  <a:cubicBezTo>
                    <a:pt x="175" y="140"/>
                    <a:pt x="175" y="140"/>
                    <a:pt x="175" y="140"/>
                  </a:cubicBezTo>
                  <a:cubicBezTo>
                    <a:pt x="175" y="165"/>
                    <a:pt x="175" y="165"/>
                    <a:pt x="175" y="165"/>
                  </a:cubicBezTo>
                  <a:cubicBezTo>
                    <a:pt x="164" y="153"/>
                    <a:pt x="164" y="153"/>
                    <a:pt x="164" y="153"/>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4" y="117"/>
                    <a:pt x="164" y="117"/>
                    <a:pt x="164" y="117"/>
                  </a:cubicBezTo>
                  <a:cubicBezTo>
                    <a:pt x="165" y="117"/>
                    <a:pt x="165" y="117"/>
                    <a:pt x="165" y="117"/>
                  </a:cubicBezTo>
                  <a:cubicBezTo>
                    <a:pt x="165" y="116"/>
                    <a:pt x="165" y="116"/>
                    <a:pt x="165" y="116"/>
                  </a:cubicBezTo>
                  <a:cubicBezTo>
                    <a:pt x="165" y="116"/>
                    <a:pt x="165" y="116"/>
                    <a:pt x="165" y="116"/>
                  </a:cubicBezTo>
                  <a:cubicBezTo>
                    <a:pt x="165" y="116"/>
                    <a:pt x="165" y="116"/>
                    <a:pt x="165" y="116"/>
                  </a:cubicBezTo>
                  <a:cubicBezTo>
                    <a:pt x="165" y="116"/>
                    <a:pt x="165" y="116"/>
                    <a:pt x="165" y="116"/>
                  </a:cubicBezTo>
                  <a:cubicBezTo>
                    <a:pt x="165" y="116"/>
                    <a:pt x="165" y="116"/>
                    <a:pt x="165" y="116"/>
                  </a:cubicBezTo>
                  <a:cubicBezTo>
                    <a:pt x="165" y="116"/>
                    <a:pt x="165" y="116"/>
                    <a:pt x="165" y="116"/>
                  </a:cubicBezTo>
                  <a:cubicBezTo>
                    <a:pt x="166" y="116"/>
                    <a:pt x="166" y="116"/>
                    <a:pt x="166" y="116"/>
                  </a:cubicBezTo>
                  <a:cubicBezTo>
                    <a:pt x="166" y="115"/>
                    <a:pt x="166" y="115"/>
                    <a:pt x="166" y="115"/>
                  </a:cubicBezTo>
                  <a:cubicBezTo>
                    <a:pt x="166" y="115"/>
                    <a:pt x="166" y="115"/>
                    <a:pt x="166" y="115"/>
                  </a:cubicBezTo>
                  <a:cubicBezTo>
                    <a:pt x="166" y="115"/>
                    <a:pt x="166" y="115"/>
                    <a:pt x="166" y="115"/>
                  </a:cubicBezTo>
                  <a:cubicBezTo>
                    <a:pt x="166" y="115"/>
                    <a:pt x="166" y="115"/>
                    <a:pt x="166" y="115"/>
                  </a:cubicBezTo>
                  <a:cubicBezTo>
                    <a:pt x="166" y="115"/>
                    <a:pt x="166" y="115"/>
                    <a:pt x="166" y="115"/>
                  </a:cubicBezTo>
                  <a:cubicBezTo>
                    <a:pt x="166" y="115"/>
                    <a:pt x="166" y="115"/>
                    <a:pt x="166" y="115"/>
                  </a:cubicBezTo>
                  <a:cubicBezTo>
                    <a:pt x="167" y="115"/>
                    <a:pt x="167" y="115"/>
                    <a:pt x="167" y="115"/>
                  </a:cubicBezTo>
                  <a:cubicBezTo>
                    <a:pt x="167" y="115"/>
                    <a:pt x="167" y="115"/>
                    <a:pt x="167" y="115"/>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7" y="114"/>
                    <a:pt x="167" y="114"/>
                    <a:pt x="167" y="114"/>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68" y="113"/>
                    <a:pt x="168" y="113"/>
                    <a:pt x="168" y="113"/>
                  </a:cubicBezTo>
                  <a:cubicBezTo>
                    <a:pt x="175" y="106"/>
                    <a:pt x="175" y="106"/>
                    <a:pt x="175" y="106"/>
                  </a:cubicBezTo>
                  <a:close/>
                  <a:moveTo>
                    <a:pt x="175" y="177"/>
                  </a:moveTo>
                  <a:cubicBezTo>
                    <a:pt x="175" y="199"/>
                    <a:pt x="175" y="199"/>
                    <a:pt x="175" y="199"/>
                  </a:cubicBezTo>
                  <a:cubicBezTo>
                    <a:pt x="164" y="210"/>
                    <a:pt x="164" y="210"/>
                    <a:pt x="164" y="210"/>
                  </a:cubicBezTo>
                  <a:cubicBezTo>
                    <a:pt x="164" y="174"/>
                    <a:pt x="164" y="174"/>
                    <a:pt x="164" y="174"/>
                  </a:cubicBezTo>
                  <a:cubicBezTo>
                    <a:pt x="171" y="181"/>
                    <a:pt x="171" y="181"/>
                    <a:pt x="171" y="181"/>
                  </a:cubicBezTo>
                  <a:lnTo>
                    <a:pt x="175" y="177"/>
                  </a:lnTo>
                  <a:close/>
                  <a:moveTo>
                    <a:pt x="164" y="292"/>
                  </a:moveTo>
                  <a:cubicBezTo>
                    <a:pt x="152" y="281"/>
                    <a:pt x="152" y="281"/>
                    <a:pt x="152" y="281"/>
                  </a:cubicBezTo>
                  <a:cubicBezTo>
                    <a:pt x="152" y="253"/>
                    <a:pt x="152" y="253"/>
                    <a:pt x="152" y="253"/>
                  </a:cubicBezTo>
                  <a:cubicBezTo>
                    <a:pt x="161" y="262"/>
                    <a:pt x="161" y="262"/>
                    <a:pt x="161" y="262"/>
                  </a:cubicBezTo>
                  <a:cubicBezTo>
                    <a:pt x="164" y="259"/>
                    <a:pt x="164" y="259"/>
                    <a:pt x="164" y="259"/>
                  </a:cubicBezTo>
                  <a:cubicBezTo>
                    <a:pt x="164" y="292"/>
                    <a:pt x="164" y="292"/>
                    <a:pt x="164" y="292"/>
                  </a:cubicBezTo>
                  <a:close/>
                  <a:moveTo>
                    <a:pt x="152" y="23"/>
                  </a:moveTo>
                  <a:cubicBezTo>
                    <a:pt x="164" y="35"/>
                    <a:pt x="164" y="35"/>
                    <a:pt x="164" y="35"/>
                  </a:cubicBezTo>
                  <a:cubicBezTo>
                    <a:pt x="164" y="68"/>
                    <a:pt x="164" y="68"/>
                    <a:pt x="164" y="68"/>
                  </a:cubicBezTo>
                  <a:cubicBezTo>
                    <a:pt x="152" y="79"/>
                    <a:pt x="152" y="79"/>
                    <a:pt x="152" y="79"/>
                  </a:cubicBezTo>
                  <a:cubicBezTo>
                    <a:pt x="152" y="58"/>
                    <a:pt x="152" y="58"/>
                    <a:pt x="152" y="58"/>
                  </a:cubicBezTo>
                  <a:cubicBezTo>
                    <a:pt x="155" y="55"/>
                    <a:pt x="155" y="55"/>
                    <a:pt x="155" y="55"/>
                  </a:cubicBezTo>
                  <a:cubicBezTo>
                    <a:pt x="152" y="52"/>
                    <a:pt x="152" y="52"/>
                    <a:pt x="152" y="52"/>
                  </a:cubicBezTo>
                  <a:cubicBezTo>
                    <a:pt x="152" y="23"/>
                    <a:pt x="152" y="23"/>
                    <a:pt x="152" y="23"/>
                  </a:cubicBezTo>
                  <a:close/>
                  <a:moveTo>
                    <a:pt x="164" y="117"/>
                  </a:moveTo>
                  <a:cubicBezTo>
                    <a:pt x="164" y="153"/>
                    <a:pt x="164" y="153"/>
                    <a:pt x="164" y="153"/>
                  </a:cubicBezTo>
                  <a:cubicBezTo>
                    <a:pt x="156" y="146"/>
                    <a:pt x="156" y="146"/>
                    <a:pt x="156" y="146"/>
                  </a:cubicBezTo>
                  <a:cubicBezTo>
                    <a:pt x="152" y="150"/>
                    <a:pt x="152" y="150"/>
                    <a:pt x="152" y="150"/>
                  </a:cubicBezTo>
                  <a:cubicBezTo>
                    <a:pt x="152" y="129"/>
                    <a:pt x="152" y="129"/>
                    <a:pt x="152" y="129"/>
                  </a:cubicBezTo>
                  <a:cubicBezTo>
                    <a:pt x="158" y="123"/>
                    <a:pt x="158" y="123"/>
                    <a:pt x="158" y="123"/>
                  </a:cubicBezTo>
                  <a:cubicBezTo>
                    <a:pt x="158" y="123"/>
                    <a:pt x="158" y="123"/>
                    <a:pt x="158" y="123"/>
                  </a:cubicBezTo>
                  <a:cubicBezTo>
                    <a:pt x="158" y="123"/>
                    <a:pt x="158" y="123"/>
                    <a:pt x="158" y="123"/>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59" y="122"/>
                    <a:pt x="159" y="122"/>
                    <a:pt x="159" y="122"/>
                  </a:cubicBezTo>
                  <a:cubicBezTo>
                    <a:pt x="160" y="122"/>
                    <a:pt x="160" y="122"/>
                    <a:pt x="160" y="122"/>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0" y="121"/>
                    <a:pt x="160" y="121"/>
                    <a:pt x="160" y="121"/>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1" y="120"/>
                    <a:pt x="161" y="120"/>
                    <a:pt x="161" y="120"/>
                  </a:cubicBezTo>
                  <a:cubicBezTo>
                    <a:pt x="162" y="120"/>
                    <a:pt x="162" y="120"/>
                    <a:pt x="162" y="120"/>
                  </a:cubicBezTo>
                  <a:cubicBezTo>
                    <a:pt x="162" y="119"/>
                    <a:pt x="162" y="119"/>
                    <a:pt x="162" y="119"/>
                  </a:cubicBezTo>
                  <a:cubicBezTo>
                    <a:pt x="162" y="119"/>
                    <a:pt x="162" y="119"/>
                    <a:pt x="162" y="119"/>
                  </a:cubicBezTo>
                  <a:cubicBezTo>
                    <a:pt x="162" y="119"/>
                    <a:pt x="162" y="119"/>
                    <a:pt x="162" y="119"/>
                  </a:cubicBezTo>
                  <a:cubicBezTo>
                    <a:pt x="162" y="119"/>
                    <a:pt x="162" y="119"/>
                    <a:pt x="162" y="119"/>
                  </a:cubicBezTo>
                  <a:cubicBezTo>
                    <a:pt x="162" y="119"/>
                    <a:pt x="162" y="119"/>
                    <a:pt x="162" y="119"/>
                  </a:cubicBezTo>
                  <a:cubicBezTo>
                    <a:pt x="162" y="119"/>
                    <a:pt x="162" y="119"/>
                    <a:pt x="162" y="119"/>
                  </a:cubicBezTo>
                  <a:cubicBezTo>
                    <a:pt x="163" y="119"/>
                    <a:pt x="163" y="119"/>
                    <a:pt x="163" y="119"/>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3" y="118"/>
                    <a:pt x="163" y="118"/>
                    <a:pt x="163" y="118"/>
                  </a:cubicBezTo>
                  <a:cubicBezTo>
                    <a:pt x="164" y="117"/>
                    <a:pt x="164" y="117"/>
                    <a:pt x="164" y="117"/>
                  </a:cubicBezTo>
                  <a:close/>
                  <a:moveTo>
                    <a:pt x="164" y="174"/>
                  </a:moveTo>
                  <a:cubicBezTo>
                    <a:pt x="164" y="210"/>
                    <a:pt x="164" y="210"/>
                    <a:pt x="164" y="210"/>
                  </a:cubicBezTo>
                  <a:cubicBezTo>
                    <a:pt x="159" y="214"/>
                    <a:pt x="159" y="214"/>
                    <a:pt x="159" y="214"/>
                  </a:cubicBezTo>
                  <a:cubicBezTo>
                    <a:pt x="164" y="219"/>
                    <a:pt x="164" y="219"/>
                    <a:pt x="164" y="219"/>
                  </a:cubicBezTo>
                  <a:cubicBezTo>
                    <a:pt x="164" y="244"/>
                    <a:pt x="164" y="244"/>
                    <a:pt x="164" y="244"/>
                  </a:cubicBezTo>
                  <a:cubicBezTo>
                    <a:pt x="152" y="232"/>
                    <a:pt x="152" y="232"/>
                    <a:pt x="152" y="232"/>
                  </a:cubicBezTo>
                  <a:cubicBezTo>
                    <a:pt x="152" y="199"/>
                    <a:pt x="152" y="199"/>
                    <a:pt x="152" y="199"/>
                  </a:cubicBezTo>
                  <a:cubicBezTo>
                    <a:pt x="152" y="199"/>
                    <a:pt x="152" y="199"/>
                    <a:pt x="152" y="199"/>
                  </a:cubicBezTo>
                  <a:cubicBezTo>
                    <a:pt x="153" y="199"/>
                    <a:pt x="153" y="199"/>
                    <a:pt x="153" y="199"/>
                  </a:cubicBezTo>
                  <a:cubicBezTo>
                    <a:pt x="153" y="199"/>
                    <a:pt x="153" y="199"/>
                    <a:pt x="153" y="199"/>
                  </a:cubicBezTo>
                  <a:cubicBezTo>
                    <a:pt x="153" y="199"/>
                    <a:pt x="153" y="199"/>
                    <a:pt x="153" y="199"/>
                  </a:cubicBezTo>
                  <a:cubicBezTo>
                    <a:pt x="153" y="199"/>
                    <a:pt x="153" y="199"/>
                    <a:pt x="153" y="199"/>
                  </a:cubicBezTo>
                  <a:cubicBezTo>
                    <a:pt x="153" y="199"/>
                    <a:pt x="153" y="199"/>
                    <a:pt x="153" y="199"/>
                  </a:cubicBezTo>
                  <a:cubicBezTo>
                    <a:pt x="153" y="199"/>
                    <a:pt x="153" y="199"/>
                    <a:pt x="153" y="199"/>
                  </a:cubicBezTo>
                  <a:cubicBezTo>
                    <a:pt x="153" y="198"/>
                    <a:pt x="153" y="198"/>
                    <a:pt x="153" y="198"/>
                  </a:cubicBezTo>
                  <a:cubicBezTo>
                    <a:pt x="153" y="198"/>
                    <a:pt x="153" y="198"/>
                    <a:pt x="153"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7"/>
                    <a:pt x="154" y="197"/>
                    <a:pt x="154" y="197"/>
                  </a:cubicBezTo>
                  <a:cubicBezTo>
                    <a:pt x="154" y="197"/>
                    <a:pt x="154" y="197"/>
                    <a:pt x="154" y="197"/>
                  </a:cubicBezTo>
                  <a:cubicBezTo>
                    <a:pt x="155" y="197"/>
                    <a:pt x="155" y="197"/>
                    <a:pt x="155" y="197"/>
                  </a:cubicBezTo>
                  <a:cubicBezTo>
                    <a:pt x="155" y="197"/>
                    <a:pt x="155" y="197"/>
                    <a:pt x="155" y="197"/>
                  </a:cubicBezTo>
                  <a:cubicBezTo>
                    <a:pt x="155" y="197"/>
                    <a:pt x="155" y="197"/>
                    <a:pt x="155" y="197"/>
                  </a:cubicBezTo>
                  <a:cubicBezTo>
                    <a:pt x="155" y="197"/>
                    <a:pt x="155" y="197"/>
                    <a:pt x="155" y="197"/>
                  </a:cubicBezTo>
                  <a:cubicBezTo>
                    <a:pt x="155" y="197"/>
                    <a:pt x="155" y="197"/>
                    <a:pt x="155" y="197"/>
                  </a:cubicBezTo>
                  <a:cubicBezTo>
                    <a:pt x="155" y="197"/>
                    <a:pt x="155" y="197"/>
                    <a:pt x="155" y="197"/>
                  </a:cubicBezTo>
                  <a:cubicBezTo>
                    <a:pt x="155" y="196"/>
                    <a:pt x="155" y="196"/>
                    <a:pt x="155" y="196"/>
                  </a:cubicBezTo>
                  <a:cubicBezTo>
                    <a:pt x="155" y="196"/>
                    <a:pt x="155" y="196"/>
                    <a:pt x="155" y="196"/>
                  </a:cubicBezTo>
                  <a:cubicBezTo>
                    <a:pt x="156" y="196"/>
                    <a:pt x="156" y="196"/>
                    <a:pt x="156" y="196"/>
                  </a:cubicBezTo>
                  <a:cubicBezTo>
                    <a:pt x="156" y="196"/>
                    <a:pt x="156" y="196"/>
                    <a:pt x="156" y="196"/>
                  </a:cubicBezTo>
                  <a:cubicBezTo>
                    <a:pt x="156" y="196"/>
                    <a:pt x="156" y="196"/>
                    <a:pt x="156" y="196"/>
                  </a:cubicBezTo>
                  <a:cubicBezTo>
                    <a:pt x="156" y="196"/>
                    <a:pt x="156" y="196"/>
                    <a:pt x="156" y="196"/>
                  </a:cubicBezTo>
                  <a:cubicBezTo>
                    <a:pt x="156" y="196"/>
                    <a:pt x="156" y="196"/>
                    <a:pt x="156" y="196"/>
                  </a:cubicBezTo>
                  <a:cubicBezTo>
                    <a:pt x="156" y="196"/>
                    <a:pt x="156" y="196"/>
                    <a:pt x="156" y="196"/>
                  </a:cubicBezTo>
                  <a:cubicBezTo>
                    <a:pt x="156" y="195"/>
                    <a:pt x="156" y="195"/>
                    <a:pt x="156" y="195"/>
                  </a:cubicBezTo>
                  <a:cubicBezTo>
                    <a:pt x="156" y="195"/>
                    <a:pt x="156" y="195"/>
                    <a:pt x="156"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5"/>
                    <a:pt x="157" y="195"/>
                    <a:pt x="157" y="195"/>
                  </a:cubicBezTo>
                  <a:cubicBezTo>
                    <a:pt x="157" y="194"/>
                    <a:pt x="157" y="194"/>
                    <a:pt x="157"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8" y="194"/>
                    <a:pt x="158" y="194"/>
                    <a:pt x="158" y="194"/>
                  </a:cubicBezTo>
                  <a:cubicBezTo>
                    <a:pt x="159" y="193"/>
                    <a:pt x="159" y="193"/>
                    <a:pt x="159" y="193"/>
                  </a:cubicBezTo>
                  <a:cubicBezTo>
                    <a:pt x="152" y="187"/>
                    <a:pt x="152" y="187"/>
                    <a:pt x="152" y="187"/>
                  </a:cubicBezTo>
                  <a:cubicBezTo>
                    <a:pt x="152" y="163"/>
                    <a:pt x="152" y="163"/>
                    <a:pt x="152" y="163"/>
                  </a:cubicBezTo>
                  <a:lnTo>
                    <a:pt x="164" y="174"/>
                  </a:lnTo>
                  <a:close/>
                  <a:moveTo>
                    <a:pt x="152" y="281"/>
                  </a:moveTo>
                  <a:cubicBezTo>
                    <a:pt x="138" y="267"/>
                    <a:pt x="138" y="267"/>
                    <a:pt x="138" y="267"/>
                  </a:cubicBezTo>
                  <a:cubicBezTo>
                    <a:pt x="138" y="238"/>
                    <a:pt x="138" y="238"/>
                    <a:pt x="138" y="238"/>
                  </a:cubicBezTo>
                  <a:cubicBezTo>
                    <a:pt x="152" y="253"/>
                    <a:pt x="152" y="253"/>
                    <a:pt x="152" y="253"/>
                  </a:cubicBezTo>
                  <a:cubicBezTo>
                    <a:pt x="152" y="281"/>
                    <a:pt x="152" y="281"/>
                    <a:pt x="152" y="281"/>
                  </a:cubicBezTo>
                  <a:close/>
                  <a:moveTo>
                    <a:pt x="138" y="9"/>
                  </a:moveTo>
                  <a:cubicBezTo>
                    <a:pt x="152" y="23"/>
                    <a:pt x="152" y="23"/>
                    <a:pt x="152" y="23"/>
                  </a:cubicBezTo>
                  <a:cubicBezTo>
                    <a:pt x="152" y="52"/>
                    <a:pt x="152" y="52"/>
                    <a:pt x="152" y="52"/>
                  </a:cubicBezTo>
                  <a:cubicBezTo>
                    <a:pt x="138" y="37"/>
                    <a:pt x="138" y="37"/>
                    <a:pt x="138" y="37"/>
                  </a:cubicBezTo>
                  <a:cubicBezTo>
                    <a:pt x="138" y="9"/>
                    <a:pt x="138" y="9"/>
                    <a:pt x="138" y="9"/>
                  </a:cubicBezTo>
                  <a:close/>
                  <a:moveTo>
                    <a:pt x="152" y="58"/>
                  </a:moveTo>
                  <a:cubicBezTo>
                    <a:pt x="152" y="79"/>
                    <a:pt x="152" y="79"/>
                    <a:pt x="152" y="79"/>
                  </a:cubicBezTo>
                  <a:cubicBezTo>
                    <a:pt x="144" y="88"/>
                    <a:pt x="144" y="88"/>
                    <a:pt x="144" y="88"/>
                  </a:cubicBezTo>
                  <a:cubicBezTo>
                    <a:pt x="144" y="88"/>
                    <a:pt x="144" y="88"/>
                    <a:pt x="144" y="88"/>
                  </a:cubicBezTo>
                  <a:cubicBezTo>
                    <a:pt x="143" y="88"/>
                    <a:pt x="143" y="88"/>
                    <a:pt x="143" y="88"/>
                  </a:cubicBezTo>
                  <a:cubicBezTo>
                    <a:pt x="143" y="88"/>
                    <a:pt x="143" y="88"/>
                    <a:pt x="143" y="88"/>
                  </a:cubicBezTo>
                  <a:cubicBezTo>
                    <a:pt x="143" y="88"/>
                    <a:pt x="143" y="88"/>
                    <a:pt x="143" y="88"/>
                  </a:cubicBezTo>
                  <a:cubicBezTo>
                    <a:pt x="143" y="89"/>
                    <a:pt x="143" y="89"/>
                    <a:pt x="143" y="89"/>
                  </a:cubicBezTo>
                  <a:cubicBezTo>
                    <a:pt x="143" y="89"/>
                    <a:pt x="143" y="89"/>
                    <a:pt x="143" y="89"/>
                  </a:cubicBezTo>
                  <a:cubicBezTo>
                    <a:pt x="143" y="89"/>
                    <a:pt x="143" y="89"/>
                    <a:pt x="143" y="89"/>
                  </a:cubicBezTo>
                  <a:cubicBezTo>
                    <a:pt x="143" y="89"/>
                    <a:pt x="143" y="89"/>
                    <a:pt x="143" y="89"/>
                  </a:cubicBezTo>
                  <a:cubicBezTo>
                    <a:pt x="142" y="89"/>
                    <a:pt x="142" y="89"/>
                    <a:pt x="142" y="89"/>
                  </a:cubicBezTo>
                  <a:cubicBezTo>
                    <a:pt x="142" y="89"/>
                    <a:pt x="142" y="89"/>
                    <a:pt x="142" y="89"/>
                  </a:cubicBezTo>
                  <a:cubicBezTo>
                    <a:pt x="142" y="89"/>
                    <a:pt x="142" y="89"/>
                    <a:pt x="142" y="89"/>
                  </a:cubicBezTo>
                  <a:cubicBezTo>
                    <a:pt x="142" y="90"/>
                    <a:pt x="142" y="90"/>
                    <a:pt x="142" y="90"/>
                  </a:cubicBezTo>
                  <a:cubicBezTo>
                    <a:pt x="142" y="90"/>
                    <a:pt x="142" y="90"/>
                    <a:pt x="142" y="90"/>
                  </a:cubicBezTo>
                  <a:cubicBezTo>
                    <a:pt x="142" y="90"/>
                    <a:pt x="142" y="90"/>
                    <a:pt x="142" y="90"/>
                  </a:cubicBezTo>
                  <a:cubicBezTo>
                    <a:pt x="142" y="90"/>
                    <a:pt x="142" y="90"/>
                    <a:pt x="142" y="90"/>
                  </a:cubicBezTo>
                  <a:cubicBezTo>
                    <a:pt x="142" y="90"/>
                    <a:pt x="142" y="90"/>
                    <a:pt x="142" y="90"/>
                  </a:cubicBezTo>
                  <a:cubicBezTo>
                    <a:pt x="141" y="90"/>
                    <a:pt x="141" y="90"/>
                    <a:pt x="141" y="90"/>
                  </a:cubicBezTo>
                  <a:cubicBezTo>
                    <a:pt x="141" y="90"/>
                    <a:pt x="141" y="90"/>
                    <a:pt x="141" y="90"/>
                  </a:cubicBezTo>
                  <a:cubicBezTo>
                    <a:pt x="141" y="91"/>
                    <a:pt x="141" y="91"/>
                    <a:pt x="141" y="91"/>
                  </a:cubicBezTo>
                  <a:cubicBezTo>
                    <a:pt x="141" y="91"/>
                    <a:pt x="141" y="91"/>
                    <a:pt x="141" y="91"/>
                  </a:cubicBezTo>
                  <a:cubicBezTo>
                    <a:pt x="141" y="91"/>
                    <a:pt x="141" y="91"/>
                    <a:pt x="141" y="91"/>
                  </a:cubicBezTo>
                  <a:cubicBezTo>
                    <a:pt x="141" y="91"/>
                    <a:pt x="141" y="91"/>
                    <a:pt x="141" y="91"/>
                  </a:cubicBezTo>
                  <a:cubicBezTo>
                    <a:pt x="141" y="91"/>
                    <a:pt x="141" y="91"/>
                    <a:pt x="141" y="91"/>
                  </a:cubicBezTo>
                  <a:cubicBezTo>
                    <a:pt x="140" y="91"/>
                    <a:pt x="140" y="91"/>
                    <a:pt x="140" y="91"/>
                  </a:cubicBezTo>
                  <a:cubicBezTo>
                    <a:pt x="140" y="91"/>
                    <a:pt x="140" y="91"/>
                    <a:pt x="140" y="91"/>
                  </a:cubicBezTo>
                  <a:cubicBezTo>
                    <a:pt x="140" y="91"/>
                    <a:pt x="140" y="91"/>
                    <a:pt x="140" y="91"/>
                  </a:cubicBezTo>
                  <a:cubicBezTo>
                    <a:pt x="140" y="91"/>
                    <a:pt x="140" y="91"/>
                    <a:pt x="140" y="91"/>
                  </a:cubicBezTo>
                  <a:cubicBezTo>
                    <a:pt x="140" y="92"/>
                    <a:pt x="140" y="92"/>
                    <a:pt x="140" y="92"/>
                  </a:cubicBezTo>
                  <a:cubicBezTo>
                    <a:pt x="140" y="92"/>
                    <a:pt x="140" y="92"/>
                    <a:pt x="140" y="92"/>
                  </a:cubicBezTo>
                  <a:cubicBezTo>
                    <a:pt x="140" y="92"/>
                    <a:pt x="140" y="92"/>
                    <a:pt x="140" y="92"/>
                  </a:cubicBezTo>
                  <a:cubicBezTo>
                    <a:pt x="139" y="92"/>
                    <a:pt x="139" y="92"/>
                    <a:pt x="139" y="92"/>
                  </a:cubicBezTo>
                  <a:cubicBezTo>
                    <a:pt x="139" y="92"/>
                    <a:pt x="139" y="92"/>
                    <a:pt x="139" y="92"/>
                  </a:cubicBezTo>
                  <a:cubicBezTo>
                    <a:pt x="139" y="92"/>
                    <a:pt x="139" y="92"/>
                    <a:pt x="139" y="92"/>
                  </a:cubicBezTo>
                  <a:cubicBezTo>
                    <a:pt x="139" y="92"/>
                    <a:pt x="139" y="92"/>
                    <a:pt x="139" y="92"/>
                  </a:cubicBezTo>
                  <a:cubicBezTo>
                    <a:pt x="139" y="93"/>
                    <a:pt x="139" y="93"/>
                    <a:pt x="139" y="93"/>
                  </a:cubicBezTo>
                  <a:cubicBezTo>
                    <a:pt x="139" y="93"/>
                    <a:pt x="139" y="93"/>
                    <a:pt x="139" y="93"/>
                  </a:cubicBezTo>
                  <a:cubicBezTo>
                    <a:pt x="139" y="93"/>
                    <a:pt x="139" y="93"/>
                    <a:pt x="139" y="93"/>
                  </a:cubicBezTo>
                  <a:cubicBezTo>
                    <a:pt x="138" y="93"/>
                    <a:pt x="138" y="93"/>
                    <a:pt x="138" y="93"/>
                  </a:cubicBezTo>
                  <a:cubicBezTo>
                    <a:pt x="138" y="93"/>
                    <a:pt x="138" y="93"/>
                    <a:pt x="138" y="93"/>
                  </a:cubicBezTo>
                  <a:cubicBezTo>
                    <a:pt x="138" y="93"/>
                    <a:pt x="138" y="93"/>
                    <a:pt x="138" y="93"/>
                  </a:cubicBezTo>
                  <a:cubicBezTo>
                    <a:pt x="138" y="93"/>
                    <a:pt x="138" y="93"/>
                    <a:pt x="138" y="93"/>
                  </a:cubicBezTo>
                  <a:cubicBezTo>
                    <a:pt x="138" y="94"/>
                    <a:pt x="138" y="94"/>
                    <a:pt x="138" y="94"/>
                  </a:cubicBezTo>
                  <a:cubicBezTo>
                    <a:pt x="138" y="94"/>
                    <a:pt x="138" y="94"/>
                    <a:pt x="138" y="94"/>
                  </a:cubicBezTo>
                  <a:cubicBezTo>
                    <a:pt x="138" y="58"/>
                    <a:pt x="138" y="58"/>
                    <a:pt x="138" y="58"/>
                  </a:cubicBezTo>
                  <a:cubicBezTo>
                    <a:pt x="145" y="65"/>
                    <a:pt x="145" y="65"/>
                    <a:pt x="145" y="65"/>
                  </a:cubicBezTo>
                  <a:cubicBezTo>
                    <a:pt x="152" y="58"/>
                    <a:pt x="152" y="58"/>
                    <a:pt x="152" y="58"/>
                  </a:cubicBezTo>
                  <a:close/>
                  <a:moveTo>
                    <a:pt x="152" y="129"/>
                  </a:moveTo>
                  <a:cubicBezTo>
                    <a:pt x="152" y="150"/>
                    <a:pt x="152" y="150"/>
                    <a:pt x="152" y="150"/>
                  </a:cubicBezTo>
                  <a:cubicBezTo>
                    <a:pt x="146" y="156"/>
                    <a:pt x="146" y="156"/>
                    <a:pt x="146" y="156"/>
                  </a:cubicBezTo>
                  <a:cubicBezTo>
                    <a:pt x="152" y="163"/>
                    <a:pt x="152" y="163"/>
                    <a:pt x="152" y="163"/>
                  </a:cubicBezTo>
                  <a:cubicBezTo>
                    <a:pt x="152" y="187"/>
                    <a:pt x="152" y="187"/>
                    <a:pt x="152" y="187"/>
                  </a:cubicBezTo>
                  <a:cubicBezTo>
                    <a:pt x="138" y="173"/>
                    <a:pt x="138" y="173"/>
                    <a:pt x="138" y="173"/>
                  </a:cubicBezTo>
                  <a:cubicBezTo>
                    <a:pt x="138" y="143"/>
                    <a:pt x="138" y="143"/>
                    <a:pt x="138" y="143"/>
                  </a:cubicBezTo>
                  <a:cubicBezTo>
                    <a:pt x="138" y="143"/>
                    <a:pt x="138" y="143"/>
                    <a:pt x="138" y="143"/>
                  </a:cubicBezTo>
                  <a:cubicBezTo>
                    <a:pt x="138" y="143"/>
                    <a:pt x="138" y="143"/>
                    <a:pt x="138" y="143"/>
                  </a:cubicBezTo>
                  <a:cubicBezTo>
                    <a:pt x="138" y="142"/>
                    <a:pt x="138" y="142"/>
                    <a:pt x="138" y="142"/>
                  </a:cubicBezTo>
                  <a:cubicBezTo>
                    <a:pt x="139" y="142"/>
                    <a:pt x="139" y="142"/>
                    <a:pt x="139" y="142"/>
                  </a:cubicBezTo>
                  <a:cubicBezTo>
                    <a:pt x="139" y="142"/>
                    <a:pt x="139" y="142"/>
                    <a:pt x="139" y="142"/>
                  </a:cubicBezTo>
                  <a:cubicBezTo>
                    <a:pt x="139" y="142"/>
                    <a:pt x="139" y="142"/>
                    <a:pt x="139" y="142"/>
                  </a:cubicBezTo>
                  <a:cubicBezTo>
                    <a:pt x="139" y="142"/>
                    <a:pt x="139" y="142"/>
                    <a:pt x="139" y="142"/>
                  </a:cubicBezTo>
                  <a:cubicBezTo>
                    <a:pt x="139" y="142"/>
                    <a:pt x="139" y="142"/>
                    <a:pt x="139" y="142"/>
                  </a:cubicBezTo>
                  <a:cubicBezTo>
                    <a:pt x="139" y="142"/>
                    <a:pt x="139" y="142"/>
                    <a:pt x="139" y="142"/>
                  </a:cubicBezTo>
                  <a:cubicBezTo>
                    <a:pt x="139" y="141"/>
                    <a:pt x="139" y="141"/>
                    <a:pt x="139" y="141"/>
                  </a:cubicBezTo>
                  <a:cubicBezTo>
                    <a:pt x="140" y="141"/>
                    <a:pt x="140" y="141"/>
                    <a:pt x="140" y="141"/>
                  </a:cubicBezTo>
                  <a:cubicBezTo>
                    <a:pt x="140" y="141"/>
                    <a:pt x="140" y="141"/>
                    <a:pt x="140" y="141"/>
                  </a:cubicBezTo>
                  <a:cubicBezTo>
                    <a:pt x="140" y="141"/>
                    <a:pt x="140" y="141"/>
                    <a:pt x="140" y="141"/>
                  </a:cubicBezTo>
                  <a:cubicBezTo>
                    <a:pt x="140" y="141"/>
                    <a:pt x="140" y="141"/>
                    <a:pt x="140" y="141"/>
                  </a:cubicBezTo>
                  <a:cubicBezTo>
                    <a:pt x="140" y="141"/>
                    <a:pt x="140" y="141"/>
                    <a:pt x="140" y="141"/>
                  </a:cubicBezTo>
                  <a:cubicBezTo>
                    <a:pt x="140" y="140"/>
                    <a:pt x="140" y="140"/>
                    <a:pt x="140" y="140"/>
                  </a:cubicBezTo>
                  <a:cubicBezTo>
                    <a:pt x="141" y="140"/>
                    <a:pt x="141" y="140"/>
                    <a:pt x="141" y="140"/>
                  </a:cubicBezTo>
                  <a:cubicBezTo>
                    <a:pt x="141" y="140"/>
                    <a:pt x="141" y="140"/>
                    <a:pt x="141" y="140"/>
                  </a:cubicBezTo>
                  <a:cubicBezTo>
                    <a:pt x="141" y="140"/>
                    <a:pt x="141" y="140"/>
                    <a:pt x="141" y="140"/>
                  </a:cubicBezTo>
                  <a:cubicBezTo>
                    <a:pt x="141" y="140"/>
                    <a:pt x="141" y="140"/>
                    <a:pt x="141" y="140"/>
                  </a:cubicBezTo>
                  <a:cubicBezTo>
                    <a:pt x="141" y="140"/>
                    <a:pt x="141" y="140"/>
                    <a:pt x="141" y="140"/>
                  </a:cubicBezTo>
                  <a:cubicBezTo>
                    <a:pt x="141" y="139"/>
                    <a:pt x="141" y="139"/>
                    <a:pt x="141" y="139"/>
                  </a:cubicBezTo>
                  <a:cubicBezTo>
                    <a:pt x="142" y="139"/>
                    <a:pt x="142" y="139"/>
                    <a:pt x="142" y="139"/>
                  </a:cubicBezTo>
                  <a:cubicBezTo>
                    <a:pt x="142" y="139"/>
                    <a:pt x="142" y="139"/>
                    <a:pt x="142" y="139"/>
                  </a:cubicBezTo>
                  <a:cubicBezTo>
                    <a:pt x="142" y="139"/>
                    <a:pt x="142" y="139"/>
                    <a:pt x="142" y="139"/>
                  </a:cubicBezTo>
                  <a:cubicBezTo>
                    <a:pt x="142" y="139"/>
                    <a:pt x="142" y="139"/>
                    <a:pt x="142" y="139"/>
                  </a:cubicBezTo>
                  <a:cubicBezTo>
                    <a:pt x="142" y="139"/>
                    <a:pt x="142" y="139"/>
                    <a:pt x="142" y="139"/>
                  </a:cubicBezTo>
                  <a:cubicBezTo>
                    <a:pt x="142" y="139"/>
                    <a:pt x="142" y="139"/>
                    <a:pt x="142" y="139"/>
                  </a:cubicBezTo>
                  <a:cubicBezTo>
                    <a:pt x="143" y="138"/>
                    <a:pt x="143" y="138"/>
                    <a:pt x="143" y="138"/>
                  </a:cubicBezTo>
                  <a:cubicBezTo>
                    <a:pt x="143" y="138"/>
                    <a:pt x="143" y="138"/>
                    <a:pt x="143" y="138"/>
                  </a:cubicBezTo>
                  <a:cubicBezTo>
                    <a:pt x="143" y="138"/>
                    <a:pt x="143" y="138"/>
                    <a:pt x="143" y="138"/>
                  </a:cubicBezTo>
                  <a:cubicBezTo>
                    <a:pt x="143" y="138"/>
                    <a:pt x="143" y="138"/>
                    <a:pt x="143" y="138"/>
                  </a:cubicBezTo>
                  <a:cubicBezTo>
                    <a:pt x="143" y="138"/>
                    <a:pt x="143" y="138"/>
                    <a:pt x="143" y="138"/>
                  </a:cubicBezTo>
                  <a:cubicBezTo>
                    <a:pt x="143" y="138"/>
                    <a:pt x="143" y="138"/>
                    <a:pt x="143" y="138"/>
                  </a:cubicBezTo>
                  <a:cubicBezTo>
                    <a:pt x="143" y="137"/>
                    <a:pt x="143" y="137"/>
                    <a:pt x="143" y="137"/>
                  </a:cubicBezTo>
                  <a:cubicBezTo>
                    <a:pt x="144" y="137"/>
                    <a:pt x="144" y="137"/>
                    <a:pt x="144" y="137"/>
                  </a:cubicBezTo>
                  <a:cubicBezTo>
                    <a:pt x="144" y="137"/>
                    <a:pt x="144" y="137"/>
                    <a:pt x="144" y="137"/>
                  </a:cubicBezTo>
                  <a:cubicBezTo>
                    <a:pt x="144" y="137"/>
                    <a:pt x="144" y="137"/>
                    <a:pt x="144" y="137"/>
                  </a:cubicBezTo>
                  <a:cubicBezTo>
                    <a:pt x="144" y="137"/>
                    <a:pt x="144" y="137"/>
                    <a:pt x="144" y="137"/>
                  </a:cubicBezTo>
                  <a:cubicBezTo>
                    <a:pt x="144" y="137"/>
                    <a:pt x="144" y="137"/>
                    <a:pt x="144" y="137"/>
                  </a:cubicBezTo>
                  <a:cubicBezTo>
                    <a:pt x="144" y="136"/>
                    <a:pt x="144" y="136"/>
                    <a:pt x="144" y="136"/>
                  </a:cubicBezTo>
                  <a:cubicBezTo>
                    <a:pt x="145" y="136"/>
                    <a:pt x="145" y="136"/>
                    <a:pt x="145" y="136"/>
                  </a:cubicBezTo>
                  <a:cubicBezTo>
                    <a:pt x="145" y="136"/>
                    <a:pt x="145" y="136"/>
                    <a:pt x="145" y="136"/>
                  </a:cubicBezTo>
                  <a:cubicBezTo>
                    <a:pt x="145" y="136"/>
                    <a:pt x="145" y="136"/>
                    <a:pt x="145" y="136"/>
                  </a:cubicBezTo>
                  <a:cubicBezTo>
                    <a:pt x="145" y="136"/>
                    <a:pt x="145" y="136"/>
                    <a:pt x="145" y="136"/>
                  </a:cubicBezTo>
                  <a:cubicBezTo>
                    <a:pt x="145" y="136"/>
                    <a:pt x="145" y="136"/>
                    <a:pt x="145" y="136"/>
                  </a:cubicBezTo>
                  <a:cubicBezTo>
                    <a:pt x="145" y="135"/>
                    <a:pt x="145" y="135"/>
                    <a:pt x="145" y="135"/>
                  </a:cubicBezTo>
                  <a:cubicBezTo>
                    <a:pt x="146" y="135"/>
                    <a:pt x="146" y="135"/>
                    <a:pt x="146" y="135"/>
                  </a:cubicBezTo>
                  <a:cubicBezTo>
                    <a:pt x="152" y="129"/>
                    <a:pt x="152" y="129"/>
                    <a:pt x="152" y="129"/>
                  </a:cubicBezTo>
                  <a:close/>
                  <a:moveTo>
                    <a:pt x="152" y="199"/>
                  </a:moveTo>
                  <a:cubicBezTo>
                    <a:pt x="152" y="232"/>
                    <a:pt x="152" y="232"/>
                    <a:pt x="152" y="232"/>
                  </a:cubicBezTo>
                  <a:cubicBezTo>
                    <a:pt x="147" y="227"/>
                    <a:pt x="147" y="227"/>
                    <a:pt x="147" y="227"/>
                  </a:cubicBezTo>
                  <a:cubicBezTo>
                    <a:pt x="138" y="235"/>
                    <a:pt x="138" y="235"/>
                    <a:pt x="138" y="235"/>
                  </a:cubicBezTo>
                  <a:cubicBezTo>
                    <a:pt x="138" y="214"/>
                    <a:pt x="138" y="214"/>
                    <a:pt x="138" y="214"/>
                  </a:cubicBezTo>
                  <a:cubicBezTo>
                    <a:pt x="148" y="204"/>
                    <a:pt x="148" y="204"/>
                    <a:pt x="148" y="204"/>
                  </a:cubicBezTo>
                  <a:cubicBezTo>
                    <a:pt x="148" y="204"/>
                    <a:pt x="148" y="204"/>
                    <a:pt x="148" y="204"/>
                  </a:cubicBezTo>
                  <a:cubicBezTo>
                    <a:pt x="148" y="204"/>
                    <a:pt x="148" y="204"/>
                    <a:pt x="148" y="204"/>
                  </a:cubicBezTo>
                  <a:cubicBezTo>
                    <a:pt x="148" y="203"/>
                    <a:pt x="148" y="203"/>
                    <a:pt x="148"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3"/>
                    <a:pt x="149" y="203"/>
                    <a:pt x="149" y="203"/>
                  </a:cubicBezTo>
                  <a:cubicBezTo>
                    <a:pt x="149" y="202"/>
                    <a:pt x="149" y="202"/>
                    <a:pt x="149"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2"/>
                    <a:pt x="150" y="202"/>
                    <a:pt x="150" y="202"/>
                  </a:cubicBezTo>
                  <a:cubicBezTo>
                    <a:pt x="150" y="201"/>
                    <a:pt x="150" y="201"/>
                    <a:pt x="150"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1"/>
                    <a:pt x="151" y="201"/>
                    <a:pt x="151" y="201"/>
                  </a:cubicBezTo>
                  <a:cubicBezTo>
                    <a:pt x="151" y="200"/>
                    <a:pt x="151" y="200"/>
                    <a:pt x="151" y="200"/>
                  </a:cubicBezTo>
                  <a:cubicBezTo>
                    <a:pt x="151" y="200"/>
                    <a:pt x="151" y="200"/>
                    <a:pt x="151"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cubicBezTo>
                    <a:pt x="152" y="200"/>
                    <a:pt x="152" y="200"/>
                    <a:pt x="152" y="200"/>
                  </a:cubicBezTo>
                  <a:lnTo>
                    <a:pt x="152" y="199"/>
                  </a:lnTo>
                  <a:close/>
                  <a:moveTo>
                    <a:pt x="138" y="267"/>
                  </a:moveTo>
                  <a:cubicBezTo>
                    <a:pt x="127" y="255"/>
                    <a:pt x="127" y="255"/>
                    <a:pt x="127" y="255"/>
                  </a:cubicBezTo>
                  <a:cubicBezTo>
                    <a:pt x="127" y="225"/>
                    <a:pt x="127" y="225"/>
                    <a:pt x="127" y="225"/>
                  </a:cubicBezTo>
                  <a:cubicBezTo>
                    <a:pt x="138" y="214"/>
                    <a:pt x="138" y="214"/>
                    <a:pt x="138" y="214"/>
                  </a:cubicBezTo>
                  <a:cubicBezTo>
                    <a:pt x="138" y="235"/>
                    <a:pt x="138" y="235"/>
                    <a:pt x="138" y="235"/>
                  </a:cubicBezTo>
                  <a:cubicBezTo>
                    <a:pt x="136" y="237"/>
                    <a:pt x="136" y="237"/>
                    <a:pt x="136" y="237"/>
                  </a:cubicBezTo>
                  <a:cubicBezTo>
                    <a:pt x="138" y="238"/>
                    <a:pt x="138" y="238"/>
                    <a:pt x="138" y="238"/>
                  </a:cubicBezTo>
                  <a:cubicBezTo>
                    <a:pt x="138" y="267"/>
                    <a:pt x="138" y="267"/>
                    <a:pt x="138" y="267"/>
                  </a:cubicBezTo>
                  <a:close/>
                  <a:moveTo>
                    <a:pt x="127" y="3"/>
                  </a:moveTo>
                  <a:cubicBezTo>
                    <a:pt x="129" y="0"/>
                    <a:pt x="129" y="0"/>
                    <a:pt x="129" y="0"/>
                  </a:cubicBezTo>
                  <a:cubicBezTo>
                    <a:pt x="138" y="9"/>
                    <a:pt x="138" y="9"/>
                    <a:pt x="138" y="9"/>
                  </a:cubicBezTo>
                  <a:cubicBezTo>
                    <a:pt x="138" y="37"/>
                    <a:pt x="138" y="37"/>
                    <a:pt x="138" y="37"/>
                  </a:cubicBezTo>
                  <a:cubicBezTo>
                    <a:pt x="131" y="30"/>
                    <a:pt x="131" y="30"/>
                    <a:pt x="131" y="30"/>
                  </a:cubicBezTo>
                  <a:cubicBezTo>
                    <a:pt x="127" y="34"/>
                    <a:pt x="127" y="34"/>
                    <a:pt x="127" y="34"/>
                  </a:cubicBezTo>
                  <a:cubicBezTo>
                    <a:pt x="127" y="3"/>
                    <a:pt x="127" y="3"/>
                    <a:pt x="127" y="3"/>
                  </a:cubicBezTo>
                  <a:close/>
                  <a:moveTo>
                    <a:pt x="138" y="58"/>
                  </a:moveTo>
                  <a:cubicBezTo>
                    <a:pt x="138" y="94"/>
                    <a:pt x="138" y="94"/>
                    <a:pt x="138" y="94"/>
                  </a:cubicBezTo>
                  <a:cubicBezTo>
                    <a:pt x="138" y="94"/>
                    <a:pt x="138" y="94"/>
                    <a:pt x="138" y="94"/>
                  </a:cubicBezTo>
                  <a:cubicBezTo>
                    <a:pt x="138" y="94"/>
                    <a:pt x="138" y="94"/>
                    <a:pt x="138" y="94"/>
                  </a:cubicBezTo>
                  <a:cubicBezTo>
                    <a:pt x="138" y="94"/>
                    <a:pt x="138" y="94"/>
                    <a:pt x="138" y="94"/>
                  </a:cubicBezTo>
                  <a:cubicBezTo>
                    <a:pt x="138" y="94"/>
                    <a:pt x="138" y="94"/>
                    <a:pt x="138" y="94"/>
                  </a:cubicBezTo>
                  <a:cubicBezTo>
                    <a:pt x="137" y="94"/>
                    <a:pt x="137" y="94"/>
                    <a:pt x="137" y="94"/>
                  </a:cubicBezTo>
                  <a:cubicBezTo>
                    <a:pt x="137" y="94"/>
                    <a:pt x="137" y="94"/>
                    <a:pt x="137" y="94"/>
                  </a:cubicBezTo>
                  <a:cubicBezTo>
                    <a:pt x="137" y="94"/>
                    <a:pt x="137" y="94"/>
                    <a:pt x="137" y="94"/>
                  </a:cubicBezTo>
                  <a:cubicBezTo>
                    <a:pt x="137" y="95"/>
                    <a:pt x="137" y="95"/>
                    <a:pt x="137" y="95"/>
                  </a:cubicBezTo>
                  <a:cubicBezTo>
                    <a:pt x="137" y="95"/>
                    <a:pt x="137" y="95"/>
                    <a:pt x="137" y="95"/>
                  </a:cubicBezTo>
                  <a:cubicBezTo>
                    <a:pt x="137" y="95"/>
                    <a:pt x="137" y="95"/>
                    <a:pt x="137" y="95"/>
                  </a:cubicBezTo>
                  <a:cubicBezTo>
                    <a:pt x="137" y="95"/>
                    <a:pt x="137" y="95"/>
                    <a:pt x="137" y="95"/>
                  </a:cubicBezTo>
                  <a:cubicBezTo>
                    <a:pt x="136" y="95"/>
                    <a:pt x="136" y="95"/>
                    <a:pt x="136" y="95"/>
                  </a:cubicBezTo>
                  <a:cubicBezTo>
                    <a:pt x="136" y="95"/>
                    <a:pt x="136" y="95"/>
                    <a:pt x="136" y="95"/>
                  </a:cubicBezTo>
                  <a:cubicBezTo>
                    <a:pt x="136" y="95"/>
                    <a:pt x="136" y="95"/>
                    <a:pt x="136" y="95"/>
                  </a:cubicBezTo>
                  <a:cubicBezTo>
                    <a:pt x="136" y="96"/>
                    <a:pt x="136" y="96"/>
                    <a:pt x="136" y="96"/>
                  </a:cubicBezTo>
                  <a:cubicBezTo>
                    <a:pt x="136" y="96"/>
                    <a:pt x="136" y="96"/>
                    <a:pt x="136" y="96"/>
                  </a:cubicBezTo>
                  <a:cubicBezTo>
                    <a:pt x="136" y="96"/>
                    <a:pt x="136" y="96"/>
                    <a:pt x="136" y="96"/>
                  </a:cubicBezTo>
                  <a:cubicBezTo>
                    <a:pt x="136" y="96"/>
                    <a:pt x="136" y="96"/>
                    <a:pt x="136" y="96"/>
                  </a:cubicBezTo>
                  <a:cubicBezTo>
                    <a:pt x="135" y="96"/>
                    <a:pt x="135" y="96"/>
                    <a:pt x="135" y="96"/>
                  </a:cubicBezTo>
                  <a:cubicBezTo>
                    <a:pt x="135" y="96"/>
                    <a:pt x="135" y="96"/>
                    <a:pt x="135" y="96"/>
                  </a:cubicBezTo>
                  <a:cubicBezTo>
                    <a:pt x="135" y="96"/>
                    <a:pt x="135" y="96"/>
                    <a:pt x="135" y="96"/>
                  </a:cubicBezTo>
                  <a:cubicBezTo>
                    <a:pt x="135" y="96"/>
                    <a:pt x="135" y="96"/>
                    <a:pt x="135" y="96"/>
                  </a:cubicBezTo>
                  <a:cubicBezTo>
                    <a:pt x="135" y="97"/>
                    <a:pt x="135" y="97"/>
                    <a:pt x="135" y="97"/>
                  </a:cubicBezTo>
                  <a:cubicBezTo>
                    <a:pt x="135" y="97"/>
                    <a:pt x="135" y="97"/>
                    <a:pt x="135" y="97"/>
                  </a:cubicBezTo>
                  <a:cubicBezTo>
                    <a:pt x="135" y="97"/>
                    <a:pt x="135" y="97"/>
                    <a:pt x="135" y="97"/>
                  </a:cubicBezTo>
                  <a:cubicBezTo>
                    <a:pt x="135" y="97"/>
                    <a:pt x="135" y="97"/>
                    <a:pt x="135" y="97"/>
                  </a:cubicBezTo>
                  <a:cubicBezTo>
                    <a:pt x="134" y="97"/>
                    <a:pt x="134" y="97"/>
                    <a:pt x="134" y="97"/>
                  </a:cubicBezTo>
                  <a:cubicBezTo>
                    <a:pt x="134" y="97"/>
                    <a:pt x="134" y="97"/>
                    <a:pt x="134" y="97"/>
                  </a:cubicBezTo>
                  <a:cubicBezTo>
                    <a:pt x="134" y="97"/>
                    <a:pt x="134" y="97"/>
                    <a:pt x="134" y="97"/>
                  </a:cubicBezTo>
                  <a:cubicBezTo>
                    <a:pt x="134" y="97"/>
                    <a:pt x="134" y="97"/>
                    <a:pt x="134" y="97"/>
                  </a:cubicBezTo>
                  <a:cubicBezTo>
                    <a:pt x="134" y="98"/>
                    <a:pt x="134" y="98"/>
                    <a:pt x="134" y="98"/>
                  </a:cubicBezTo>
                  <a:cubicBezTo>
                    <a:pt x="134" y="98"/>
                    <a:pt x="134" y="98"/>
                    <a:pt x="134" y="98"/>
                  </a:cubicBezTo>
                  <a:cubicBezTo>
                    <a:pt x="134" y="98"/>
                    <a:pt x="134" y="98"/>
                    <a:pt x="134" y="98"/>
                  </a:cubicBezTo>
                  <a:cubicBezTo>
                    <a:pt x="133" y="98"/>
                    <a:pt x="133" y="98"/>
                    <a:pt x="133" y="98"/>
                  </a:cubicBezTo>
                  <a:cubicBezTo>
                    <a:pt x="127" y="105"/>
                    <a:pt x="127" y="105"/>
                    <a:pt x="127" y="105"/>
                  </a:cubicBezTo>
                  <a:cubicBezTo>
                    <a:pt x="127" y="83"/>
                    <a:pt x="127" y="83"/>
                    <a:pt x="127" y="83"/>
                  </a:cubicBezTo>
                  <a:cubicBezTo>
                    <a:pt x="127" y="83"/>
                    <a:pt x="127" y="83"/>
                    <a:pt x="127" y="83"/>
                  </a:cubicBezTo>
                  <a:cubicBezTo>
                    <a:pt x="127" y="83"/>
                    <a:pt x="127" y="83"/>
                    <a:pt x="127" y="83"/>
                  </a:cubicBezTo>
                  <a:cubicBezTo>
                    <a:pt x="127" y="83"/>
                    <a:pt x="127" y="83"/>
                    <a:pt x="127" y="83"/>
                  </a:cubicBezTo>
                  <a:cubicBezTo>
                    <a:pt x="127" y="83"/>
                    <a:pt x="127" y="83"/>
                    <a:pt x="127" y="83"/>
                  </a:cubicBezTo>
                  <a:cubicBezTo>
                    <a:pt x="127" y="83"/>
                    <a:pt x="127" y="83"/>
                    <a:pt x="127" y="83"/>
                  </a:cubicBezTo>
                  <a:cubicBezTo>
                    <a:pt x="127" y="82"/>
                    <a:pt x="127" y="82"/>
                    <a:pt x="127"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2"/>
                    <a:pt x="128" y="82"/>
                    <a:pt x="128" y="82"/>
                  </a:cubicBezTo>
                  <a:cubicBezTo>
                    <a:pt x="128" y="81"/>
                    <a:pt x="128" y="81"/>
                    <a:pt x="128" y="81"/>
                  </a:cubicBezTo>
                  <a:cubicBezTo>
                    <a:pt x="129" y="81"/>
                    <a:pt x="129" y="81"/>
                    <a:pt x="129" y="81"/>
                  </a:cubicBezTo>
                  <a:cubicBezTo>
                    <a:pt x="129" y="81"/>
                    <a:pt x="129" y="81"/>
                    <a:pt x="129" y="81"/>
                  </a:cubicBezTo>
                  <a:cubicBezTo>
                    <a:pt x="129" y="81"/>
                    <a:pt x="129" y="81"/>
                    <a:pt x="129" y="81"/>
                  </a:cubicBezTo>
                  <a:cubicBezTo>
                    <a:pt x="129" y="81"/>
                    <a:pt x="129" y="81"/>
                    <a:pt x="129" y="81"/>
                  </a:cubicBezTo>
                  <a:cubicBezTo>
                    <a:pt x="129" y="81"/>
                    <a:pt x="129" y="81"/>
                    <a:pt x="129" y="81"/>
                  </a:cubicBezTo>
                  <a:cubicBezTo>
                    <a:pt x="129" y="81"/>
                    <a:pt x="129" y="81"/>
                    <a:pt x="129" y="81"/>
                  </a:cubicBezTo>
                  <a:cubicBezTo>
                    <a:pt x="129" y="80"/>
                    <a:pt x="129" y="80"/>
                    <a:pt x="129" y="80"/>
                  </a:cubicBezTo>
                  <a:cubicBezTo>
                    <a:pt x="130" y="80"/>
                    <a:pt x="130" y="80"/>
                    <a:pt x="130" y="80"/>
                  </a:cubicBezTo>
                  <a:cubicBezTo>
                    <a:pt x="130" y="80"/>
                    <a:pt x="130" y="80"/>
                    <a:pt x="130" y="80"/>
                  </a:cubicBezTo>
                  <a:cubicBezTo>
                    <a:pt x="130" y="80"/>
                    <a:pt x="130" y="80"/>
                    <a:pt x="130" y="80"/>
                  </a:cubicBezTo>
                  <a:cubicBezTo>
                    <a:pt x="130" y="80"/>
                    <a:pt x="130" y="80"/>
                    <a:pt x="130" y="80"/>
                  </a:cubicBezTo>
                  <a:cubicBezTo>
                    <a:pt x="130" y="80"/>
                    <a:pt x="130" y="80"/>
                    <a:pt x="130" y="80"/>
                  </a:cubicBezTo>
                  <a:cubicBezTo>
                    <a:pt x="130" y="79"/>
                    <a:pt x="130" y="79"/>
                    <a:pt x="130" y="79"/>
                  </a:cubicBezTo>
                  <a:cubicBezTo>
                    <a:pt x="130" y="79"/>
                    <a:pt x="130" y="79"/>
                    <a:pt x="130" y="79"/>
                  </a:cubicBezTo>
                  <a:cubicBezTo>
                    <a:pt x="131" y="79"/>
                    <a:pt x="131" y="79"/>
                    <a:pt x="131" y="79"/>
                  </a:cubicBezTo>
                  <a:cubicBezTo>
                    <a:pt x="131" y="79"/>
                    <a:pt x="131" y="79"/>
                    <a:pt x="131" y="79"/>
                  </a:cubicBezTo>
                  <a:cubicBezTo>
                    <a:pt x="131" y="79"/>
                    <a:pt x="131" y="79"/>
                    <a:pt x="131" y="79"/>
                  </a:cubicBezTo>
                  <a:cubicBezTo>
                    <a:pt x="131" y="79"/>
                    <a:pt x="131" y="79"/>
                    <a:pt x="131" y="79"/>
                  </a:cubicBezTo>
                  <a:cubicBezTo>
                    <a:pt x="131" y="79"/>
                    <a:pt x="131" y="79"/>
                    <a:pt x="131" y="79"/>
                  </a:cubicBezTo>
                  <a:cubicBezTo>
                    <a:pt x="131" y="79"/>
                    <a:pt x="131" y="79"/>
                    <a:pt x="131" y="79"/>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2" y="78"/>
                    <a:pt x="132" y="78"/>
                    <a:pt x="132" y="78"/>
                  </a:cubicBezTo>
                  <a:cubicBezTo>
                    <a:pt x="133" y="77"/>
                    <a:pt x="133" y="77"/>
                    <a:pt x="133" y="77"/>
                  </a:cubicBezTo>
                  <a:cubicBezTo>
                    <a:pt x="133" y="77"/>
                    <a:pt x="133" y="77"/>
                    <a:pt x="133" y="77"/>
                  </a:cubicBezTo>
                  <a:cubicBezTo>
                    <a:pt x="133" y="77"/>
                    <a:pt x="133" y="77"/>
                    <a:pt x="133" y="77"/>
                  </a:cubicBezTo>
                  <a:cubicBezTo>
                    <a:pt x="127" y="71"/>
                    <a:pt x="127" y="71"/>
                    <a:pt x="127" y="71"/>
                  </a:cubicBezTo>
                  <a:cubicBezTo>
                    <a:pt x="127" y="46"/>
                    <a:pt x="127" y="46"/>
                    <a:pt x="127" y="46"/>
                  </a:cubicBezTo>
                  <a:cubicBezTo>
                    <a:pt x="138" y="58"/>
                    <a:pt x="138" y="58"/>
                    <a:pt x="138" y="58"/>
                  </a:cubicBezTo>
                  <a:close/>
                  <a:moveTo>
                    <a:pt x="138" y="143"/>
                  </a:moveTo>
                  <a:cubicBezTo>
                    <a:pt x="138" y="173"/>
                    <a:pt x="138" y="173"/>
                    <a:pt x="138" y="173"/>
                  </a:cubicBezTo>
                  <a:cubicBezTo>
                    <a:pt x="134" y="168"/>
                    <a:pt x="134" y="168"/>
                    <a:pt x="134" y="168"/>
                  </a:cubicBezTo>
                  <a:cubicBezTo>
                    <a:pt x="134" y="169"/>
                    <a:pt x="134" y="169"/>
                    <a:pt x="134" y="169"/>
                  </a:cubicBezTo>
                  <a:cubicBezTo>
                    <a:pt x="134" y="169"/>
                    <a:pt x="134" y="169"/>
                    <a:pt x="134" y="169"/>
                  </a:cubicBezTo>
                  <a:cubicBezTo>
                    <a:pt x="133" y="169"/>
                    <a:pt x="133" y="169"/>
                    <a:pt x="133" y="169"/>
                  </a:cubicBezTo>
                  <a:cubicBezTo>
                    <a:pt x="133" y="169"/>
                    <a:pt x="133" y="169"/>
                    <a:pt x="133" y="169"/>
                  </a:cubicBezTo>
                  <a:cubicBezTo>
                    <a:pt x="133" y="169"/>
                    <a:pt x="133" y="169"/>
                    <a:pt x="133" y="169"/>
                  </a:cubicBezTo>
                  <a:cubicBezTo>
                    <a:pt x="133" y="169"/>
                    <a:pt x="133" y="169"/>
                    <a:pt x="133" y="169"/>
                  </a:cubicBezTo>
                  <a:cubicBezTo>
                    <a:pt x="133" y="169"/>
                    <a:pt x="133" y="169"/>
                    <a:pt x="133" y="169"/>
                  </a:cubicBezTo>
                  <a:cubicBezTo>
                    <a:pt x="133" y="169"/>
                    <a:pt x="133" y="169"/>
                    <a:pt x="133" y="169"/>
                  </a:cubicBezTo>
                  <a:cubicBezTo>
                    <a:pt x="133" y="170"/>
                    <a:pt x="133" y="170"/>
                    <a:pt x="133" y="170"/>
                  </a:cubicBezTo>
                  <a:cubicBezTo>
                    <a:pt x="133" y="170"/>
                    <a:pt x="133" y="170"/>
                    <a:pt x="133" y="170"/>
                  </a:cubicBezTo>
                  <a:cubicBezTo>
                    <a:pt x="132" y="170"/>
                    <a:pt x="132" y="170"/>
                    <a:pt x="132" y="170"/>
                  </a:cubicBezTo>
                  <a:cubicBezTo>
                    <a:pt x="132" y="170"/>
                    <a:pt x="132" y="170"/>
                    <a:pt x="132" y="170"/>
                  </a:cubicBezTo>
                  <a:cubicBezTo>
                    <a:pt x="132" y="170"/>
                    <a:pt x="132" y="170"/>
                    <a:pt x="132" y="170"/>
                  </a:cubicBezTo>
                  <a:cubicBezTo>
                    <a:pt x="132" y="170"/>
                    <a:pt x="132" y="170"/>
                    <a:pt x="132" y="170"/>
                  </a:cubicBezTo>
                  <a:cubicBezTo>
                    <a:pt x="132" y="170"/>
                    <a:pt x="132" y="170"/>
                    <a:pt x="132" y="170"/>
                  </a:cubicBezTo>
                  <a:cubicBezTo>
                    <a:pt x="132" y="171"/>
                    <a:pt x="132" y="171"/>
                    <a:pt x="132" y="171"/>
                  </a:cubicBezTo>
                  <a:cubicBezTo>
                    <a:pt x="132" y="171"/>
                    <a:pt x="132" y="171"/>
                    <a:pt x="132" y="171"/>
                  </a:cubicBezTo>
                  <a:cubicBezTo>
                    <a:pt x="132" y="171"/>
                    <a:pt x="132" y="171"/>
                    <a:pt x="132" y="171"/>
                  </a:cubicBezTo>
                  <a:cubicBezTo>
                    <a:pt x="131" y="171"/>
                    <a:pt x="131" y="171"/>
                    <a:pt x="131" y="171"/>
                  </a:cubicBezTo>
                  <a:cubicBezTo>
                    <a:pt x="131" y="171"/>
                    <a:pt x="131" y="171"/>
                    <a:pt x="131" y="171"/>
                  </a:cubicBezTo>
                  <a:cubicBezTo>
                    <a:pt x="131" y="171"/>
                    <a:pt x="131" y="171"/>
                    <a:pt x="131" y="171"/>
                  </a:cubicBezTo>
                  <a:cubicBezTo>
                    <a:pt x="131" y="171"/>
                    <a:pt x="131" y="171"/>
                    <a:pt x="131" y="171"/>
                  </a:cubicBezTo>
                  <a:cubicBezTo>
                    <a:pt x="131" y="171"/>
                    <a:pt x="131" y="171"/>
                    <a:pt x="131" y="171"/>
                  </a:cubicBezTo>
                  <a:cubicBezTo>
                    <a:pt x="131" y="172"/>
                    <a:pt x="131" y="172"/>
                    <a:pt x="131" y="172"/>
                  </a:cubicBezTo>
                  <a:cubicBezTo>
                    <a:pt x="131" y="172"/>
                    <a:pt x="131" y="172"/>
                    <a:pt x="131" y="172"/>
                  </a:cubicBezTo>
                  <a:cubicBezTo>
                    <a:pt x="131" y="172"/>
                    <a:pt x="131" y="172"/>
                    <a:pt x="131" y="172"/>
                  </a:cubicBezTo>
                  <a:cubicBezTo>
                    <a:pt x="130" y="172"/>
                    <a:pt x="130" y="172"/>
                    <a:pt x="130" y="172"/>
                  </a:cubicBezTo>
                  <a:cubicBezTo>
                    <a:pt x="130" y="172"/>
                    <a:pt x="130" y="172"/>
                    <a:pt x="130" y="172"/>
                  </a:cubicBezTo>
                  <a:cubicBezTo>
                    <a:pt x="130" y="172"/>
                    <a:pt x="130" y="172"/>
                    <a:pt x="130" y="172"/>
                  </a:cubicBezTo>
                  <a:cubicBezTo>
                    <a:pt x="130" y="172"/>
                    <a:pt x="130" y="172"/>
                    <a:pt x="130" y="172"/>
                  </a:cubicBezTo>
                  <a:cubicBezTo>
                    <a:pt x="130" y="172"/>
                    <a:pt x="130" y="172"/>
                    <a:pt x="130" y="172"/>
                  </a:cubicBezTo>
                  <a:cubicBezTo>
                    <a:pt x="130" y="173"/>
                    <a:pt x="130" y="173"/>
                    <a:pt x="130" y="173"/>
                  </a:cubicBezTo>
                  <a:cubicBezTo>
                    <a:pt x="130" y="173"/>
                    <a:pt x="130" y="173"/>
                    <a:pt x="130" y="173"/>
                  </a:cubicBezTo>
                  <a:cubicBezTo>
                    <a:pt x="130" y="173"/>
                    <a:pt x="130" y="173"/>
                    <a:pt x="130" y="173"/>
                  </a:cubicBezTo>
                  <a:cubicBezTo>
                    <a:pt x="129" y="173"/>
                    <a:pt x="129" y="173"/>
                    <a:pt x="129" y="173"/>
                  </a:cubicBezTo>
                  <a:cubicBezTo>
                    <a:pt x="129" y="173"/>
                    <a:pt x="129" y="173"/>
                    <a:pt x="129" y="173"/>
                  </a:cubicBezTo>
                  <a:cubicBezTo>
                    <a:pt x="129" y="173"/>
                    <a:pt x="129" y="173"/>
                    <a:pt x="129" y="173"/>
                  </a:cubicBezTo>
                  <a:cubicBezTo>
                    <a:pt x="129" y="173"/>
                    <a:pt x="129" y="173"/>
                    <a:pt x="129" y="173"/>
                  </a:cubicBezTo>
                  <a:cubicBezTo>
                    <a:pt x="129" y="173"/>
                    <a:pt x="129" y="173"/>
                    <a:pt x="129" y="173"/>
                  </a:cubicBezTo>
                  <a:cubicBezTo>
                    <a:pt x="129" y="174"/>
                    <a:pt x="129" y="174"/>
                    <a:pt x="129" y="174"/>
                  </a:cubicBezTo>
                  <a:cubicBezTo>
                    <a:pt x="129" y="174"/>
                    <a:pt x="129" y="174"/>
                    <a:pt x="129" y="174"/>
                  </a:cubicBezTo>
                  <a:cubicBezTo>
                    <a:pt x="129" y="174"/>
                    <a:pt x="129" y="174"/>
                    <a:pt x="129" y="174"/>
                  </a:cubicBezTo>
                  <a:cubicBezTo>
                    <a:pt x="128" y="174"/>
                    <a:pt x="128" y="174"/>
                    <a:pt x="128" y="174"/>
                  </a:cubicBezTo>
                  <a:cubicBezTo>
                    <a:pt x="128" y="174"/>
                    <a:pt x="128" y="174"/>
                    <a:pt x="128" y="174"/>
                  </a:cubicBezTo>
                  <a:cubicBezTo>
                    <a:pt x="128" y="174"/>
                    <a:pt x="128" y="174"/>
                    <a:pt x="128" y="174"/>
                  </a:cubicBezTo>
                  <a:cubicBezTo>
                    <a:pt x="128" y="174"/>
                    <a:pt x="128" y="174"/>
                    <a:pt x="128" y="174"/>
                  </a:cubicBezTo>
                  <a:cubicBezTo>
                    <a:pt x="128" y="174"/>
                    <a:pt x="128" y="174"/>
                    <a:pt x="128" y="174"/>
                  </a:cubicBezTo>
                  <a:cubicBezTo>
                    <a:pt x="128" y="174"/>
                    <a:pt x="128" y="174"/>
                    <a:pt x="128" y="174"/>
                  </a:cubicBezTo>
                  <a:cubicBezTo>
                    <a:pt x="128" y="175"/>
                    <a:pt x="128" y="175"/>
                    <a:pt x="128" y="175"/>
                  </a:cubicBezTo>
                  <a:cubicBezTo>
                    <a:pt x="128" y="175"/>
                    <a:pt x="128" y="175"/>
                    <a:pt x="128" y="175"/>
                  </a:cubicBezTo>
                  <a:cubicBezTo>
                    <a:pt x="127" y="175"/>
                    <a:pt x="127" y="175"/>
                    <a:pt x="127" y="175"/>
                  </a:cubicBezTo>
                  <a:cubicBezTo>
                    <a:pt x="127" y="175"/>
                    <a:pt x="127" y="175"/>
                    <a:pt x="127" y="175"/>
                  </a:cubicBezTo>
                  <a:cubicBezTo>
                    <a:pt x="127" y="175"/>
                    <a:pt x="127" y="175"/>
                    <a:pt x="127" y="175"/>
                  </a:cubicBezTo>
                  <a:cubicBezTo>
                    <a:pt x="127" y="175"/>
                    <a:pt x="127" y="175"/>
                    <a:pt x="127" y="175"/>
                  </a:cubicBezTo>
                  <a:cubicBezTo>
                    <a:pt x="127" y="175"/>
                    <a:pt x="127" y="175"/>
                    <a:pt x="127" y="175"/>
                  </a:cubicBezTo>
                  <a:cubicBezTo>
                    <a:pt x="127" y="175"/>
                    <a:pt x="127" y="175"/>
                    <a:pt x="127" y="175"/>
                  </a:cubicBezTo>
                  <a:cubicBezTo>
                    <a:pt x="127" y="176"/>
                    <a:pt x="127" y="176"/>
                    <a:pt x="127" y="176"/>
                  </a:cubicBezTo>
                  <a:cubicBezTo>
                    <a:pt x="127" y="137"/>
                    <a:pt x="127" y="137"/>
                    <a:pt x="127" y="137"/>
                  </a:cubicBezTo>
                  <a:cubicBezTo>
                    <a:pt x="135" y="145"/>
                    <a:pt x="135" y="145"/>
                    <a:pt x="135" y="145"/>
                  </a:cubicBezTo>
                  <a:cubicBezTo>
                    <a:pt x="136" y="145"/>
                    <a:pt x="136" y="145"/>
                    <a:pt x="136" y="145"/>
                  </a:cubicBezTo>
                  <a:cubicBezTo>
                    <a:pt x="136" y="145"/>
                    <a:pt x="136" y="145"/>
                    <a:pt x="136" y="145"/>
                  </a:cubicBezTo>
                  <a:cubicBezTo>
                    <a:pt x="136" y="145"/>
                    <a:pt x="136" y="145"/>
                    <a:pt x="136" y="145"/>
                  </a:cubicBezTo>
                  <a:cubicBezTo>
                    <a:pt x="136" y="145"/>
                    <a:pt x="136" y="145"/>
                    <a:pt x="136" y="145"/>
                  </a:cubicBezTo>
                  <a:cubicBezTo>
                    <a:pt x="136" y="145"/>
                    <a:pt x="136" y="145"/>
                    <a:pt x="136" y="145"/>
                  </a:cubicBezTo>
                  <a:cubicBezTo>
                    <a:pt x="136" y="145"/>
                    <a:pt x="136" y="145"/>
                    <a:pt x="136" y="145"/>
                  </a:cubicBezTo>
                  <a:cubicBezTo>
                    <a:pt x="137" y="144"/>
                    <a:pt x="137" y="144"/>
                    <a:pt x="137" y="144"/>
                  </a:cubicBezTo>
                  <a:cubicBezTo>
                    <a:pt x="137" y="144"/>
                    <a:pt x="137" y="144"/>
                    <a:pt x="137" y="144"/>
                  </a:cubicBezTo>
                  <a:cubicBezTo>
                    <a:pt x="137" y="144"/>
                    <a:pt x="137" y="144"/>
                    <a:pt x="137" y="144"/>
                  </a:cubicBezTo>
                  <a:cubicBezTo>
                    <a:pt x="137" y="144"/>
                    <a:pt x="137" y="144"/>
                    <a:pt x="137" y="144"/>
                  </a:cubicBezTo>
                  <a:cubicBezTo>
                    <a:pt x="137" y="144"/>
                    <a:pt x="137" y="144"/>
                    <a:pt x="137" y="144"/>
                  </a:cubicBezTo>
                  <a:cubicBezTo>
                    <a:pt x="137" y="144"/>
                    <a:pt x="137" y="144"/>
                    <a:pt x="137" y="144"/>
                  </a:cubicBezTo>
                  <a:cubicBezTo>
                    <a:pt x="137" y="143"/>
                    <a:pt x="137" y="143"/>
                    <a:pt x="137" y="143"/>
                  </a:cubicBezTo>
                  <a:cubicBezTo>
                    <a:pt x="138" y="143"/>
                    <a:pt x="138" y="143"/>
                    <a:pt x="138" y="143"/>
                  </a:cubicBezTo>
                  <a:cubicBezTo>
                    <a:pt x="138" y="143"/>
                    <a:pt x="138" y="143"/>
                    <a:pt x="138" y="143"/>
                  </a:cubicBezTo>
                  <a:cubicBezTo>
                    <a:pt x="138" y="143"/>
                    <a:pt x="138" y="143"/>
                    <a:pt x="138" y="143"/>
                  </a:cubicBezTo>
                  <a:close/>
                  <a:moveTo>
                    <a:pt x="127" y="255"/>
                  </a:moveTo>
                  <a:cubicBezTo>
                    <a:pt x="117" y="245"/>
                    <a:pt x="117" y="245"/>
                    <a:pt x="117" y="245"/>
                  </a:cubicBezTo>
                  <a:cubicBezTo>
                    <a:pt x="117" y="217"/>
                    <a:pt x="117" y="217"/>
                    <a:pt x="117" y="217"/>
                  </a:cubicBezTo>
                  <a:cubicBezTo>
                    <a:pt x="126" y="226"/>
                    <a:pt x="126" y="226"/>
                    <a:pt x="126" y="226"/>
                  </a:cubicBezTo>
                  <a:cubicBezTo>
                    <a:pt x="127" y="225"/>
                    <a:pt x="127" y="225"/>
                    <a:pt x="127" y="225"/>
                  </a:cubicBezTo>
                  <a:cubicBezTo>
                    <a:pt x="127" y="255"/>
                    <a:pt x="127" y="255"/>
                    <a:pt x="127" y="255"/>
                  </a:cubicBezTo>
                  <a:close/>
                  <a:moveTo>
                    <a:pt x="117" y="12"/>
                  </a:moveTo>
                  <a:cubicBezTo>
                    <a:pt x="127" y="3"/>
                    <a:pt x="127" y="3"/>
                    <a:pt x="127" y="3"/>
                  </a:cubicBezTo>
                  <a:cubicBezTo>
                    <a:pt x="127" y="34"/>
                    <a:pt x="127" y="34"/>
                    <a:pt x="127" y="34"/>
                  </a:cubicBezTo>
                  <a:cubicBezTo>
                    <a:pt x="120" y="40"/>
                    <a:pt x="120" y="40"/>
                    <a:pt x="120" y="40"/>
                  </a:cubicBezTo>
                  <a:cubicBezTo>
                    <a:pt x="127" y="46"/>
                    <a:pt x="127" y="46"/>
                    <a:pt x="127" y="46"/>
                  </a:cubicBezTo>
                  <a:cubicBezTo>
                    <a:pt x="127" y="71"/>
                    <a:pt x="127" y="71"/>
                    <a:pt x="127" y="71"/>
                  </a:cubicBezTo>
                  <a:cubicBezTo>
                    <a:pt x="117" y="61"/>
                    <a:pt x="117" y="61"/>
                    <a:pt x="117" y="61"/>
                  </a:cubicBezTo>
                  <a:cubicBezTo>
                    <a:pt x="117" y="12"/>
                    <a:pt x="117" y="12"/>
                    <a:pt x="117" y="12"/>
                  </a:cubicBezTo>
                  <a:close/>
                  <a:moveTo>
                    <a:pt x="127" y="83"/>
                  </a:moveTo>
                  <a:cubicBezTo>
                    <a:pt x="127" y="105"/>
                    <a:pt x="127" y="105"/>
                    <a:pt x="127" y="105"/>
                  </a:cubicBezTo>
                  <a:cubicBezTo>
                    <a:pt x="121" y="110"/>
                    <a:pt x="121" y="110"/>
                    <a:pt x="121" y="110"/>
                  </a:cubicBezTo>
                  <a:cubicBezTo>
                    <a:pt x="121" y="111"/>
                    <a:pt x="121" y="111"/>
                    <a:pt x="121" y="111"/>
                  </a:cubicBezTo>
                  <a:cubicBezTo>
                    <a:pt x="121" y="111"/>
                    <a:pt x="121" y="111"/>
                    <a:pt x="121" y="111"/>
                  </a:cubicBezTo>
                  <a:cubicBezTo>
                    <a:pt x="120" y="111"/>
                    <a:pt x="120" y="111"/>
                    <a:pt x="120" y="111"/>
                  </a:cubicBezTo>
                  <a:cubicBezTo>
                    <a:pt x="120" y="111"/>
                    <a:pt x="120" y="111"/>
                    <a:pt x="120" y="111"/>
                  </a:cubicBezTo>
                  <a:cubicBezTo>
                    <a:pt x="120" y="111"/>
                    <a:pt x="120" y="111"/>
                    <a:pt x="120" y="111"/>
                  </a:cubicBezTo>
                  <a:cubicBezTo>
                    <a:pt x="120" y="111"/>
                    <a:pt x="120" y="111"/>
                    <a:pt x="120" y="111"/>
                  </a:cubicBezTo>
                  <a:cubicBezTo>
                    <a:pt x="120" y="112"/>
                    <a:pt x="120" y="112"/>
                    <a:pt x="120" y="112"/>
                  </a:cubicBezTo>
                  <a:cubicBezTo>
                    <a:pt x="120" y="112"/>
                    <a:pt x="120" y="112"/>
                    <a:pt x="120" y="112"/>
                  </a:cubicBezTo>
                  <a:cubicBezTo>
                    <a:pt x="119" y="112"/>
                    <a:pt x="119" y="112"/>
                    <a:pt x="119" y="112"/>
                  </a:cubicBezTo>
                  <a:cubicBezTo>
                    <a:pt x="119" y="112"/>
                    <a:pt x="119" y="112"/>
                    <a:pt x="119" y="112"/>
                  </a:cubicBezTo>
                  <a:cubicBezTo>
                    <a:pt x="119" y="112"/>
                    <a:pt x="119" y="112"/>
                    <a:pt x="119" y="112"/>
                  </a:cubicBezTo>
                  <a:cubicBezTo>
                    <a:pt x="119" y="112"/>
                    <a:pt x="119" y="112"/>
                    <a:pt x="119" y="112"/>
                  </a:cubicBezTo>
                  <a:cubicBezTo>
                    <a:pt x="119" y="113"/>
                    <a:pt x="119" y="113"/>
                    <a:pt x="119" y="113"/>
                  </a:cubicBezTo>
                  <a:cubicBezTo>
                    <a:pt x="119" y="113"/>
                    <a:pt x="119" y="113"/>
                    <a:pt x="119" y="113"/>
                  </a:cubicBezTo>
                  <a:cubicBezTo>
                    <a:pt x="118" y="113"/>
                    <a:pt x="118" y="113"/>
                    <a:pt x="118" y="113"/>
                  </a:cubicBezTo>
                  <a:cubicBezTo>
                    <a:pt x="118" y="113"/>
                    <a:pt x="118" y="113"/>
                    <a:pt x="118" y="113"/>
                  </a:cubicBezTo>
                  <a:cubicBezTo>
                    <a:pt x="118" y="113"/>
                    <a:pt x="118" y="113"/>
                    <a:pt x="118" y="113"/>
                  </a:cubicBezTo>
                  <a:cubicBezTo>
                    <a:pt x="118" y="113"/>
                    <a:pt x="118" y="113"/>
                    <a:pt x="118" y="113"/>
                  </a:cubicBezTo>
                  <a:cubicBezTo>
                    <a:pt x="118" y="113"/>
                    <a:pt x="118" y="113"/>
                    <a:pt x="118" y="113"/>
                  </a:cubicBezTo>
                  <a:cubicBezTo>
                    <a:pt x="118" y="114"/>
                    <a:pt x="118" y="114"/>
                    <a:pt x="118" y="114"/>
                  </a:cubicBezTo>
                  <a:cubicBezTo>
                    <a:pt x="118" y="114"/>
                    <a:pt x="118" y="114"/>
                    <a:pt x="118" y="114"/>
                  </a:cubicBezTo>
                  <a:cubicBezTo>
                    <a:pt x="117" y="114"/>
                    <a:pt x="117" y="114"/>
                    <a:pt x="117" y="114"/>
                  </a:cubicBezTo>
                  <a:cubicBezTo>
                    <a:pt x="117" y="114"/>
                    <a:pt x="117" y="114"/>
                    <a:pt x="117" y="114"/>
                  </a:cubicBezTo>
                  <a:cubicBezTo>
                    <a:pt x="117" y="114"/>
                    <a:pt x="117" y="114"/>
                    <a:pt x="117" y="114"/>
                  </a:cubicBezTo>
                  <a:cubicBezTo>
                    <a:pt x="117" y="114"/>
                    <a:pt x="117" y="114"/>
                    <a:pt x="117" y="114"/>
                  </a:cubicBezTo>
                  <a:cubicBezTo>
                    <a:pt x="117" y="93"/>
                    <a:pt x="117" y="93"/>
                    <a:pt x="117" y="93"/>
                  </a:cubicBezTo>
                  <a:cubicBezTo>
                    <a:pt x="123" y="87"/>
                    <a:pt x="123" y="87"/>
                    <a:pt x="123" y="87"/>
                  </a:cubicBezTo>
                  <a:cubicBezTo>
                    <a:pt x="123" y="87"/>
                    <a:pt x="123" y="87"/>
                    <a:pt x="123" y="87"/>
                  </a:cubicBezTo>
                  <a:cubicBezTo>
                    <a:pt x="123" y="87"/>
                    <a:pt x="123" y="87"/>
                    <a:pt x="123" y="87"/>
                  </a:cubicBezTo>
                  <a:cubicBezTo>
                    <a:pt x="123" y="87"/>
                    <a:pt x="123" y="87"/>
                    <a:pt x="123" y="87"/>
                  </a:cubicBezTo>
                  <a:cubicBezTo>
                    <a:pt x="123" y="87"/>
                    <a:pt x="123" y="87"/>
                    <a:pt x="123" y="87"/>
                  </a:cubicBezTo>
                  <a:cubicBezTo>
                    <a:pt x="123" y="87"/>
                    <a:pt x="123" y="87"/>
                    <a:pt x="123" y="87"/>
                  </a:cubicBezTo>
                  <a:cubicBezTo>
                    <a:pt x="123" y="86"/>
                    <a:pt x="123" y="86"/>
                    <a:pt x="123" y="86"/>
                  </a:cubicBezTo>
                  <a:cubicBezTo>
                    <a:pt x="124" y="86"/>
                    <a:pt x="124" y="86"/>
                    <a:pt x="124" y="86"/>
                  </a:cubicBezTo>
                  <a:cubicBezTo>
                    <a:pt x="124" y="86"/>
                    <a:pt x="124" y="86"/>
                    <a:pt x="124" y="86"/>
                  </a:cubicBezTo>
                  <a:cubicBezTo>
                    <a:pt x="124" y="86"/>
                    <a:pt x="124" y="86"/>
                    <a:pt x="124" y="86"/>
                  </a:cubicBezTo>
                  <a:cubicBezTo>
                    <a:pt x="124" y="86"/>
                    <a:pt x="124" y="86"/>
                    <a:pt x="124" y="86"/>
                  </a:cubicBezTo>
                  <a:cubicBezTo>
                    <a:pt x="124" y="86"/>
                    <a:pt x="124" y="86"/>
                    <a:pt x="124" y="86"/>
                  </a:cubicBezTo>
                  <a:cubicBezTo>
                    <a:pt x="124" y="86"/>
                    <a:pt x="124" y="86"/>
                    <a:pt x="124" y="86"/>
                  </a:cubicBezTo>
                  <a:cubicBezTo>
                    <a:pt x="124" y="85"/>
                    <a:pt x="124" y="85"/>
                    <a:pt x="124"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5"/>
                    <a:pt x="125" y="85"/>
                    <a:pt x="125" y="85"/>
                  </a:cubicBezTo>
                  <a:cubicBezTo>
                    <a:pt x="125" y="84"/>
                    <a:pt x="125" y="84"/>
                    <a:pt x="125" y="84"/>
                  </a:cubicBezTo>
                  <a:cubicBezTo>
                    <a:pt x="126" y="84"/>
                    <a:pt x="126" y="84"/>
                    <a:pt x="126" y="84"/>
                  </a:cubicBezTo>
                  <a:cubicBezTo>
                    <a:pt x="126" y="84"/>
                    <a:pt x="126" y="84"/>
                    <a:pt x="126" y="84"/>
                  </a:cubicBezTo>
                  <a:cubicBezTo>
                    <a:pt x="126" y="84"/>
                    <a:pt x="126" y="84"/>
                    <a:pt x="126" y="84"/>
                  </a:cubicBezTo>
                  <a:cubicBezTo>
                    <a:pt x="126" y="84"/>
                    <a:pt x="126" y="84"/>
                    <a:pt x="126" y="84"/>
                  </a:cubicBezTo>
                  <a:cubicBezTo>
                    <a:pt x="126" y="84"/>
                    <a:pt x="126" y="84"/>
                    <a:pt x="126" y="84"/>
                  </a:cubicBezTo>
                  <a:cubicBezTo>
                    <a:pt x="126" y="84"/>
                    <a:pt x="126" y="84"/>
                    <a:pt x="126" y="84"/>
                  </a:cubicBezTo>
                  <a:cubicBezTo>
                    <a:pt x="126" y="83"/>
                    <a:pt x="126" y="83"/>
                    <a:pt x="126" y="83"/>
                  </a:cubicBezTo>
                  <a:cubicBezTo>
                    <a:pt x="127" y="83"/>
                    <a:pt x="127" y="83"/>
                    <a:pt x="127" y="83"/>
                  </a:cubicBezTo>
                  <a:cubicBezTo>
                    <a:pt x="127" y="83"/>
                    <a:pt x="127" y="83"/>
                    <a:pt x="127" y="83"/>
                  </a:cubicBezTo>
                  <a:close/>
                  <a:moveTo>
                    <a:pt x="127" y="137"/>
                  </a:moveTo>
                  <a:cubicBezTo>
                    <a:pt x="127" y="176"/>
                    <a:pt x="127" y="176"/>
                    <a:pt x="127" y="176"/>
                  </a:cubicBezTo>
                  <a:cubicBezTo>
                    <a:pt x="127" y="176"/>
                    <a:pt x="127" y="176"/>
                    <a:pt x="127" y="176"/>
                  </a:cubicBezTo>
                  <a:cubicBezTo>
                    <a:pt x="127" y="176"/>
                    <a:pt x="127" y="176"/>
                    <a:pt x="127" y="176"/>
                  </a:cubicBezTo>
                  <a:cubicBezTo>
                    <a:pt x="126" y="176"/>
                    <a:pt x="126" y="176"/>
                    <a:pt x="126" y="176"/>
                  </a:cubicBezTo>
                  <a:cubicBezTo>
                    <a:pt x="126" y="176"/>
                    <a:pt x="126" y="176"/>
                    <a:pt x="126" y="176"/>
                  </a:cubicBezTo>
                  <a:cubicBezTo>
                    <a:pt x="126" y="176"/>
                    <a:pt x="126" y="176"/>
                    <a:pt x="126" y="176"/>
                  </a:cubicBezTo>
                  <a:cubicBezTo>
                    <a:pt x="126" y="176"/>
                    <a:pt x="126" y="176"/>
                    <a:pt x="126" y="176"/>
                  </a:cubicBezTo>
                  <a:cubicBezTo>
                    <a:pt x="126" y="176"/>
                    <a:pt x="126" y="176"/>
                    <a:pt x="126" y="176"/>
                  </a:cubicBezTo>
                  <a:cubicBezTo>
                    <a:pt x="126" y="176"/>
                    <a:pt x="126" y="176"/>
                    <a:pt x="126" y="176"/>
                  </a:cubicBezTo>
                  <a:cubicBezTo>
                    <a:pt x="126" y="177"/>
                    <a:pt x="126" y="177"/>
                    <a:pt x="126" y="177"/>
                  </a:cubicBezTo>
                  <a:cubicBezTo>
                    <a:pt x="126" y="177"/>
                    <a:pt x="126" y="177"/>
                    <a:pt x="126" y="177"/>
                  </a:cubicBezTo>
                  <a:cubicBezTo>
                    <a:pt x="126" y="177"/>
                    <a:pt x="126" y="177"/>
                    <a:pt x="126" y="177"/>
                  </a:cubicBezTo>
                  <a:cubicBezTo>
                    <a:pt x="125" y="177"/>
                    <a:pt x="125" y="177"/>
                    <a:pt x="125" y="177"/>
                  </a:cubicBezTo>
                  <a:cubicBezTo>
                    <a:pt x="125" y="177"/>
                    <a:pt x="125" y="177"/>
                    <a:pt x="125" y="177"/>
                  </a:cubicBezTo>
                  <a:cubicBezTo>
                    <a:pt x="125" y="177"/>
                    <a:pt x="125" y="177"/>
                    <a:pt x="125" y="177"/>
                  </a:cubicBezTo>
                  <a:cubicBezTo>
                    <a:pt x="125" y="177"/>
                    <a:pt x="125" y="177"/>
                    <a:pt x="125" y="177"/>
                  </a:cubicBezTo>
                  <a:cubicBezTo>
                    <a:pt x="125" y="177"/>
                    <a:pt x="125" y="177"/>
                    <a:pt x="125" y="177"/>
                  </a:cubicBezTo>
                  <a:cubicBezTo>
                    <a:pt x="125" y="178"/>
                    <a:pt x="125" y="178"/>
                    <a:pt x="125" y="178"/>
                  </a:cubicBezTo>
                  <a:cubicBezTo>
                    <a:pt x="125" y="178"/>
                    <a:pt x="125" y="178"/>
                    <a:pt x="125" y="178"/>
                  </a:cubicBezTo>
                  <a:cubicBezTo>
                    <a:pt x="125" y="178"/>
                    <a:pt x="125" y="178"/>
                    <a:pt x="125" y="178"/>
                  </a:cubicBezTo>
                  <a:cubicBezTo>
                    <a:pt x="124" y="178"/>
                    <a:pt x="124" y="178"/>
                    <a:pt x="124" y="178"/>
                  </a:cubicBezTo>
                  <a:cubicBezTo>
                    <a:pt x="124" y="178"/>
                    <a:pt x="124" y="178"/>
                    <a:pt x="124" y="178"/>
                  </a:cubicBezTo>
                  <a:cubicBezTo>
                    <a:pt x="124" y="178"/>
                    <a:pt x="124" y="178"/>
                    <a:pt x="124" y="178"/>
                  </a:cubicBezTo>
                  <a:cubicBezTo>
                    <a:pt x="124" y="178"/>
                    <a:pt x="124" y="178"/>
                    <a:pt x="124" y="178"/>
                  </a:cubicBezTo>
                  <a:cubicBezTo>
                    <a:pt x="124" y="178"/>
                    <a:pt x="124" y="178"/>
                    <a:pt x="124" y="178"/>
                  </a:cubicBezTo>
                  <a:cubicBezTo>
                    <a:pt x="124" y="178"/>
                    <a:pt x="124" y="178"/>
                    <a:pt x="124" y="178"/>
                  </a:cubicBezTo>
                  <a:cubicBezTo>
                    <a:pt x="124" y="179"/>
                    <a:pt x="124" y="179"/>
                    <a:pt x="124" y="179"/>
                  </a:cubicBezTo>
                  <a:cubicBezTo>
                    <a:pt x="124" y="179"/>
                    <a:pt x="124" y="179"/>
                    <a:pt x="124" y="179"/>
                  </a:cubicBezTo>
                  <a:cubicBezTo>
                    <a:pt x="123" y="179"/>
                    <a:pt x="123" y="179"/>
                    <a:pt x="123" y="179"/>
                  </a:cubicBezTo>
                  <a:cubicBezTo>
                    <a:pt x="117" y="185"/>
                    <a:pt x="117" y="185"/>
                    <a:pt x="117" y="185"/>
                  </a:cubicBezTo>
                  <a:cubicBezTo>
                    <a:pt x="117" y="164"/>
                    <a:pt x="117" y="164"/>
                    <a:pt x="117" y="164"/>
                  </a:cubicBezTo>
                  <a:cubicBezTo>
                    <a:pt x="123" y="158"/>
                    <a:pt x="123" y="158"/>
                    <a:pt x="123" y="158"/>
                  </a:cubicBezTo>
                  <a:cubicBezTo>
                    <a:pt x="117" y="151"/>
                    <a:pt x="117" y="151"/>
                    <a:pt x="117" y="151"/>
                  </a:cubicBezTo>
                  <a:cubicBezTo>
                    <a:pt x="117" y="127"/>
                    <a:pt x="117" y="127"/>
                    <a:pt x="117" y="127"/>
                  </a:cubicBezTo>
                  <a:lnTo>
                    <a:pt x="127" y="137"/>
                  </a:lnTo>
                  <a:close/>
                  <a:moveTo>
                    <a:pt x="117" y="245"/>
                  </a:moveTo>
                  <a:cubicBezTo>
                    <a:pt x="106" y="234"/>
                    <a:pt x="106" y="234"/>
                    <a:pt x="106" y="234"/>
                  </a:cubicBezTo>
                  <a:cubicBezTo>
                    <a:pt x="106" y="206"/>
                    <a:pt x="106" y="206"/>
                    <a:pt x="106" y="206"/>
                  </a:cubicBezTo>
                  <a:cubicBezTo>
                    <a:pt x="117" y="217"/>
                    <a:pt x="117" y="217"/>
                    <a:pt x="117" y="217"/>
                  </a:cubicBezTo>
                  <a:cubicBezTo>
                    <a:pt x="117" y="245"/>
                    <a:pt x="117" y="245"/>
                    <a:pt x="117" y="245"/>
                  </a:cubicBezTo>
                  <a:close/>
                  <a:moveTo>
                    <a:pt x="106" y="24"/>
                  </a:moveTo>
                  <a:cubicBezTo>
                    <a:pt x="117" y="12"/>
                    <a:pt x="117" y="12"/>
                    <a:pt x="117" y="12"/>
                  </a:cubicBezTo>
                  <a:cubicBezTo>
                    <a:pt x="117" y="61"/>
                    <a:pt x="117" y="61"/>
                    <a:pt x="117" y="61"/>
                  </a:cubicBezTo>
                  <a:cubicBezTo>
                    <a:pt x="108" y="52"/>
                    <a:pt x="108" y="52"/>
                    <a:pt x="108" y="52"/>
                  </a:cubicBezTo>
                  <a:cubicBezTo>
                    <a:pt x="108" y="52"/>
                    <a:pt x="108" y="52"/>
                    <a:pt x="108" y="52"/>
                  </a:cubicBezTo>
                  <a:cubicBezTo>
                    <a:pt x="108" y="52"/>
                    <a:pt x="108" y="52"/>
                    <a:pt x="108" y="52"/>
                  </a:cubicBezTo>
                  <a:cubicBezTo>
                    <a:pt x="108" y="53"/>
                    <a:pt x="108" y="53"/>
                    <a:pt x="108" y="53"/>
                  </a:cubicBezTo>
                  <a:cubicBezTo>
                    <a:pt x="108" y="53"/>
                    <a:pt x="108" y="53"/>
                    <a:pt x="108" y="53"/>
                  </a:cubicBezTo>
                  <a:cubicBezTo>
                    <a:pt x="107" y="53"/>
                    <a:pt x="107" y="53"/>
                    <a:pt x="107" y="53"/>
                  </a:cubicBezTo>
                  <a:cubicBezTo>
                    <a:pt x="107" y="53"/>
                    <a:pt x="107" y="53"/>
                    <a:pt x="107" y="53"/>
                  </a:cubicBezTo>
                  <a:cubicBezTo>
                    <a:pt x="107" y="53"/>
                    <a:pt x="107" y="53"/>
                    <a:pt x="107" y="53"/>
                  </a:cubicBezTo>
                  <a:cubicBezTo>
                    <a:pt x="107" y="53"/>
                    <a:pt x="107" y="53"/>
                    <a:pt x="107" y="53"/>
                  </a:cubicBezTo>
                  <a:cubicBezTo>
                    <a:pt x="107" y="53"/>
                    <a:pt x="107" y="53"/>
                    <a:pt x="107" y="53"/>
                  </a:cubicBezTo>
                  <a:cubicBezTo>
                    <a:pt x="107" y="54"/>
                    <a:pt x="107" y="54"/>
                    <a:pt x="107" y="54"/>
                  </a:cubicBezTo>
                  <a:cubicBezTo>
                    <a:pt x="107" y="54"/>
                    <a:pt x="107" y="54"/>
                    <a:pt x="107" y="54"/>
                  </a:cubicBezTo>
                  <a:cubicBezTo>
                    <a:pt x="106" y="54"/>
                    <a:pt x="106" y="54"/>
                    <a:pt x="106" y="54"/>
                  </a:cubicBezTo>
                  <a:cubicBezTo>
                    <a:pt x="106" y="54"/>
                    <a:pt x="106" y="54"/>
                    <a:pt x="106" y="54"/>
                  </a:cubicBezTo>
                  <a:cubicBezTo>
                    <a:pt x="106" y="54"/>
                    <a:pt x="106" y="54"/>
                    <a:pt x="106" y="54"/>
                  </a:cubicBezTo>
                  <a:cubicBezTo>
                    <a:pt x="106" y="54"/>
                    <a:pt x="106" y="54"/>
                    <a:pt x="106" y="54"/>
                  </a:cubicBezTo>
                  <a:cubicBezTo>
                    <a:pt x="106" y="55"/>
                    <a:pt x="106" y="55"/>
                    <a:pt x="106" y="55"/>
                  </a:cubicBezTo>
                  <a:cubicBezTo>
                    <a:pt x="106" y="55"/>
                    <a:pt x="106" y="55"/>
                    <a:pt x="106" y="55"/>
                  </a:cubicBezTo>
                  <a:cubicBezTo>
                    <a:pt x="106" y="55"/>
                    <a:pt x="106" y="55"/>
                    <a:pt x="106" y="55"/>
                  </a:cubicBezTo>
                  <a:cubicBezTo>
                    <a:pt x="106" y="55"/>
                    <a:pt x="106" y="55"/>
                    <a:pt x="106" y="55"/>
                  </a:cubicBezTo>
                  <a:cubicBezTo>
                    <a:pt x="106" y="24"/>
                    <a:pt x="106" y="24"/>
                    <a:pt x="106" y="24"/>
                  </a:cubicBezTo>
                  <a:close/>
                  <a:moveTo>
                    <a:pt x="117" y="93"/>
                  </a:moveTo>
                  <a:cubicBezTo>
                    <a:pt x="117" y="114"/>
                    <a:pt x="117" y="114"/>
                    <a:pt x="117" y="114"/>
                  </a:cubicBezTo>
                  <a:cubicBezTo>
                    <a:pt x="117" y="114"/>
                    <a:pt x="117" y="114"/>
                    <a:pt x="117" y="114"/>
                  </a:cubicBezTo>
                  <a:cubicBezTo>
                    <a:pt x="117" y="115"/>
                    <a:pt x="117" y="115"/>
                    <a:pt x="117" y="115"/>
                  </a:cubicBezTo>
                  <a:cubicBezTo>
                    <a:pt x="117" y="115"/>
                    <a:pt x="117" y="115"/>
                    <a:pt x="117" y="115"/>
                  </a:cubicBezTo>
                  <a:cubicBezTo>
                    <a:pt x="116" y="115"/>
                    <a:pt x="116" y="115"/>
                    <a:pt x="116" y="115"/>
                  </a:cubicBezTo>
                  <a:cubicBezTo>
                    <a:pt x="116" y="115"/>
                    <a:pt x="116" y="115"/>
                    <a:pt x="116" y="115"/>
                  </a:cubicBezTo>
                  <a:cubicBezTo>
                    <a:pt x="116" y="115"/>
                    <a:pt x="116" y="115"/>
                    <a:pt x="116" y="115"/>
                  </a:cubicBezTo>
                  <a:cubicBezTo>
                    <a:pt x="116" y="115"/>
                    <a:pt x="116" y="115"/>
                    <a:pt x="116" y="115"/>
                  </a:cubicBezTo>
                  <a:cubicBezTo>
                    <a:pt x="116" y="116"/>
                    <a:pt x="116" y="116"/>
                    <a:pt x="116" y="116"/>
                  </a:cubicBezTo>
                  <a:cubicBezTo>
                    <a:pt x="116" y="116"/>
                    <a:pt x="116" y="116"/>
                    <a:pt x="116" y="116"/>
                  </a:cubicBezTo>
                  <a:cubicBezTo>
                    <a:pt x="115" y="116"/>
                    <a:pt x="115" y="116"/>
                    <a:pt x="115" y="116"/>
                  </a:cubicBezTo>
                  <a:cubicBezTo>
                    <a:pt x="115" y="116"/>
                    <a:pt x="115" y="116"/>
                    <a:pt x="115" y="116"/>
                  </a:cubicBezTo>
                  <a:cubicBezTo>
                    <a:pt x="115" y="116"/>
                    <a:pt x="115" y="116"/>
                    <a:pt x="115" y="116"/>
                  </a:cubicBezTo>
                  <a:cubicBezTo>
                    <a:pt x="115" y="116"/>
                    <a:pt x="115" y="116"/>
                    <a:pt x="115" y="116"/>
                  </a:cubicBezTo>
                  <a:cubicBezTo>
                    <a:pt x="115" y="116"/>
                    <a:pt x="115" y="116"/>
                    <a:pt x="115" y="116"/>
                  </a:cubicBezTo>
                  <a:cubicBezTo>
                    <a:pt x="115" y="117"/>
                    <a:pt x="115" y="117"/>
                    <a:pt x="115" y="117"/>
                  </a:cubicBezTo>
                  <a:cubicBezTo>
                    <a:pt x="115" y="117"/>
                    <a:pt x="115" y="117"/>
                    <a:pt x="115" y="117"/>
                  </a:cubicBezTo>
                  <a:cubicBezTo>
                    <a:pt x="114" y="117"/>
                    <a:pt x="114" y="117"/>
                    <a:pt x="114" y="117"/>
                  </a:cubicBezTo>
                  <a:cubicBezTo>
                    <a:pt x="114" y="117"/>
                    <a:pt x="114" y="117"/>
                    <a:pt x="114" y="117"/>
                  </a:cubicBezTo>
                  <a:cubicBezTo>
                    <a:pt x="114" y="117"/>
                    <a:pt x="114" y="117"/>
                    <a:pt x="114" y="117"/>
                  </a:cubicBezTo>
                  <a:cubicBezTo>
                    <a:pt x="114" y="117"/>
                    <a:pt x="114" y="117"/>
                    <a:pt x="114" y="117"/>
                  </a:cubicBezTo>
                  <a:cubicBezTo>
                    <a:pt x="114" y="118"/>
                    <a:pt x="114" y="118"/>
                    <a:pt x="114" y="118"/>
                  </a:cubicBezTo>
                  <a:cubicBezTo>
                    <a:pt x="114" y="118"/>
                    <a:pt x="114" y="118"/>
                    <a:pt x="114" y="118"/>
                  </a:cubicBezTo>
                  <a:cubicBezTo>
                    <a:pt x="113" y="118"/>
                    <a:pt x="113" y="118"/>
                    <a:pt x="113" y="118"/>
                  </a:cubicBezTo>
                  <a:cubicBezTo>
                    <a:pt x="113" y="118"/>
                    <a:pt x="113" y="118"/>
                    <a:pt x="113" y="118"/>
                  </a:cubicBezTo>
                  <a:cubicBezTo>
                    <a:pt x="113" y="118"/>
                    <a:pt x="113" y="118"/>
                    <a:pt x="113" y="118"/>
                  </a:cubicBezTo>
                  <a:cubicBezTo>
                    <a:pt x="113" y="118"/>
                    <a:pt x="113" y="118"/>
                    <a:pt x="113" y="118"/>
                  </a:cubicBezTo>
                  <a:cubicBezTo>
                    <a:pt x="113" y="119"/>
                    <a:pt x="113" y="119"/>
                    <a:pt x="113" y="119"/>
                  </a:cubicBezTo>
                  <a:cubicBezTo>
                    <a:pt x="113" y="119"/>
                    <a:pt x="113" y="119"/>
                    <a:pt x="113" y="119"/>
                  </a:cubicBezTo>
                  <a:cubicBezTo>
                    <a:pt x="112" y="119"/>
                    <a:pt x="112" y="119"/>
                    <a:pt x="112" y="119"/>
                  </a:cubicBezTo>
                  <a:cubicBezTo>
                    <a:pt x="112" y="119"/>
                    <a:pt x="112" y="119"/>
                    <a:pt x="112" y="119"/>
                  </a:cubicBezTo>
                  <a:cubicBezTo>
                    <a:pt x="112" y="119"/>
                    <a:pt x="112" y="119"/>
                    <a:pt x="112" y="119"/>
                  </a:cubicBezTo>
                  <a:cubicBezTo>
                    <a:pt x="112" y="119"/>
                    <a:pt x="112" y="119"/>
                    <a:pt x="112" y="119"/>
                  </a:cubicBezTo>
                  <a:cubicBezTo>
                    <a:pt x="112" y="119"/>
                    <a:pt x="112" y="119"/>
                    <a:pt x="112" y="119"/>
                  </a:cubicBezTo>
                  <a:cubicBezTo>
                    <a:pt x="112" y="120"/>
                    <a:pt x="112" y="120"/>
                    <a:pt x="112" y="120"/>
                  </a:cubicBezTo>
                  <a:cubicBezTo>
                    <a:pt x="112" y="120"/>
                    <a:pt x="112" y="120"/>
                    <a:pt x="112" y="120"/>
                  </a:cubicBezTo>
                  <a:cubicBezTo>
                    <a:pt x="111" y="120"/>
                    <a:pt x="111" y="120"/>
                    <a:pt x="111" y="120"/>
                  </a:cubicBezTo>
                  <a:cubicBezTo>
                    <a:pt x="111" y="120"/>
                    <a:pt x="111" y="120"/>
                    <a:pt x="111" y="120"/>
                  </a:cubicBezTo>
                  <a:cubicBezTo>
                    <a:pt x="111" y="120"/>
                    <a:pt x="111" y="120"/>
                    <a:pt x="111" y="120"/>
                  </a:cubicBezTo>
                  <a:cubicBezTo>
                    <a:pt x="111" y="120"/>
                    <a:pt x="111" y="120"/>
                    <a:pt x="111" y="120"/>
                  </a:cubicBezTo>
                  <a:cubicBezTo>
                    <a:pt x="111" y="121"/>
                    <a:pt x="111" y="121"/>
                    <a:pt x="111" y="121"/>
                  </a:cubicBezTo>
                  <a:cubicBezTo>
                    <a:pt x="117" y="127"/>
                    <a:pt x="117" y="127"/>
                    <a:pt x="117" y="127"/>
                  </a:cubicBezTo>
                  <a:cubicBezTo>
                    <a:pt x="117" y="151"/>
                    <a:pt x="117" y="151"/>
                    <a:pt x="117" y="151"/>
                  </a:cubicBezTo>
                  <a:cubicBezTo>
                    <a:pt x="106" y="140"/>
                    <a:pt x="106" y="140"/>
                    <a:pt x="106" y="140"/>
                  </a:cubicBezTo>
                  <a:cubicBezTo>
                    <a:pt x="106" y="104"/>
                    <a:pt x="106" y="104"/>
                    <a:pt x="106" y="104"/>
                  </a:cubicBezTo>
                  <a:cubicBezTo>
                    <a:pt x="106" y="104"/>
                    <a:pt x="106" y="104"/>
                    <a:pt x="106" y="104"/>
                  </a:cubicBezTo>
                  <a:cubicBezTo>
                    <a:pt x="106" y="104"/>
                    <a:pt x="106" y="104"/>
                    <a:pt x="106" y="104"/>
                  </a:cubicBezTo>
                  <a:cubicBezTo>
                    <a:pt x="106" y="104"/>
                    <a:pt x="106" y="104"/>
                    <a:pt x="106" y="104"/>
                  </a:cubicBezTo>
                  <a:cubicBezTo>
                    <a:pt x="106" y="104"/>
                    <a:pt x="106" y="104"/>
                    <a:pt x="106" y="104"/>
                  </a:cubicBezTo>
                  <a:cubicBezTo>
                    <a:pt x="106" y="104"/>
                    <a:pt x="106" y="104"/>
                    <a:pt x="106" y="104"/>
                  </a:cubicBezTo>
                  <a:cubicBezTo>
                    <a:pt x="106" y="103"/>
                    <a:pt x="106" y="103"/>
                    <a:pt x="106" y="103"/>
                  </a:cubicBezTo>
                  <a:cubicBezTo>
                    <a:pt x="106" y="103"/>
                    <a:pt x="106" y="103"/>
                    <a:pt x="106" y="103"/>
                  </a:cubicBezTo>
                  <a:cubicBezTo>
                    <a:pt x="107" y="103"/>
                    <a:pt x="107" y="103"/>
                    <a:pt x="107" y="103"/>
                  </a:cubicBezTo>
                  <a:cubicBezTo>
                    <a:pt x="107" y="103"/>
                    <a:pt x="107" y="103"/>
                    <a:pt x="107" y="103"/>
                  </a:cubicBezTo>
                  <a:cubicBezTo>
                    <a:pt x="107" y="103"/>
                    <a:pt x="107" y="103"/>
                    <a:pt x="107" y="103"/>
                  </a:cubicBezTo>
                  <a:cubicBezTo>
                    <a:pt x="107" y="103"/>
                    <a:pt x="107" y="103"/>
                    <a:pt x="107" y="103"/>
                  </a:cubicBezTo>
                  <a:cubicBezTo>
                    <a:pt x="107" y="102"/>
                    <a:pt x="107" y="102"/>
                    <a:pt x="107" y="102"/>
                  </a:cubicBezTo>
                  <a:cubicBezTo>
                    <a:pt x="107" y="102"/>
                    <a:pt x="107" y="102"/>
                    <a:pt x="107" y="102"/>
                  </a:cubicBezTo>
                  <a:cubicBezTo>
                    <a:pt x="107" y="102"/>
                    <a:pt x="107" y="102"/>
                    <a:pt x="107" y="102"/>
                  </a:cubicBezTo>
                  <a:cubicBezTo>
                    <a:pt x="108" y="102"/>
                    <a:pt x="108" y="102"/>
                    <a:pt x="108" y="102"/>
                  </a:cubicBezTo>
                  <a:cubicBezTo>
                    <a:pt x="108" y="102"/>
                    <a:pt x="108" y="102"/>
                    <a:pt x="108" y="102"/>
                  </a:cubicBezTo>
                  <a:cubicBezTo>
                    <a:pt x="108" y="102"/>
                    <a:pt x="108" y="102"/>
                    <a:pt x="108" y="102"/>
                  </a:cubicBezTo>
                  <a:cubicBezTo>
                    <a:pt x="108" y="102"/>
                    <a:pt x="108" y="102"/>
                    <a:pt x="108" y="102"/>
                  </a:cubicBezTo>
                  <a:cubicBezTo>
                    <a:pt x="108" y="101"/>
                    <a:pt x="108" y="101"/>
                    <a:pt x="108" y="101"/>
                  </a:cubicBezTo>
                  <a:cubicBezTo>
                    <a:pt x="108" y="101"/>
                    <a:pt x="108" y="101"/>
                    <a:pt x="108" y="101"/>
                  </a:cubicBezTo>
                  <a:cubicBezTo>
                    <a:pt x="108" y="101"/>
                    <a:pt x="108" y="101"/>
                    <a:pt x="108" y="101"/>
                  </a:cubicBezTo>
                  <a:cubicBezTo>
                    <a:pt x="109" y="101"/>
                    <a:pt x="109" y="101"/>
                    <a:pt x="109" y="101"/>
                  </a:cubicBezTo>
                  <a:cubicBezTo>
                    <a:pt x="109" y="101"/>
                    <a:pt x="109" y="101"/>
                    <a:pt x="109" y="101"/>
                  </a:cubicBezTo>
                  <a:cubicBezTo>
                    <a:pt x="109" y="101"/>
                    <a:pt x="109" y="101"/>
                    <a:pt x="109" y="101"/>
                  </a:cubicBezTo>
                  <a:cubicBezTo>
                    <a:pt x="109" y="101"/>
                    <a:pt x="109" y="101"/>
                    <a:pt x="109" y="101"/>
                  </a:cubicBezTo>
                  <a:cubicBezTo>
                    <a:pt x="109" y="101"/>
                    <a:pt x="109" y="101"/>
                    <a:pt x="109" y="101"/>
                  </a:cubicBezTo>
                  <a:cubicBezTo>
                    <a:pt x="109" y="100"/>
                    <a:pt x="109" y="100"/>
                    <a:pt x="109" y="100"/>
                  </a:cubicBezTo>
                  <a:cubicBezTo>
                    <a:pt x="110" y="100"/>
                    <a:pt x="110" y="100"/>
                    <a:pt x="110" y="100"/>
                  </a:cubicBezTo>
                  <a:cubicBezTo>
                    <a:pt x="110" y="100"/>
                    <a:pt x="110" y="100"/>
                    <a:pt x="110" y="100"/>
                  </a:cubicBezTo>
                  <a:cubicBezTo>
                    <a:pt x="110" y="100"/>
                    <a:pt x="110" y="100"/>
                    <a:pt x="110" y="100"/>
                  </a:cubicBezTo>
                  <a:cubicBezTo>
                    <a:pt x="110" y="100"/>
                    <a:pt x="110" y="100"/>
                    <a:pt x="110" y="100"/>
                  </a:cubicBezTo>
                  <a:cubicBezTo>
                    <a:pt x="110" y="100"/>
                    <a:pt x="110" y="100"/>
                    <a:pt x="110" y="100"/>
                  </a:cubicBezTo>
                  <a:cubicBezTo>
                    <a:pt x="110" y="100"/>
                    <a:pt x="110" y="100"/>
                    <a:pt x="110" y="100"/>
                  </a:cubicBezTo>
                  <a:cubicBezTo>
                    <a:pt x="117" y="93"/>
                    <a:pt x="117" y="93"/>
                    <a:pt x="117" y="93"/>
                  </a:cubicBezTo>
                  <a:close/>
                  <a:moveTo>
                    <a:pt x="117" y="164"/>
                  </a:moveTo>
                  <a:cubicBezTo>
                    <a:pt x="117" y="185"/>
                    <a:pt x="117" y="185"/>
                    <a:pt x="117" y="185"/>
                  </a:cubicBezTo>
                  <a:cubicBezTo>
                    <a:pt x="106" y="196"/>
                    <a:pt x="106" y="196"/>
                    <a:pt x="106" y="196"/>
                  </a:cubicBezTo>
                  <a:cubicBezTo>
                    <a:pt x="106" y="161"/>
                    <a:pt x="106" y="161"/>
                    <a:pt x="106" y="161"/>
                  </a:cubicBezTo>
                  <a:cubicBezTo>
                    <a:pt x="113" y="168"/>
                    <a:pt x="113" y="168"/>
                    <a:pt x="113" y="168"/>
                  </a:cubicBezTo>
                  <a:lnTo>
                    <a:pt x="117" y="164"/>
                  </a:lnTo>
                  <a:close/>
                  <a:moveTo>
                    <a:pt x="106" y="234"/>
                  </a:moveTo>
                  <a:cubicBezTo>
                    <a:pt x="94" y="222"/>
                    <a:pt x="94" y="222"/>
                    <a:pt x="94" y="222"/>
                  </a:cubicBezTo>
                  <a:cubicBezTo>
                    <a:pt x="94" y="186"/>
                    <a:pt x="94" y="186"/>
                    <a:pt x="94" y="186"/>
                  </a:cubicBezTo>
                  <a:cubicBezTo>
                    <a:pt x="100" y="180"/>
                    <a:pt x="100" y="180"/>
                    <a:pt x="100" y="180"/>
                  </a:cubicBezTo>
                  <a:cubicBezTo>
                    <a:pt x="94" y="174"/>
                    <a:pt x="94" y="174"/>
                    <a:pt x="94" y="174"/>
                  </a:cubicBezTo>
                  <a:cubicBezTo>
                    <a:pt x="94" y="149"/>
                    <a:pt x="94" y="149"/>
                    <a:pt x="94" y="149"/>
                  </a:cubicBezTo>
                  <a:cubicBezTo>
                    <a:pt x="106" y="161"/>
                    <a:pt x="106" y="161"/>
                    <a:pt x="106" y="161"/>
                  </a:cubicBezTo>
                  <a:cubicBezTo>
                    <a:pt x="106" y="196"/>
                    <a:pt x="106" y="196"/>
                    <a:pt x="106" y="196"/>
                  </a:cubicBezTo>
                  <a:cubicBezTo>
                    <a:pt x="101" y="201"/>
                    <a:pt x="101" y="201"/>
                    <a:pt x="101" y="201"/>
                  </a:cubicBezTo>
                  <a:cubicBezTo>
                    <a:pt x="106" y="206"/>
                    <a:pt x="106" y="206"/>
                    <a:pt x="106" y="206"/>
                  </a:cubicBezTo>
                  <a:cubicBezTo>
                    <a:pt x="106" y="234"/>
                    <a:pt x="106" y="234"/>
                    <a:pt x="106" y="234"/>
                  </a:cubicBezTo>
                  <a:close/>
                  <a:moveTo>
                    <a:pt x="94" y="35"/>
                  </a:moveTo>
                  <a:cubicBezTo>
                    <a:pt x="106" y="24"/>
                    <a:pt x="106" y="24"/>
                    <a:pt x="106" y="24"/>
                  </a:cubicBezTo>
                  <a:cubicBezTo>
                    <a:pt x="106" y="55"/>
                    <a:pt x="106" y="55"/>
                    <a:pt x="106" y="55"/>
                  </a:cubicBezTo>
                  <a:cubicBezTo>
                    <a:pt x="105" y="55"/>
                    <a:pt x="105" y="55"/>
                    <a:pt x="105" y="55"/>
                  </a:cubicBezTo>
                  <a:cubicBezTo>
                    <a:pt x="105" y="55"/>
                    <a:pt x="105" y="55"/>
                    <a:pt x="105" y="55"/>
                  </a:cubicBezTo>
                  <a:cubicBezTo>
                    <a:pt x="105" y="55"/>
                    <a:pt x="105" y="55"/>
                    <a:pt x="105" y="55"/>
                  </a:cubicBezTo>
                  <a:cubicBezTo>
                    <a:pt x="105" y="55"/>
                    <a:pt x="105" y="55"/>
                    <a:pt x="105" y="55"/>
                  </a:cubicBezTo>
                  <a:cubicBezTo>
                    <a:pt x="105" y="56"/>
                    <a:pt x="105" y="56"/>
                    <a:pt x="105" y="56"/>
                  </a:cubicBezTo>
                  <a:cubicBezTo>
                    <a:pt x="105" y="56"/>
                    <a:pt x="105" y="56"/>
                    <a:pt x="105" y="56"/>
                  </a:cubicBezTo>
                  <a:cubicBezTo>
                    <a:pt x="105" y="56"/>
                    <a:pt x="105" y="56"/>
                    <a:pt x="105" y="56"/>
                  </a:cubicBezTo>
                  <a:cubicBezTo>
                    <a:pt x="104" y="56"/>
                    <a:pt x="104" y="56"/>
                    <a:pt x="104" y="56"/>
                  </a:cubicBezTo>
                  <a:cubicBezTo>
                    <a:pt x="104" y="56"/>
                    <a:pt x="104" y="56"/>
                    <a:pt x="104" y="56"/>
                  </a:cubicBezTo>
                  <a:cubicBezTo>
                    <a:pt x="104" y="56"/>
                    <a:pt x="104" y="56"/>
                    <a:pt x="104" y="56"/>
                  </a:cubicBezTo>
                  <a:cubicBezTo>
                    <a:pt x="104" y="56"/>
                    <a:pt x="104" y="56"/>
                    <a:pt x="104" y="56"/>
                  </a:cubicBezTo>
                  <a:cubicBezTo>
                    <a:pt x="104" y="56"/>
                    <a:pt x="104" y="56"/>
                    <a:pt x="104" y="56"/>
                  </a:cubicBezTo>
                  <a:cubicBezTo>
                    <a:pt x="104" y="57"/>
                    <a:pt x="104" y="57"/>
                    <a:pt x="104" y="57"/>
                  </a:cubicBezTo>
                  <a:cubicBezTo>
                    <a:pt x="103" y="57"/>
                    <a:pt x="103" y="57"/>
                    <a:pt x="103" y="57"/>
                  </a:cubicBezTo>
                  <a:cubicBezTo>
                    <a:pt x="103" y="57"/>
                    <a:pt x="103" y="57"/>
                    <a:pt x="103" y="57"/>
                  </a:cubicBezTo>
                  <a:cubicBezTo>
                    <a:pt x="103" y="57"/>
                    <a:pt x="103" y="57"/>
                    <a:pt x="103" y="57"/>
                  </a:cubicBezTo>
                  <a:cubicBezTo>
                    <a:pt x="103" y="57"/>
                    <a:pt x="103" y="57"/>
                    <a:pt x="103" y="57"/>
                  </a:cubicBezTo>
                  <a:cubicBezTo>
                    <a:pt x="103" y="57"/>
                    <a:pt x="103" y="57"/>
                    <a:pt x="103" y="57"/>
                  </a:cubicBezTo>
                  <a:cubicBezTo>
                    <a:pt x="103" y="57"/>
                    <a:pt x="103" y="57"/>
                    <a:pt x="103" y="57"/>
                  </a:cubicBezTo>
                  <a:cubicBezTo>
                    <a:pt x="103" y="58"/>
                    <a:pt x="103" y="58"/>
                    <a:pt x="103" y="58"/>
                  </a:cubicBezTo>
                  <a:cubicBezTo>
                    <a:pt x="103" y="58"/>
                    <a:pt x="103" y="58"/>
                    <a:pt x="103" y="58"/>
                  </a:cubicBezTo>
                  <a:cubicBezTo>
                    <a:pt x="102" y="58"/>
                    <a:pt x="102" y="58"/>
                    <a:pt x="102" y="58"/>
                  </a:cubicBezTo>
                  <a:cubicBezTo>
                    <a:pt x="102" y="58"/>
                    <a:pt x="102" y="58"/>
                    <a:pt x="102" y="58"/>
                  </a:cubicBezTo>
                  <a:cubicBezTo>
                    <a:pt x="102" y="58"/>
                    <a:pt x="102" y="58"/>
                    <a:pt x="102" y="58"/>
                  </a:cubicBezTo>
                  <a:cubicBezTo>
                    <a:pt x="102" y="58"/>
                    <a:pt x="102" y="58"/>
                    <a:pt x="102" y="58"/>
                  </a:cubicBezTo>
                  <a:cubicBezTo>
                    <a:pt x="102" y="58"/>
                    <a:pt x="102" y="58"/>
                    <a:pt x="102" y="58"/>
                  </a:cubicBezTo>
                  <a:cubicBezTo>
                    <a:pt x="102" y="59"/>
                    <a:pt x="102" y="59"/>
                    <a:pt x="102" y="59"/>
                  </a:cubicBezTo>
                  <a:cubicBezTo>
                    <a:pt x="102" y="59"/>
                    <a:pt x="102" y="59"/>
                    <a:pt x="102" y="59"/>
                  </a:cubicBezTo>
                  <a:cubicBezTo>
                    <a:pt x="101" y="59"/>
                    <a:pt x="101" y="59"/>
                    <a:pt x="101" y="59"/>
                  </a:cubicBezTo>
                  <a:cubicBezTo>
                    <a:pt x="101" y="59"/>
                    <a:pt x="101" y="59"/>
                    <a:pt x="101" y="59"/>
                  </a:cubicBezTo>
                  <a:cubicBezTo>
                    <a:pt x="101" y="59"/>
                    <a:pt x="101" y="59"/>
                    <a:pt x="101" y="59"/>
                  </a:cubicBezTo>
                  <a:cubicBezTo>
                    <a:pt x="101" y="59"/>
                    <a:pt x="101" y="59"/>
                    <a:pt x="101" y="59"/>
                  </a:cubicBezTo>
                  <a:cubicBezTo>
                    <a:pt x="101" y="59"/>
                    <a:pt x="101" y="59"/>
                    <a:pt x="101" y="59"/>
                  </a:cubicBezTo>
                  <a:cubicBezTo>
                    <a:pt x="101" y="59"/>
                    <a:pt x="101" y="59"/>
                    <a:pt x="101" y="59"/>
                  </a:cubicBezTo>
                  <a:cubicBezTo>
                    <a:pt x="101" y="60"/>
                    <a:pt x="101" y="60"/>
                    <a:pt x="101" y="60"/>
                  </a:cubicBezTo>
                  <a:cubicBezTo>
                    <a:pt x="100" y="60"/>
                    <a:pt x="100" y="60"/>
                    <a:pt x="100" y="60"/>
                  </a:cubicBezTo>
                  <a:cubicBezTo>
                    <a:pt x="100" y="60"/>
                    <a:pt x="100" y="60"/>
                    <a:pt x="100" y="60"/>
                  </a:cubicBezTo>
                  <a:cubicBezTo>
                    <a:pt x="100" y="60"/>
                    <a:pt x="100" y="60"/>
                    <a:pt x="100" y="60"/>
                  </a:cubicBezTo>
                  <a:cubicBezTo>
                    <a:pt x="100" y="60"/>
                    <a:pt x="100" y="60"/>
                    <a:pt x="100" y="60"/>
                  </a:cubicBezTo>
                  <a:cubicBezTo>
                    <a:pt x="100" y="60"/>
                    <a:pt x="100" y="60"/>
                    <a:pt x="100" y="60"/>
                  </a:cubicBezTo>
                  <a:cubicBezTo>
                    <a:pt x="100" y="61"/>
                    <a:pt x="100" y="61"/>
                    <a:pt x="100" y="61"/>
                  </a:cubicBezTo>
                  <a:cubicBezTo>
                    <a:pt x="100" y="61"/>
                    <a:pt x="100" y="61"/>
                    <a:pt x="100" y="61"/>
                  </a:cubicBezTo>
                  <a:cubicBezTo>
                    <a:pt x="100" y="61"/>
                    <a:pt x="100" y="61"/>
                    <a:pt x="100" y="61"/>
                  </a:cubicBezTo>
                  <a:cubicBezTo>
                    <a:pt x="99" y="61"/>
                    <a:pt x="99" y="61"/>
                    <a:pt x="99" y="61"/>
                  </a:cubicBezTo>
                  <a:cubicBezTo>
                    <a:pt x="99" y="61"/>
                    <a:pt x="99" y="61"/>
                    <a:pt x="99" y="61"/>
                  </a:cubicBezTo>
                  <a:cubicBezTo>
                    <a:pt x="99" y="61"/>
                    <a:pt x="99" y="61"/>
                    <a:pt x="99" y="61"/>
                  </a:cubicBezTo>
                  <a:cubicBezTo>
                    <a:pt x="99" y="61"/>
                    <a:pt x="99" y="61"/>
                    <a:pt x="99" y="61"/>
                  </a:cubicBezTo>
                  <a:cubicBezTo>
                    <a:pt x="99" y="62"/>
                    <a:pt x="99" y="62"/>
                    <a:pt x="99" y="62"/>
                  </a:cubicBezTo>
                  <a:cubicBezTo>
                    <a:pt x="99" y="62"/>
                    <a:pt x="99" y="62"/>
                    <a:pt x="99" y="62"/>
                  </a:cubicBezTo>
                  <a:cubicBezTo>
                    <a:pt x="98" y="62"/>
                    <a:pt x="98" y="62"/>
                    <a:pt x="98" y="62"/>
                  </a:cubicBezTo>
                  <a:cubicBezTo>
                    <a:pt x="98" y="62"/>
                    <a:pt x="98" y="62"/>
                    <a:pt x="98" y="62"/>
                  </a:cubicBezTo>
                  <a:cubicBezTo>
                    <a:pt x="98" y="62"/>
                    <a:pt x="98" y="62"/>
                    <a:pt x="98" y="62"/>
                  </a:cubicBezTo>
                  <a:cubicBezTo>
                    <a:pt x="98" y="62"/>
                    <a:pt x="98" y="62"/>
                    <a:pt x="98" y="62"/>
                  </a:cubicBezTo>
                  <a:cubicBezTo>
                    <a:pt x="98" y="62"/>
                    <a:pt x="98" y="62"/>
                    <a:pt x="98" y="62"/>
                  </a:cubicBezTo>
                  <a:cubicBezTo>
                    <a:pt x="94" y="66"/>
                    <a:pt x="94" y="66"/>
                    <a:pt x="94" y="66"/>
                  </a:cubicBezTo>
                  <a:cubicBezTo>
                    <a:pt x="94" y="35"/>
                    <a:pt x="94" y="35"/>
                    <a:pt x="94" y="35"/>
                  </a:cubicBezTo>
                  <a:close/>
                  <a:moveTo>
                    <a:pt x="106" y="104"/>
                  </a:moveTo>
                  <a:cubicBezTo>
                    <a:pt x="106" y="140"/>
                    <a:pt x="106" y="140"/>
                    <a:pt x="106" y="140"/>
                  </a:cubicBezTo>
                  <a:cubicBezTo>
                    <a:pt x="98" y="133"/>
                    <a:pt x="98" y="133"/>
                    <a:pt x="98" y="133"/>
                  </a:cubicBezTo>
                  <a:cubicBezTo>
                    <a:pt x="94" y="137"/>
                    <a:pt x="94" y="137"/>
                    <a:pt x="94" y="137"/>
                  </a:cubicBezTo>
                  <a:cubicBezTo>
                    <a:pt x="94" y="115"/>
                    <a:pt x="94" y="115"/>
                    <a:pt x="94" y="115"/>
                  </a:cubicBezTo>
                  <a:cubicBezTo>
                    <a:pt x="100" y="110"/>
                    <a:pt x="100" y="110"/>
                    <a:pt x="100" y="110"/>
                  </a:cubicBezTo>
                  <a:cubicBezTo>
                    <a:pt x="100" y="110"/>
                    <a:pt x="100" y="110"/>
                    <a:pt x="100" y="110"/>
                  </a:cubicBezTo>
                  <a:cubicBezTo>
                    <a:pt x="100" y="109"/>
                    <a:pt x="100" y="109"/>
                    <a:pt x="100" y="109"/>
                  </a:cubicBezTo>
                  <a:cubicBezTo>
                    <a:pt x="100" y="109"/>
                    <a:pt x="100" y="109"/>
                    <a:pt x="100" y="109"/>
                  </a:cubicBezTo>
                  <a:cubicBezTo>
                    <a:pt x="101" y="109"/>
                    <a:pt x="101" y="109"/>
                    <a:pt x="101" y="109"/>
                  </a:cubicBezTo>
                  <a:cubicBezTo>
                    <a:pt x="101" y="109"/>
                    <a:pt x="101" y="109"/>
                    <a:pt x="101" y="109"/>
                  </a:cubicBezTo>
                  <a:cubicBezTo>
                    <a:pt x="101" y="109"/>
                    <a:pt x="101" y="109"/>
                    <a:pt x="101" y="109"/>
                  </a:cubicBezTo>
                  <a:cubicBezTo>
                    <a:pt x="101" y="109"/>
                    <a:pt x="101" y="109"/>
                    <a:pt x="101" y="109"/>
                  </a:cubicBezTo>
                  <a:cubicBezTo>
                    <a:pt x="101" y="109"/>
                    <a:pt x="101" y="109"/>
                    <a:pt x="101" y="109"/>
                  </a:cubicBezTo>
                  <a:cubicBezTo>
                    <a:pt x="101" y="108"/>
                    <a:pt x="101" y="108"/>
                    <a:pt x="101" y="108"/>
                  </a:cubicBezTo>
                  <a:cubicBezTo>
                    <a:pt x="101" y="108"/>
                    <a:pt x="101" y="108"/>
                    <a:pt x="101" y="108"/>
                  </a:cubicBezTo>
                  <a:cubicBezTo>
                    <a:pt x="102" y="108"/>
                    <a:pt x="102" y="108"/>
                    <a:pt x="102" y="108"/>
                  </a:cubicBezTo>
                  <a:cubicBezTo>
                    <a:pt x="102" y="108"/>
                    <a:pt x="102" y="108"/>
                    <a:pt x="102" y="108"/>
                  </a:cubicBezTo>
                  <a:cubicBezTo>
                    <a:pt x="102" y="108"/>
                    <a:pt x="102" y="108"/>
                    <a:pt x="102" y="108"/>
                  </a:cubicBezTo>
                  <a:cubicBezTo>
                    <a:pt x="102" y="108"/>
                    <a:pt x="102" y="108"/>
                    <a:pt x="102" y="108"/>
                  </a:cubicBezTo>
                  <a:cubicBezTo>
                    <a:pt x="102" y="107"/>
                    <a:pt x="102" y="107"/>
                    <a:pt x="102" y="107"/>
                  </a:cubicBezTo>
                  <a:cubicBezTo>
                    <a:pt x="102" y="107"/>
                    <a:pt x="102" y="107"/>
                    <a:pt x="102" y="107"/>
                  </a:cubicBezTo>
                  <a:cubicBezTo>
                    <a:pt x="102" y="107"/>
                    <a:pt x="102" y="107"/>
                    <a:pt x="102" y="107"/>
                  </a:cubicBezTo>
                  <a:cubicBezTo>
                    <a:pt x="102" y="107"/>
                    <a:pt x="102" y="107"/>
                    <a:pt x="102" y="107"/>
                  </a:cubicBezTo>
                  <a:cubicBezTo>
                    <a:pt x="103" y="107"/>
                    <a:pt x="103" y="107"/>
                    <a:pt x="103" y="107"/>
                  </a:cubicBezTo>
                  <a:cubicBezTo>
                    <a:pt x="103" y="107"/>
                    <a:pt x="103" y="107"/>
                    <a:pt x="103" y="107"/>
                  </a:cubicBezTo>
                  <a:cubicBezTo>
                    <a:pt x="103" y="107"/>
                    <a:pt x="103" y="107"/>
                    <a:pt x="103" y="107"/>
                  </a:cubicBezTo>
                  <a:cubicBezTo>
                    <a:pt x="103" y="107"/>
                    <a:pt x="103" y="107"/>
                    <a:pt x="103" y="107"/>
                  </a:cubicBezTo>
                  <a:cubicBezTo>
                    <a:pt x="103" y="106"/>
                    <a:pt x="103" y="106"/>
                    <a:pt x="103" y="106"/>
                  </a:cubicBezTo>
                  <a:cubicBezTo>
                    <a:pt x="103" y="106"/>
                    <a:pt x="103" y="106"/>
                    <a:pt x="103" y="106"/>
                  </a:cubicBezTo>
                  <a:cubicBezTo>
                    <a:pt x="104" y="106"/>
                    <a:pt x="104" y="106"/>
                    <a:pt x="104" y="106"/>
                  </a:cubicBezTo>
                  <a:cubicBezTo>
                    <a:pt x="104" y="106"/>
                    <a:pt x="104" y="106"/>
                    <a:pt x="104" y="106"/>
                  </a:cubicBezTo>
                  <a:cubicBezTo>
                    <a:pt x="104" y="106"/>
                    <a:pt x="104" y="106"/>
                    <a:pt x="104" y="106"/>
                  </a:cubicBezTo>
                  <a:cubicBezTo>
                    <a:pt x="104" y="106"/>
                    <a:pt x="104" y="106"/>
                    <a:pt x="104" y="106"/>
                  </a:cubicBezTo>
                  <a:cubicBezTo>
                    <a:pt x="104" y="106"/>
                    <a:pt x="104" y="106"/>
                    <a:pt x="104" y="106"/>
                  </a:cubicBezTo>
                  <a:cubicBezTo>
                    <a:pt x="104" y="105"/>
                    <a:pt x="104" y="105"/>
                    <a:pt x="104" y="105"/>
                  </a:cubicBezTo>
                  <a:cubicBezTo>
                    <a:pt x="104" y="105"/>
                    <a:pt x="104" y="105"/>
                    <a:pt x="104" y="105"/>
                  </a:cubicBezTo>
                  <a:cubicBezTo>
                    <a:pt x="105" y="105"/>
                    <a:pt x="105" y="105"/>
                    <a:pt x="105" y="105"/>
                  </a:cubicBezTo>
                  <a:cubicBezTo>
                    <a:pt x="105" y="105"/>
                    <a:pt x="105" y="105"/>
                    <a:pt x="105" y="105"/>
                  </a:cubicBezTo>
                  <a:cubicBezTo>
                    <a:pt x="105" y="105"/>
                    <a:pt x="105" y="105"/>
                    <a:pt x="105" y="105"/>
                  </a:cubicBezTo>
                  <a:cubicBezTo>
                    <a:pt x="105" y="105"/>
                    <a:pt x="105" y="105"/>
                    <a:pt x="105" y="105"/>
                  </a:cubicBezTo>
                  <a:cubicBezTo>
                    <a:pt x="105" y="105"/>
                    <a:pt x="105" y="105"/>
                    <a:pt x="105" y="105"/>
                  </a:cubicBezTo>
                  <a:cubicBezTo>
                    <a:pt x="105" y="105"/>
                    <a:pt x="105" y="105"/>
                    <a:pt x="105" y="105"/>
                  </a:cubicBezTo>
                  <a:cubicBezTo>
                    <a:pt x="105" y="104"/>
                    <a:pt x="105" y="104"/>
                    <a:pt x="105" y="104"/>
                  </a:cubicBezTo>
                  <a:cubicBezTo>
                    <a:pt x="105" y="104"/>
                    <a:pt x="105" y="104"/>
                    <a:pt x="105" y="104"/>
                  </a:cubicBezTo>
                  <a:lnTo>
                    <a:pt x="106" y="104"/>
                  </a:lnTo>
                  <a:close/>
                  <a:moveTo>
                    <a:pt x="94" y="222"/>
                  </a:moveTo>
                  <a:cubicBezTo>
                    <a:pt x="81" y="210"/>
                    <a:pt x="81" y="210"/>
                    <a:pt x="81" y="210"/>
                  </a:cubicBezTo>
                  <a:cubicBezTo>
                    <a:pt x="81" y="181"/>
                    <a:pt x="81" y="181"/>
                    <a:pt x="81" y="181"/>
                  </a:cubicBezTo>
                  <a:cubicBezTo>
                    <a:pt x="90" y="190"/>
                    <a:pt x="90" y="190"/>
                    <a:pt x="90" y="190"/>
                  </a:cubicBezTo>
                  <a:cubicBezTo>
                    <a:pt x="94" y="186"/>
                    <a:pt x="94" y="186"/>
                    <a:pt x="94" y="186"/>
                  </a:cubicBezTo>
                  <a:cubicBezTo>
                    <a:pt x="94" y="222"/>
                    <a:pt x="94" y="222"/>
                    <a:pt x="94" y="222"/>
                  </a:cubicBezTo>
                  <a:close/>
                  <a:moveTo>
                    <a:pt x="81" y="48"/>
                  </a:moveTo>
                  <a:cubicBezTo>
                    <a:pt x="94" y="35"/>
                    <a:pt x="94" y="35"/>
                    <a:pt x="94" y="35"/>
                  </a:cubicBezTo>
                  <a:cubicBezTo>
                    <a:pt x="94" y="66"/>
                    <a:pt x="94" y="66"/>
                    <a:pt x="94" y="66"/>
                  </a:cubicBezTo>
                  <a:cubicBezTo>
                    <a:pt x="85" y="75"/>
                    <a:pt x="85" y="75"/>
                    <a:pt x="85" y="75"/>
                  </a:cubicBezTo>
                  <a:cubicBezTo>
                    <a:pt x="85" y="75"/>
                    <a:pt x="85" y="75"/>
                    <a:pt x="85" y="75"/>
                  </a:cubicBezTo>
                  <a:cubicBezTo>
                    <a:pt x="85" y="75"/>
                    <a:pt x="85" y="75"/>
                    <a:pt x="85" y="75"/>
                  </a:cubicBezTo>
                  <a:cubicBezTo>
                    <a:pt x="85" y="75"/>
                    <a:pt x="85" y="75"/>
                    <a:pt x="85" y="75"/>
                  </a:cubicBezTo>
                  <a:cubicBezTo>
                    <a:pt x="85" y="75"/>
                    <a:pt x="85" y="75"/>
                    <a:pt x="85" y="75"/>
                  </a:cubicBezTo>
                  <a:cubicBezTo>
                    <a:pt x="85" y="75"/>
                    <a:pt x="85" y="75"/>
                    <a:pt x="85" y="75"/>
                  </a:cubicBezTo>
                  <a:cubicBezTo>
                    <a:pt x="85" y="75"/>
                    <a:pt x="85" y="75"/>
                    <a:pt x="85" y="75"/>
                  </a:cubicBezTo>
                  <a:cubicBezTo>
                    <a:pt x="85" y="76"/>
                    <a:pt x="85" y="76"/>
                    <a:pt x="85" y="76"/>
                  </a:cubicBezTo>
                  <a:cubicBezTo>
                    <a:pt x="84" y="76"/>
                    <a:pt x="84" y="76"/>
                    <a:pt x="84" y="76"/>
                  </a:cubicBezTo>
                  <a:cubicBezTo>
                    <a:pt x="84" y="76"/>
                    <a:pt x="84" y="76"/>
                    <a:pt x="84" y="76"/>
                  </a:cubicBezTo>
                  <a:cubicBezTo>
                    <a:pt x="84" y="76"/>
                    <a:pt x="84" y="76"/>
                    <a:pt x="84" y="76"/>
                  </a:cubicBezTo>
                  <a:cubicBezTo>
                    <a:pt x="84" y="76"/>
                    <a:pt x="84" y="76"/>
                    <a:pt x="84" y="76"/>
                  </a:cubicBezTo>
                  <a:cubicBezTo>
                    <a:pt x="84" y="76"/>
                    <a:pt x="84" y="76"/>
                    <a:pt x="84" y="76"/>
                  </a:cubicBezTo>
                  <a:cubicBezTo>
                    <a:pt x="84" y="76"/>
                    <a:pt x="84" y="76"/>
                    <a:pt x="84" y="76"/>
                  </a:cubicBezTo>
                  <a:cubicBezTo>
                    <a:pt x="84" y="77"/>
                    <a:pt x="84" y="77"/>
                    <a:pt x="84" y="77"/>
                  </a:cubicBezTo>
                  <a:cubicBezTo>
                    <a:pt x="83" y="77"/>
                    <a:pt x="83" y="77"/>
                    <a:pt x="83" y="77"/>
                  </a:cubicBezTo>
                  <a:cubicBezTo>
                    <a:pt x="83" y="77"/>
                    <a:pt x="83" y="77"/>
                    <a:pt x="83" y="77"/>
                  </a:cubicBezTo>
                  <a:cubicBezTo>
                    <a:pt x="83" y="77"/>
                    <a:pt x="83" y="77"/>
                    <a:pt x="83" y="77"/>
                  </a:cubicBezTo>
                  <a:cubicBezTo>
                    <a:pt x="83" y="77"/>
                    <a:pt x="83" y="77"/>
                    <a:pt x="83" y="77"/>
                  </a:cubicBezTo>
                  <a:cubicBezTo>
                    <a:pt x="83" y="77"/>
                    <a:pt x="83" y="77"/>
                    <a:pt x="83" y="77"/>
                  </a:cubicBezTo>
                  <a:cubicBezTo>
                    <a:pt x="83" y="78"/>
                    <a:pt x="83" y="78"/>
                    <a:pt x="83" y="78"/>
                  </a:cubicBezTo>
                  <a:cubicBezTo>
                    <a:pt x="83" y="78"/>
                    <a:pt x="83" y="78"/>
                    <a:pt x="83" y="78"/>
                  </a:cubicBezTo>
                  <a:cubicBezTo>
                    <a:pt x="82" y="78"/>
                    <a:pt x="82" y="78"/>
                    <a:pt x="82" y="78"/>
                  </a:cubicBezTo>
                  <a:cubicBezTo>
                    <a:pt x="82" y="78"/>
                    <a:pt x="82" y="78"/>
                    <a:pt x="82" y="78"/>
                  </a:cubicBezTo>
                  <a:cubicBezTo>
                    <a:pt x="82" y="78"/>
                    <a:pt x="82" y="78"/>
                    <a:pt x="82" y="78"/>
                  </a:cubicBezTo>
                  <a:cubicBezTo>
                    <a:pt x="82" y="78"/>
                    <a:pt x="82" y="78"/>
                    <a:pt x="82" y="78"/>
                  </a:cubicBezTo>
                  <a:cubicBezTo>
                    <a:pt x="82" y="78"/>
                    <a:pt x="82" y="78"/>
                    <a:pt x="82" y="78"/>
                  </a:cubicBezTo>
                  <a:cubicBezTo>
                    <a:pt x="82" y="79"/>
                    <a:pt x="82" y="79"/>
                    <a:pt x="82" y="79"/>
                  </a:cubicBezTo>
                  <a:cubicBezTo>
                    <a:pt x="81" y="79"/>
                    <a:pt x="81" y="79"/>
                    <a:pt x="81" y="79"/>
                  </a:cubicBezTo>
                  <a:cubicBezTo>
                    <a:pt x="81" y="48"/>
                    <a:pt x="81" y="48"/>
                    <a:pt x="81" y="48"/>
                  </a:cubicBezTo>
                  <a:close/>
                  <a:moveTo>
                    <a:pt x="94" y="115"/>
                  </a:moveTo>
                  <a:cubicBezTo>
                    <a:pt x="94" y="137"/>
                    <a:pt x="94" y="137"/>
                    <a:pt x="94" y="137"/>
                  </a:cubicBezTo>
                  <a:cubicBezTo>
                    <a:pt x="88" y="143"/>
                    <a:pt x="88" y="143"/>
                    <a:pt x="88" y="143"/>
                  </a:cubicBezTo>
                  <a:cubicBezTo>
                    <a:pt x="94" y="149"/>
                    <a:pt x="94" y="149"/>
                    <a:pt x="94" y="149"/>
                  </a:cubicBezTo>
                  <a:cubicBezTo>
                    <a:pt x="94" y="174"/>
                    <a:pt x="94" y="174"/>
                    <a:pt x="94" y="174"/>
                  </a:cubicBezTo>
                  <a:cubicBezTo>
                    <a:pt x="81" y="161"/>
                    <a:pt x="81" y="161"/>
                    <a:pt x="81" y="161"/>
                  </a:cubicBezTo>
                  <a:cubicBezTo>
                    <a:pt x="81" y="128"/>
                    <a:pt x="81" y="128"/>
                    <a:pt x="81" y="128"/>
                  </a:cubicBezTo>
                  <a:cubicBezTo>
                    <a:pt x="82" y="128"/>
                    <a:pt x="82" y="128"/>
                    <a:pt x="82" y="128"/>
                  </a:cubicBezTo>
                  <a:cubicBezTo>
                    <a:pt x="82" y="128"/>
                    <a:pt x="82" y="128"/>
                    <a:pt x="82" y="128"/>
                  </a:cubicBezTo>
                  <a:cubicBezTo>
                    <a:pt x="82" y="128"/>
                    <a:pt x="82" y="128"/>
                    <a:pt x="82" y="128"/>
                  </a:cubicBezTo>
                  <a:cubicBezTo>
                    <a:pt x="82" y="128"/>
                    <a:pt x="82" y="128"/>
                    <a:pt x="82" y="128"/>
                  </a:cubicBezTo>
                  <a:cubicBezTo>
                    <a:pt x="82" y="127"/>
                    <a:pt x="82" y="127"/>
                    <a:pt x="82" y="127"/>
                  </a:cubicBezTo>
                  <a:cubicBezTo>
                    <a:pt x="82" y="127"/>
                    <a:pt x="82" y="127"/>
                    <a:pt x="82" y="127"/>
                  </a:cubicBezTo>
                  <a:cubicBezTo>
                    <a:pt x="82" y="127"/>
                    <a:pt x="82" y="127"/>
                    <a:pt x="82" y="127"/>
                  </a:cubicBezTo>
                  <a:cubicBezTo>
                    <a:pt x="83" y="127"/>
                    <a:pt x="83" y="127"/>
                    <a:pt x="83" y="127"/>
                  </a:cubicBezTo>
                  <a:cubicBezTo>
                    <a:pt x="83" y="127"/>
                    <a:pt x="83" y="127"/>
                    <a:pt x="83" y="127"/>
                  </a:cubicBezTo>
                  <a:cubicBezTo>
                    <a:pt x="83" y="127"/>
                    <a:pt x="83" y="127"/>
                    <a:pt x="83" y="127"/>
                  </a:cubicBezTo>
                  <a:cubicBezTo>
                    <a:pt x="83" y="127"/>
                    <a:pt x="83" y="127"/>
                    <a:pt x="83" y="127"/>
                  </a:cubicBezTo>
                  <a:cubicBezTo>
                    <a:pt x="83" y="126"/>
                    <a:pt x="83" y="126"/>
                    <a:pt x="83" y="126"/>
                  </a:cubicBezTo>
                  <a:cubicBezTo>
                    <a:pt x="83" y="126"/>
                    <a:pt x="83" y="126"/>
                    <a:pt x="83" y="126"/>
                  </a:cubicBezTo>
                  <a:cubicBezTo>
                    <a:pt x="83" y="126"/>
                    <a:pt x="83" y="126"/>
                    <a:pt x="83" y="126"/>
                  </a:cubicBezTo>
                  <a:cubicBezTo>
                    <a:pt x="84" y="126"/>
                    <a:pt x="84" y="126"/>
                    <a:pt x="84" y="126"/>
                  </a:cubicBezTo>
                  <a:cubicBezTo>
                    <a:pt x="84" y="126"/>
                    <a:pt x="84" y="126"/>
                    <a:pt x="84" y="126"/>
                  </a:cubicBezTo>
                  <a:cubicBezTo>
                    <a:pt x="84" y="126"/>
                    <a:pt x="84" y="126"/>
                    <a:pt x="84" y="126"/>
                  </a:cubicBezTo>
                  <a:cubicBezTo>
                    <a:pt x="84" y="125"/>
                    <a:pt x="84" y="125"/>
                    <a:pt x="84" y="125"/>
                  </a:cubicBezTo>
                  <a:cubicBezTo>
                    <a:pt x="84" y="125"/>
                    <a:pt x="84" y="125"/>
                    <a:pt x="84" y="125"/>
                  </a:cubicBezTo>
                  <a:cubicBezTo>
                    <a:pt x="84" y="125"/>
                    <a:pt x="84" y="125"/>
                    <a:pt x="84" y="125"/>
                  </a:cubicBezTo>
                  <a:cubicBezTo>
                    <a:pt x="84" y="125"/>
                    <a:pt x="84" y="125"/>
                    <a:pt x="84" y="125"/>
                  </a:cubicBezTo>
                  <a:cubicBezTo>
                    <a:pt x="85" y="125"/>
                    <a:pt x="85" y="125"/>
                    <a:pt x="85" y="125"/>
                  </a:cubicBezTo>
                  <a:cubicBezTo>
                    <a:pt x="85" y="125"/>
                    <a:pt x="85" y="125"/>
                    <a:pt x="85" y="125"/>
                  </a:cubicBezTo>
                  <a:cubicBezTo>
                    <a:pt x="85" y="125"/>
                    <a:pt x="85" y="125"/>
                    <a:pt x="85" y="125"/>
                  </a:cubicBezTo>
                  <a:cubicBezTo>
                    <a:pt x="85" y="124"/>
                    <a:pt x="85" y="124"/>
                    <a:pt x="85" y="124"/>
                  </a:cubicBezTo>
                  <a:cubicBezTo>
                    <a:pt x="85" y="124"/>
                    <a:pt x="85" y="124"/>
                    <a:pt x="85" y="124"/>
                  </a:cubicBezTo>
                  <a:cubicBezTo>
                    <a:pt x="85" y="124"/>
                    <a:pt x="85" y="124"/>
                    <a:pt x="85" y="124"/>
                  </a:cubicBezTo>
                  <a:cubicBezTo>
                    <a:pt x="85" y="124"/>
                    <a:pt x="85" y="124"/>
                    <a:pt x="85" y="124"/>
                  </a:cubicBezTo>
                  <a:cubicBezTo>
                    <a:pt x="86" y="124"/>
                    <a:pt x="86" y="124"/>
                    <a:pt x="86" y="124"/>
                  </a:cubicBezTo>
                  <a:cubicBezTo>
                    <a:pt x="86" y="124"/>
                    <a:pt x="86" y="124"/>
                    <a:pt x="86" y="124"/>
                  </a:cubicBezTo>
                  <a:cubicBezTo>
                    <a:pt x="86" y="124"/>
                    <a:pt x="86" y="124"/>
                    <a:pt x="86" y="124"/>
                  </a:cubicBezTo>
                  <a:cubicBezTo>
                    <a:pt x="86" y="124"/>
                    <a:pt x="86" y="124"/>
                    <a:pt x="86" y="124"/>
                  </a:cubicBezTo>
                  <a:cubicBezTo>
                    <a:pt x="86" y="123"/>
                    <a:pt x="86" y="123"/>
                    <a:pt x="86" y="123"/>
                  </a:cubicBezTo>
                  <a:cubicBezTo>
                    <a:pt x="86" y="123"/>
                    <a:pt x="86" y="123"/>
                    <a:pt x="86" y="123"/>
                  </a:cubicBezTo>
                  <a:cubicBezTo>
                    <a:pt x="86" y="123"/>
                    <a:pt x="86" y="123"/>
                    <a:pt x="86" y="123"/>
                  </a:cubicBezTo>
                  <a:cubicBezTo>
                    <a:pt x="86" y="123"/>
                    <a:pt x="86" y="123"/>
                    <a:pt x="86" y="123"/>
                  </a:cubicBezTo>
                  <a:cubicBezTo>
                    <a:pt x="87" y="123"/>
                    <a:pt x="87" y="123"/>
                    <a:pt x="87" y="123"/>
                  </a:cubicBezTo>
                  <a:cubicBezTo>
                    <a:pt x="87" y="123"/>
                    <a:pt x="87" y="123"/>
                    <a:pt x="87" y="123"/>
                  </a:cubicBezTo>
                  <a:cubicBezTo>
                    <a:pt x="87" y="123"/>
                    <a:pt x="87" y="123"/>
                    <a:pt x="87" y="123"/>
                  </a:cubicBezTo>
                  <a:cubicBezTo>
                    <a:pt x="87" y="122"/>
                    <a:pt x="87" y="122"/>
                    <a:pt x="87" y="122"/>
                  </a:cubicBezTo>
                  <a:cubicBezTo>
                    <a:pt x="87" y="122"/>
                    <a:pt x="87" y="122"/>
                    <a:pt x="87" y="122"/>
                  </a:cubicBezTo>
                  <a:cubicBezTo>
                    <a:pt x="87" y="122"/>
                    <a:pt x="87" y="122"/>
                    <a:pt x="87" y="122"/>
                  </a:cubicBezTo>
                  <a:cubicBezTo>
                    <a:pt x="88" y="122"/>
                    <a:pt x="88" y="122"/>
                    <a:pt x="88" y="122"/>
                  </a:cubicBezTo>
                  <a:lnTo>
                    <a:pt x="94" y="115"/>
                  </a:lnTo>
                  <a:close/>
                  <a:moveTo>
                    <a:pt x="81" y="210"/>
                  </a:moveTo>
                  <a:cubicBezTo>
                    <a:pt x="0" y="128"/>
                    <a:pt x="0" y="128"/>
                    <a:pt x="0" y="128"/>
                  </a:cubicBezTo>
                  <a:cubicBezTo>
                    <a:pt x="81" y="48"/>
                    <a:pt x="81" y="48"/>
                    <a:pt x="81" y="48"/>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1" y="79"/>
                    <a:pt x="81" y="79"/>
                    <a:pt x="81" y="79"/>
                  </a:cubicBezTo>
                  <a:cubicBezTo>
                    <a:pt x="80" y="80"/>
                    <a:pt x="80" y="80"/>
                    <a:pt x="80" y="80"/>
                  </a:cubicBezTo>
                  <a:cubicBezTo>
                    <a:pt x="80" y="80"/>
                    <a:pt x="80" y="80"/>
                    <a:pt x="80" y="80"/>
                  </a:cubicBezTo>
                  <a:cubicBezTo>
                    <a:pt x="80" y="80"/>
                    <a:pt x="80" y="80"/>
                    <a:pt x="80" y="80"/>
                  </a:cubicBezTo>
                  <a:cubicBezTo>
                    <a:pt x="80" y="80"/>
                    <a:pt x="80" y="80"/>
                    <a:pt x="80" y="80"/>
                  </a:cubicBezTo>
                  <a:cubicBezTo>
                    <a:pt x="80" y="80"/>
                    <a:pt x="80" y="80"/>
                    <a:pt x="80" y="80"/>
                  </a:cubicBezTo>
                  <a:cubicBezTo>
                    <a:pt x="80" y="80"/>
                    <a:pt x="80" y="80"/>
                    <a:pt x="80" y="80"/>
                  </a:cubicBezTo>
                  <a:cubicBezTo>
                    <a:pt x="80" y="80"/>
                    <a:pt x="80" y="80"/>
                    <a:pt x="80" y="80"/>
                  </a:cubicBezTo>
                  <a:cubicBezTo>
                    <a:pt x="80" y="81"/>
                    <a:pt x="80" y="81"/>
                    <a:pt x="80" y="81"/>
                  </a:cubicBezTo>
                  <a:cubicBezTo>
                    <a:pt x="79" y="81"/>
                    <a:pt x="79" y="81"/>
                    <a:pt x="79" y="81"/>
                  </a:cubicBezTo>
                  <a:cubicBezTo>
                    <a:pt x="79" y="81"/>
                    <a:pt x="79" y="81"/>
                    <a:pt x="79" y="81"/>
                  </a:cubicBezTo>
                  <a:cubicBezTo>
                    <a:pt x="79" y="81"/>
                    <a:pt x="79" y="81"/>
                    <a:pt x="79" y="81"/>
                  </a:cubicBezTo>
                  <a:cubicBezTo>
                    <a:pt x="79" y="81"/>
                    <a:pt x="79" y="81"/>
                    <a:pt x="79" y="81"/>
                  </a:cubicBezTo>
                  <a:cubicBezTo>
                    <a:pt x="79" y="81"/>
                    <a:pt x="79" y="81"/>
                    <a:pt x="79" y="81"/>
                  </a:cubicBezTo>
                  <a:cubicBezTo>
                    <a:pt x="79" y="81"/>
                    <a:pt x="79" y="81"/>
                    <a:pt x="79" y="81"/>
                  </a:cubicBezTo>
                  <a:cubicBezTo>
                    <a:pt x="79" y="82"/>
                    <a:pt x="79" y="82"/>
                    <a:pt x="79" y="82"/>
                  </a:cubicBezTo>
                  <a:cubicBezTo>
                    <a:pt x="78" y="82"/>
                    <a:pt x="78" y="82"/>
                    <a:pt x="78" y="82"/>
                  </a:cubicBezTo>
                  <a:cubicBezTo>
                    <a:pt x="78" y="82"/>
                    <a:pt x="78" y="82"/>
                    <a:pt x="78" y="82"/>
                  </a:cubicBezTo>
                  <a:cubicBezTo>
                    <a:pt x="78" y="82"/>
                    <a:pt x="78" y="82"/>
                    <a:pt x="78" y="82"/>
                  </a:cubicBezTo>
                  <a:cubicBezTo>
                    <a:pt x="78" y="82"/>
                    <a:pt x="78" y="82"/>
                    <a:pt x="78" y="82"/>
                  </a:cubicBezTo>
                  <a:cubicBezTo>
                    <a:pt x="78" y="82"/>
                    <a:pt x="78" y="82"/>
                    <a:pt x="78" y="82"/>
                  </a:cubicBezTo>
                  <a:cubicBezTo>
                    <a:pt x="78" y="82"/>
                    <a:pt x="78" y="82"/>
                    <a:pt x="78" y="82"/>
                  </a:cubicBezTo>
                  <a:cubicBezTo>
                    <a:pt x="78" y="82"/>
                    <a:pt x="78" y="82"/>
                    <a:pt x="78" y="82"/>
                  </a:cubicBezTo>
                  <a:cubicBezTo>
                    <a:pt x="77" y="83"/>
                    <a:pt x="77" y="83"/>
                    <a:pt x="77" y="83"/>
                  </a:cubicBezTo>
                  <a:cubicBezTo>
                    <a:pt x="77" y="83"/>
                    <a:pt x="77" y="83"/>
                    <a:pt x="77" y="83"/>
                  </a:cubicBezTo>
                  <a:cubicBezTo>
                    <a:pt x="77" y="83"/>
                    <a:pt x="77" y="83"/>
                    <a:pt x="77" y="83"/>
                  </a:cubicBezTo>
                  <a:cubicBezTo>
                    <a:pt x="77" y="83"/>
                    <a:pt x="77" y="83"/>
                    <a:pt x="77" y="83"/>
                  </a:cubicBezTo>
                  <a:cubicBezTo>
                    <a:pt x="77" y="83"/>
                    <a:pt x="77" y="83"/>
                    <a:pt x="77" y="83"/>
                  </a:cubicBezTo>
                  <a:cubicBezTo>
                    <a:pt x="77" y="83"/>
                    <a:pt x="77" y="83"/>
                    <a:pt x="77" y="83"/>
                  </a:cubicBezTo>
                  <a:cubicBezTo>
                    <a:pt x="77" y="84"/>
                    <a:pt x="77" y="84"/>
                    <a:pt x="77" y="84"/>
                  </a:cubicBezTo>
                  <a:cubicBezTo>
                    <a:pt x="76" y="84"/>
                    <a:pt x="76" y="84"/>
                    <a:pt x="76" y="84"/>
                  </a:cubicBezTo>
                  <a:cubicBezTo>
                    <a:pt x="76" y="84"/>
                    <a:pt x="76" y="84"/>
                    <a:pt x="76" y="84"/>
                  </a:cubicBezTo>
                  <a:cubicBezTo>
                    <a:pt x="76" y="84"/>
                    <a:pt x="76" y="84"/>
                    <a:pt x="76" y="84"/>
                  </a:cubicBezTo>
                  <a:cubicBezTo>
                    <a:pt x="76" y="84"/>
                    <a:pt x="76" y="84"/>
                    <a:pt x="76" y="84"/>
                  </a:cubicBezTo>
                  <a:cubicBezTo>
                    <a:pt x="76" y="84"/>
                    <a:pt x="76" y="84"/>
                    <a:pt x="76" y="84"/>
                  </a:cubicBezTo>
                  <a:cubicBezTo>
                    <a:pt x="76" y="84"/>
                    <a:pt x="76" y="84"/>
                    <a:pt x="76" y="84"/>
                  </a:cubicBezTo>
                  <a:cubicBezTo>
                    <a:pt x="76" y="84"/>
                    <a:pt x="76" y="84"/>
                    <a:pt x="76" y="84"/>
                  </a:cubicBezTo>
                  <a:cubicBezTo>
                    <a:pt x="75" y="85"/>
                    <a:pt x="75" y="85"/>
                    <a:pt x="75" y="85"/>
                  </a:cubicBezTo>
                  <a:cubicBezTo>
                    <a:pt x="75" y="85"/>
                    <a:pt x="75" y="85"/>
                    <a:pt x="75" y="85"/>
                  </a:cubicBezTo>
                  <a:cubicBezTo>
                    <a:pt x="63" y="97"/>
                    <a:pt x="63" y="97"/>
                    <a:pt x="63" y="97"/>
                  </a:cubicBezTo>
                  <a:cubicBezTo>
                    <a:pt x="63" y="97"/>
                    <a:pt x="63" y="97"/>
                    <a:pt x="63" y="97"/>
                  </a:cubicBezTo>
                  <a:cubicBezTo>
                    <a:pt x="63" y="97"/>
                    <a:pt x="63" y="97"/>
                    <a:pt x="63" y="97"/>
                  </a:cubicBezTo>
                  <a:cubicBezTo>
                    <a:pt x="62" y="97"/>
                    <a:pt x="62" y="97"/>
                    <a:pt x="62" y="97"/>
                  </a:cubicBezTo>
                  <a:cubicBezTo>
                    <a:pt x="62" y="98"/>
                    <a:pt x="62" y="98"/>
                    <a:pt x="62" y="98"/>
                  </a:cubicBezTo>
                  <a:cubicBezTo>
                    <a:pt x="62" y="98"/>
                    <a:pt x="62" y="98"/>
                    <a:pt x="62" y="98"/>
                  </a:cubicBezTo>
                  <a:cubicBezTo>
                    <a:pt x="62" y="98"/>
                    <a:pt x="62" y="98"/>
                    <a:pt x="62" y="98"/>
                  </a:cubicBezTo>
                  <a:cubicBezTo>
                    <a:pt x="62" y="98"/>
                    <a:pt x="62" y="98"/>
                    <a:pt x="62" y="98"/>
                  </a:cubicBezTo>
                  <a:cubicBezTo>
                    <a:pt x="62" y="98"/>
                    <a:pt x="62" y="98"/>
                    <a:pt x="62" y="98"/>
                  </a:cubicBezTo>
                  <a:cubicBezTo>
                    <a:pt x="62" y="98"/>
                    <a:pt x="62" y="98"/>
                    <a:pt x="62" y="98"/>
                  </a:cubicBezTo>
                  <a:cubicBezTo>
                    <a:pt x="61" y="98"/>
                    <a:pt x="61" y="98"/>
                    <a:pt x="61" y="98"/>
                  </a:cubicBezTo>
                  <a:cubicBezTo>
                    <a:pt x="61" y="99"/>
                    <a:pt x="61" y="99"/>
                    <a:pt x="61" y="99"/>
                  </a:cubicBezTo>
                  <a:cubicBezTo>
                    <a:pt x="61" y="99"/>
                    <a:pt x="61" y="99"/>
                    <a:pt x="61" y="99"/>
                  </a:cubicBezTo>
                  <a:cubicBezTo>
                    <a:pt x="61" y="99"/>
                    <a:pt x="61" y="99"/>
                    <a:pt x="61" y="99"/>
                  </a:cubicBezTo>
                  <a:cubicBezTo>
                    <a:pt x="61" y="99"/>
                    <a:pt x="61" y="99"/>
                    <a:pt x="61" y="99"/>
                  </a:cubicBezTo>
                  <a:cubicBezTo>
                    <a:pt x="61" y="99"/>
                    <a:pt x="61" y="99"/>
                    <a:pt x="61" y="99"/>
                  </a:cubicBezTo>
                  <a:cubicBezTo>
                    <a:pt x="61" y="99"/>
                    <a:pt x="61" y="99"/>
                    <a:pt x="61" y="99"/>
                  </a:cubicBezTo>
                  <a:cubicBezTo>
                    <a:pt x="60" y="99"/>
                    <a:pt x="60" y="99"/>
                    <a:pt x="60" y="99"/>
                  </a:cubicBezTo>
                  <a:cubicBezTo>
                    <a:pt x="60" y="100"/>
                    <a:pt x="60" y="100"/>
                    <a:pt x="60" y="100"/>
                  </a:cubicBezTo>
                  <a:cubicBezTo>
                    <a:pt x="60" y="100"/>
                    <a:pt x="60" y="100"/>
                    <a:pt x="60" y="100"/>
                  </a:cubicBezTo>
                  <a:cubicBezTo>
                    <a:pt x="60" y="100"/>
                    <a:pt x="60" y="100"/>
                    <a:pt x="60" y="100"/>
                  </a:cubicBezTo>
                  <a:cubicBezTo>
                    <a:pt x="60" y="100"/>
                    <a:pt x="60" y="100"/>
                    <a:pt x="60" y="100"/>
                  </a:cubicBezTo>
                  <a:cubicBezTo>
                    <a:pt x="60" y="100"/>
                    <a:pt x="60" y="100"/>
                    <a:pt x="60" y="100"/>
                  </a:cubicBezTo>
                  <a:cubicBezTo>
                    <a:pt x="60" y="100"/>
                    <a:pt x="60" y="100"/>
                    <a:pt x="60" y="100"/>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9" y="101"/>
                    <a:pt x="59" y="101"/>
                    <a:pt x="59" y="101"/>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8" y="102"/>
                    <a:pt x="58" y="102"/>
                    <a:pt x="58" y="102"/>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7" y="103"/>
                    <a:pt x="57" y="103"/>
                    <a:pt x="57" y="103"/>
                  </a:cubicBezTo>
                  <a:cubicBezTo>
                    <a:pt x="56" y="103"/>
                    <a:pt x="56" y="103"/>
                    <a:pt x="56" y="103"/>
                  </a:cubicBezTo>
                  <a:cubicBezTo>
                    <a:pt x="56" y="104"/>
                    <a:pt x="56" y="104"/>
                    <a:pt x="56" y="104"/>
                  </a:cubicBezTo>
                  <a:cubicBezTo>
                    <a:pt x="56" y="104"/>
                    <a:pt x="56" y="104"/>
                    <a:pt x="56" y="104"/>
                  </a:cubicBezTo>
                  <a:cubicBezTo>
                    <a:pt x="56" y="104"/>
                    <a:pt x="56" y="104"/>
                    <a:pt x="56" y="104"/>
                  </a:cubicBezTo>
                  <a:cubicBezTo>
                    <a:pt x="56" y="104"/>
                    <a:pt x="56" y="104"/>
                    <a:pt x="56" y="104"/>
                  </a:cubicBezTo>
                  <a:cubicBezTo>
                    <a:pt x="56" y="104"/>
                    <a:pt x="56" y="104"/>
                    <a:pt x="56" y="104"/>
                  </a:cubicBezTo>
                  <a:cubicBezTo>
                    <a:pt x="56" y="104"/>
                    <a:pt x="56" y="104"/>
                    <a:pt x="56" y="104"/>
                  </a:cubicBezTo>
                  <a:cubicBezTo>
                    <a:pt x="55" y="104"/>
                    <a:pt x="55" y="104"/>
                    <a:pt x="55" y="104"/>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5" y="105"/>
                    <a:pt x="55" y="105"/>
                    <a:pt x="55" y="105"/>
                  </a:cubicBezTo>
                  <a:cubicBezTo>
                    <a:pt x="54" y="105"/>
                    <a:pt x="54" y="105"/>
                    <a:pt x="54" y="105"/>
                  </a:cubicBezTo>
                  <a:cubicBezTo>
                    <a:pt x="54" y="105"/>
                    <a:pt x="54" y="105"/>
                    <a:pt x="54" y="105"/>
                  </a:cubicBezTo>
                  <a:cubicBezTo>
                    <a:pt x="54" y="106"/>
                    <a:pt x="54" y="106"/>
                    <a:pt x="54" y="106"/>
                  </a:cubicBezTo>
                  <a:cubicBezTo>
                    <a:pt x="54" y="106"/>
                    <a:pt x="54" y="106"/>
                    <a:pt x="54" y="106"/>
                  </a:cubicBezTo>
                  <a:cubicBezTo>
                    <a:pt x="54" y="106"/>
                    <a:pt x="54" y="106"/>
                    <a:pt x="54" y="106"/>
                  </a:cubicBezTo>
                  <a:cubicBezTo>
                    <a:pt x="54" y="106"/>
                    <a:pt x="54" y="106"/>
                    <a:pt x="54" y="106"/>
                  </a:cubicBezTo>
                  <a:cubicBezTo>
                    <a:pt x="54" y="106"/>
                    <a:pt x="54" y="106"/>
                    <a:pt x="54" y="106"/>
                  </a:cubicBezTo>
                  <a:cubicBezTo>
                    <a:pt x="54" y="106"/>
                    <a:pt x="54" y="106"/>
                    <a:pt x="54" y="106"/>
                  </a:cubicBezTo>
                  <a:cubicBezTo>
                    <a:pt x="53" y="106"/>
                    <a:pt x="53" y="106"/>
                    <a:pt x="53" y="106"/>
                  </a:cubicBezTo>
                  <a:cubicBezTo>
                    <a:pt x="53" y="107"/>
                    <a:pt x="53" y="107"/>
                    <a:pt x="53" y="107"/>
                  </a:cubicBezTo>
                  <a:cubicBezTo>
                    <a:pt x="53" y="107"/>
                    <a:pt x="53" y="107"/>
                    <a:pt x="53" y="107"/>
                  </a:cubicBezTo>
                  <a:cubicBezTo>
                    <a:pt x="53" y="107"/>
                    <a:pt x="53" y="107"/>
                    <a:pt x="53" y="107"/>
                  </a:cubicBezTo>
                  <a:cubicBezTo>
                    <a:pt x="53" y="107"/>
                    <a:pt x="53" y="107"/>
                    <a:pt x="53" y="107"/>
                  </a:cubicBezTo>
                  <a:cubicBezTo>
                    <a:pt x="53" y="107"/>
                    <a:pt x="53" y="107"/>
                    <a:pt x="53" y="107"/>
                  </a:cubicBezTo>
                  <a:cubicBezTo>
                    <a:pt x="53" y="107"/>
                    <a:pt x="53" y="107"/>
                    <a:pt x="53" y="107"/>
                  </a:cubicBezTo>
                  <a:cubicBezTo>
                    <a:pt x="30" y="130"/>
                    <a:pt x="30" y="130"/>
                    <a:pt x="30" y="130"/>
                  </a:cubicBezTo>
                  <a:cubicBezTo>
                    <a:pt x="38" y="138"/>
                    <a:pt x="47" y="146"/>
                    <a:pt x="55" y="155"/>
                  </a:cubicBezTo>
                  <a:cubicBezTo>
                    <a:pt x="77" y="132"/>
                    <a:pt x="77" y="132"/>
                    <a:pt x="77" y="132"/>
                  </a:cubicBezTo>
                  <a:cubicBezTo>
                    <a:pt x="77" y="132"/>
                    <a:pt x="77" y="132"/>
                    <a:pt x="77" y="132"/>
                  </a:cubicBezTo>
                  <a:cubicBezTo>
                    <a:pt x="78" y="132"/>
                    <a:pt x="78" y="132"/>
                    <a:pt x="78" y="132"/>
                  </a:cubicBezTo>
                  <a:cubicBezTo>
                    <a:pt x="78" y="132"/>
                    <a:pt x="78" y="132"/>
                    <a:pt x="78" y="132"/>
                  </a:cubicBezTo>
                  <a:cubicBezTo>
                    <a:pt x="78" y="132"/>
                    <a:pt x="78" y="132"/>
                    <a:pt x="78" y="132"/>
                  </a:cubicBezTo>
                  <a:cubicBezTo>
                    <a:pt x="78" y="132"/>
                    <a:pt x="78" y="132"/>
                    <a:pt x="78" y="132"/>
                  </a:cubicBezTo>
                  <a:cubicBezTo>
                    <a:pt x="78" y="131"/>
                    <a:pt x="78" y="131"/>
                    <a:pt x="78" y="131"/>
                  </a:cubicBezTo>
                  <a:cubicBezTo>
                    <a:pt x="78" y="131"/>
                    <a:pt x="78" y="131"/>
                    <a:pt x="78" y="131"/>
                  </a:cubicBezTo>
                  <a:cubicBezTo>
                    <a:pt x="78" y="131"/>
                    <a:pt x="78" y="131"/>
                    <a:pt x="78" y="131"/>
                  </a:cubicBezTo>
                  <a:cubicBezTo>
                    <a:pt x="79" y="131"/>
                    <a:pt x="79" y="131"/>
                    <a:pt x="79" y="131"/>
                  </a:cubicBezTo>
                  <a:cubicBezTo>
                    <a:pt x="79" y="131"/>
                    <a:pt x="79" y="131"/>
                    <a:pt x="79" y="131"/>
                  </a:cubicBezTo>
                  <a:cubicBezTo>
                    <a:pt x="79" y="131"/>
                    <a:pt x="79" y="131"/>
                    <a:pt x="79" y="131"/>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80" y="130"/>
                    <a:pt x="80" y="130"/>
                    <a:pt x="80" y="130"/>
                  </a:cubicBezTo>
                  <a:cubicBezTo>
                    <a:pt x="80" y="130"/>
                    <a:pt x="80" y="130"/>
                    <a:pt x="80" y="130"/>
                  </a:cubicBezTo>
                  <a:cubicBezTo>
                    <a:pt x="80" y="129"/>
                    <a:pt x="80" y="129"/>
                    <a:pt x="80" y="129"/>
                  </a:cubicBezTo>
                  <a:cubicBezTo>
                    <a:pt x="80" y="129"/>
                    <a:pt x="80" y="129"/>
                    <a:pt x="80" y="129"/>
                  </a:cubicBezTo>
                  <a:cubicBezTo>
                    <a:pt x="80" y="129"/>
                    <a:pt x="80" y="129"/>
                    <a:pt x="80" y="129"/>
                  </a:cubicBezTo>
                  <a:cubicBezTo>
                    <a:pt x="80" y="129"/>
                    <a:pt x="80" y="129"/>
                    <a:pt x="80" y="129"/>
                  </a:cubicBezTo>
                  <a:cubicBezTo>
                    <a:pt x="80" y="129"/>
                    <a:pt x="80" y="129"/>
                    <a:pt x="80" y="129"/>
                  </a:cubicBezTo>
                  <a:cubicBezTo>
                    <a:pt x="81" y="129"/>
                    <a:pt x="81" y="129"/>
                    <a:pt x="81" y="129"/>
                  </a:cubicBezTo>
                  <a:cubicBezTo>
                    <a:pt x="81" y="129"/>
                    <a:pt x="81" y="129"/>
                    <a:pt x="81" y="129"/>
                  </a:cubicBezTo>
                  <a:cubicBezTo>
                    <a:pt x="81" y="129"/>
                    <a:pt x="81" y="129"/>
                    <a:pt x="81" y="129"/>
                  </a:cubicBezTo>
                  <a:cubicBezTo>
                    <a:pt x="81" y="128"/>
                    <a:pt x="81" y="128"/>
                    <a:pt x="81" y="128"/>
                  </a:cubicBezTo>
                  <a:cubicBezTo>
                    <a:pt x="81" y="128"/>
                    <a:pt x="81" y="128"/>
                    <a:pt x="81" y="128"/>
                  </a:cubicBezTo>
                  <a:cubicBezTo>
                    <a:pt x="81" y="128"/>
                    <a:pt x="81" y="128"/>
                    <a:pt x="81" y="128"/>
                  </a:cubicBezTo>
                  <a:cubicBezTo>
                    <a:pt x="81" y="128"/>
                    <a:pt x="81" y="128"/>
                    <a:pt x="81" y="128"/>
                  </a:cubicBezTo>
                  <a:cubicBezTo>
                    <a:pt x="81" y="161"/>
                    <a:pt x="81" y="161"/>
                    <a:pt x="81" y="161"/>
                  </a:cubicBezTo>
                  <a:cubicBezTo>
                    <a:pt x="76" y="155"/>
                    <a:pt x="76" y="155"/>
                    <a:pt x="76" y="155"/>
                  </a:cubicBezTo>
                  <a:cubicBezTo>
                    <a:pt x="72" y="159"/>
                    <a:pt x="69" y="162"/>
                    <a:pt x="66" y="165"/>
                  </a:cubicBezTo>
                  <a:cubicBezTo>
                    <a:pt x="81" y="181"/>
                    <a:pt x="81" y="181"/>
                    <a:pt x="81" y="181"/>
                  </a:cubicBezTo>
                  <a:lnTo>
                    <a:pt x="81" y="210"/>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5" name="íslidé">
              <a:extLst>
                <a:ext uri="{FF2B5EF4-FFF2-40B4-BE49-F238E27FC236}">
                  <a16:creationId xmlns:a16="http://schemas.microsoft.com/office/drawing/2014/main" id="{DBBFB816-A6B7-4304-A333-D9508F1D9530}"/>
                </a:ext>
              </a:extLst>
            </p:cNvPr>
            <p:cNvSpPr/>
            <p:nvPr/>
          </p:nvSpPr>
          <p:spPr bwMode="auto">
            <a:xfrm flipH="1">
              <a:off x="4582110" y="3055278"/>
              <a:ext cx="439048" cy="426417"/>
            </a:xfrm>
            <a:custGeom>
              <a:avLst/>
              <a:gdLst>
                <a:gd name="T0" fmla="*/ 213 w 262"/>
                <a:gd name="T1" fmla="*/ 161 h 261"/>
                <a:gd name="T2" fmla="*/ 223 w 262"/>
                <a:gd name="T3" fmla="*/ 132 h 261"/>
                <a:gd name="T4" fmla="*/ 234 w 262"/>
                <a:gd name="T5" fmla="*/ 98 h 261"/>
                <a:gd name="T6" fmla="*/ 213 w 262"/>
                <a:gd name="T7" fmla="*/ 50 h 261"/>
                <a:gd name="T8" fmla="*/ 210 w 262"/>
                <a:gd name="T9" fmla="*/ 90 h 261"/>
                <a:gd name="T10" fmla="*/ 198 w 262"/>
                <a:gd name="T11" fmla="*/ 124 h 261"/>
                <a:gd name="T12" fmla="*/ 189 w 262"/>
                <a:gd name="T13" fmla="*/ 150 h 261"/>
                <a:gd name="T14" fmla="*/ 189 w 262"/>
                <a:gd name="T15" fmla="*/ 66 h 261"/>
                <a:gd name="T16" fmla="*/ 189 w 262"/>
                <a:gd name="T17" fmla="*/ 258 h 261"/>
                <a:gd name="T18" fmla="*/ 189 w 262"/>
                <a:gd name="T19" fmla="*/ 197 h 261"/>
                <a:gd name="T20" fmla="*/ 189 w 262"/>
                <a:gd name="T21" fmla="*/ 159 h 261"/>
                <a:gd name="T22" fmla="*/ 143 w 262"/>
                <a:gd name="T23" fmla="*/ 26 h 261"/>
                <a:gd name="T24" fmla="*/ 180 w 262"/>
                <a:gd name="T25" fmla="*/ 62 h 261"/>
                <a:gd name="T26" fmla="*/ 187 w 262"/>
                <a:gd name="T27" fmla="*/ 158 h 261"/>
                <a:gd name="T28" fmla="*/ 175 w 262"/>
                <a:gd name="T29" fmla="*/ 192 h 261"/>
                <a:gd name="T30" fmla="*/ 164 w 262"/>
                <a:gd name="T31" fmla="*/ 226 h 261"/>
                <a:gd name="T32" fmla="*/ 143 w 262"/>
                <a:gd name="T33" fmla="*/ 242 h 261"/>
                <a:gd name="T34" fmla="*/ 146 w 262"/>
                <a:gd name="T35" fmla="*/ 165 h 261"/>
                <a:gd name="T36" fmla="*/ 143 w 262"/>
                <a:gd name="T37" fmla="*/ 126 h 261"/>
                <a:gd name="T38" fmla="*/ 143 w 262"/>
                <a:gd name="T39" fmla="*/ 88 h 261"/>
                <a:gd name="T40" fmla="*/ 145 w 262"/>
                <a:gd name="T41" fmla="*/ 51 h 261"/>
                <a:gd name="T42" fmla="*/ 143 w 262"/>
                <a:gd name="T43" fmla="*/ 26 h 261"/>
                <a:gd name="T44" fmla="*/ 143 w 262"/>
                <a:gd name="T45" fmla="*/ 88 h 261"/>
                <a:gd name="T46" fmla="*/ 143 w 262"/>
                <a:gd name="T47" fmla="*/ 126 h 261"/>
                <a:gd name="T48" fmla="*/ 129 w 262"/>
                <a:gd name="T49" fmla="*/ 63 h 261"/>
                <a:gd name="T50" fmla="*/ 143 w 262"/>
                <a:gd name="T51" fmla="*/ 242 h 261"/>
                <a:gd name="T52" fmla="*/ 119 w 262"/>
                <a:gd name="T53" fmla="*/ 194 h 261"/>
                <a:gd name="T54" fmla="*/ 119 w 262"/>
                <a:gd name="T55" fmla="*/ 156 h 261"/>
                <a:gd name="T56" fmla="*/ 143 w 262"/>
                <a:gd name="T57" fmla="*/ 172 h 261"/>
                <a:gd name="T58" fmla="*/ 96 w 262"/>
                <a:gd name="T59" fmla="*/ 11 h 261"/>
                <a:gd name="T60" fmla="*/ 105 w 262"/>
                <a:gd name="T61" fmla="*/ 54 h 261"/>
                <a:gd name="T62" fmla="*/ 119 w 262"/>
                <a:gd name="T63" fmla="*/ 135 h 261"/>
                <a:gd name="T64" fmla="*/ 119 w 262"/>
                <a:gd name="T65" fmla="*/ 173 h 261"/>
                <a:gd name="T66" fmla="*/ 96 w 262"/>
                <a:gd name="T67" fmla="*/ 128 h 261"/>
                <a:gd name="T68" fmla="*/ 96 w 262"/>
                <a:gd name="T69" fmla="*/ 43 h 261"/>
                <a:gd name="T70" fmla="*/ 119 w 262"/>
                <a:gd name="T71" fmla="*/ 235 h 261"/>
                <a:gd name="T72" fmla="*/ 118 w 262"/>
                <a:gd name="T73" fmla="*/ 211 h 261"/>
                <a:gd name="T74" fmla="*/ 96 w 262"/>
                <a:gd name="T75" fmla="*/ 11 h 261"/>
                <a:gd name="T76" fmla="*/ 73 w 262"/>
                <a:gd name="T77" fmla="*/ 3 h 261"/>
                <a:gd name="T78" fmla="*/ 83 w 262"/>
                <a:gd name="T79" fmla="*/ 199 h 261"/>
                <a:gd name="T80" fmla="*/ 83 w 262"/>
                <a:gd name="T81" fmla="*/ 85 h 261"/>
                <a:gd name="T82" fmla="*/ 94 w 262"/>
                <a:gd name="T83" fmla="*/ 51 h 261"/>
                <a:gd name="T84" fmla="*/ 82 w 262"/>
                <a:gd name="T85" fmla="*/ 123 h 261"/>
                <a:gd name="T86" fmla="*/ 96 w 262"/>
                <a:gd name="T87" fmla="*/ 203 h 261"/>
                <a:gd name="T88" fmla="*/ 73 w 262"/>
                <a:gd name="T89" fmla="*/ 3 h 261"/>
                <a:gd name="T90" fmla="*/ 73 w 262"/>
                <a:gd name="T91" fmla="*/ 64 h 261"/>
                <a:gd name="T92" fmla="*/ 73 w 262"/>
                <a:gd name="T93" fmla="*/ 178 h 261"/>
                <a:gd name="T94" fmla="*/ 73 w 262"/>
                <a:gd name="T95" fmla="*/ 219 h 261"/>
                <a:gd name="T96" fmla="*/ 53 w 262"/>
                <a:gd name="T97" fmla="*/ 172 h 261"/>
                <a:gd name="T98" fmla="*/ 65 w 262"/>
                <a:gd name="T99" fmla="*/ 138 h 261"/>
                <a:gd name="T100" fmla="*/ 0 w 262"/>
                <a:gd name="T101" fmla="*/ 195 h 261"/>
                <a:gd name="T102" fmla="*/ 39 w 262"/>
                <a:gd name="T103" fmla="*/ 146 h 261"/>
                <a:gd name="T104" fmla="*/ 39 w 262"/>
                <a:gd name="T105" fmla="*/ 18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2" h="261">
                  <a:moveTo>
                    <a:pt x="213" y="50"/>
                  </a:moveTo>
                  <a:cubicBezTo>
                    <a:pt x="262" y="66"/>
                    <a:pt x="262" y="66"/>
                    <a:pt x="262" y="66"/>
                  </a:cubicBezTo>
                  <a:cubicBezTo>
                    <a:pt x="213" y="212"/>
                    <a:pt x="213" y="212"/>
                    <a:pt x="213" y="212"/>
                  </a:cubicBezTo>
                  <a:cubicBezTo>
                    <a:pt x="213" y="161"/>
                    <a:pt x="213" y="161"/>
                    <a:pt x="213" y="161"/>
                  </a:cubicBezTo>
                  <a:cubicBezTo>
                    <a:pt x="216" y="151"/>
                    <a:pt x="216" y="151"/>
                    <a:pt x="216" y="151"/>
                  </a:cubicBezTo>
                  <a:cubicBezTo>
                    <a:pt x="213" y="149"/>
                    <a:pt x="213" y="149"/>
                    <a:pt x="213" y="149"/>
                  </a:cubicBezTo>
                  <a:cubicBezTo>
                    <a:pt x="213" y="129"/>
                    <a:pt x="213" y="129"/>
                    <a:pt x="213" y="129"/>
                  </a:cubicBezTo>
                  <a:cubicBezTo>
                    <a:pt x="223" y="132"/>
                    <a:pt x="223" y="132"/>
                    <a:pt x="223" y="132"/>
                  </a:cubicBezTo>
                  <a:cubicBezTo>
                    <a:pt x="224" y="127"/>
                    <a:pt x="226" y="122"/>
                    <a:pt x="228" y="117"/>
                  </a:cubicBezTo>
                  <a:cubicBezTo>
                    <a:pt x="213" y="112"/>
                    <a:pt x="213" y="112"/>
                    <a:pt x="213" y="112"/>
                  </a:cubicBezTo>
                  <a:cubicBezTo>
                    <a:pt x="213" y="91"/>
                    <a:pt x="213" y="91"/>
                    <a:pt x="213" y="91"/>
                  </a:cubicBezTo>
                  <a:cubicBezTo>
                    <a:pt x="234" y="98"/>
                    <a:pt x="234" y="98"/>
                    <a:pt x="234" y="98"/>
                  </a:cubicBezTo>
                  <a:cubicBezTo>
                    <a:pt x="236" y="93"/>
                    <a:pt x="238" y="88"/>
                    <a:pt x="239" y="82"/>
                  </a:cubicBezTo>
                  <a:cubicBezTo>
                    <a:pt x="231" y="80"/>
                    <a:pt x="223" y="77"/>
                    <a:pt x="215" y="74"/>
                  </a:cubicBezTo>
                  <a:cubicBezTo>
                    <a:pt x="213" y="80"/>
                    <a:pt x="213" y="80"/>
                    <a:pt x="213" y="80"/>
                  </a:cubicBezTo>
                  <a:lnTo>
                    <a:pt x="213" y="50"/>
                  </a:lnTo>
                  <a:close/>
                  <a:moveTo>
                    <a:pt x="189" y="42"/>
                  </a:moveTo>
                  <a:cubicBezTo>
                    <a:pt x="213" y="50"/>
                    <a:pt x="213" y="50"/>
                    <a:pt x="213" y="50"/>
                  </a:cubicBezTo>
                  <a:cubicBezTo>
                    <a:pt x="213" y="80"/>
                    <a:pt x="213" y="80"/>
                    <a:pt x="213" y="80"/>
                  </a:cubicBezTo>
                  <a:cubicBezTo>
                    <a:pt x="210" y="90"/>
                    <a:pt x="210" y="90"/>
                    <a:pt x="210" y="90"/>
                  </a:cubicBezTo>
                  <a:cubicBezTo>
                    <a:pt x="213" y="91"/>
                    <a:pt x="213" y="91"/>
                    <a:pt x="213" y="91"/>
                  </a:cubicBezTo>
                  <a:cubicBezTo>
                    <a:pt x="213" y="112"/>
                    <a:pt x="213" y="112"/>
                    <a:pt x="213" y="112"/>
                  </a:cubicBezTo>
                  <a:cubicBezTo>
                    <a:pt x="203" y="108"/>
                    <a:pt x="203" y="108"/>
                    <a:pt x="203" y="108"/>
                  </a:cubicBezTo>
                  <a:cubicBezTo>
                    <a:pt x="202" y="113"/>
                    <a:pt x="200" y="119"/>
                    <a:pt x="198" y="124"/>
                  </a:cubicBezTo>
                  <a:cubicBezTo>
                    <a:pt x="213" y="129"/>
                    <a:pt x="213" y="129"/>
                    <a:pt x="213" y="129"/>
                  </a:cubicBezTo>
                  <a:cubicBezTo>
                    <a:pt x="213" y="149"/>
                    <a:pt x="213" y="149"/>
                    <a:pt x="213" y="149"/>
                  </a:cubicBezTo>
                  <a:cubicBezTo>
                    <a:pt x="192" y="142"/>
                    <a:pt x="192" y="142"/>
                    <a:pt x="192" y="142"/>
                  </a:cubicBezTo>
                  <a:cubicBezTo>
                    <a:pt x="189" y="150"/>
                    <a:pt x="189" y="150"/>
                    <a:pt x="189" y="150"/>
                  </a:cubicBezTo>
                  <a:cubicBezTo>
                    <a:pt x="189" y="83"/>
                    <a:pt x="189" y="83"/>
                    <a:pt x="189" y="83"/>
                  </a:cubicBezTo>
                  <a:cubicBezTo>
                    <a:pt x="199" y="86"/>
                    <a:pt x="199" y="86"/>
                    <a:pt x="199" y="86"/>
                  </a:cubicBezTo>
                  <a:cubicBezTo>
                    <a:pt x="201" y="81"/>
                    <a:pt x="203" y="76"/>
                    <a:pt x="204" y="71"/>
                  </a:cubicBezTo>
                  <a:cubicBezTo>
                    <a:pt x="189" y="66"/>
                    <a:pt x="189" y="66"/>
                    <a:pt x="189" y="66"/>
                  </a:cubicBezTo>
                  <a:cubicBezTo>
                    <a:pt x="189" y="42"/>
                    <a:pt x="189" y="42"/>
                    <a:pt x="189" y="42"/>
                  </a:cubicBezTo>
                  <a:close/>
                  <a:moveTo>
                    <a:pt x="213" y="212"/>
                  </a:moveTo>
                  <a:cubicBezTo>
                    <a:pt x="197" y="261"/>
                    <a:pt x="197" y="261"/>
                    <a:pt x="197" y="261"/>
                  </a:cubicBezTo>
                  <a:cubicBezTo>
                    <a:pt x="189" y="258"/>
                    <a:pt x="189" y="258"/>
                    <a:pt x="189" y="258"/>
                  </a:cubicBezTo>
                  <a:cubicBezTo>
                    <a:pt x="189" y="231"/>
                    <a:pt x="189" y="231"/>
                    <a:pt x="189" y="231"/>
                  </a:cubicBezTo>
                  <a:cubicBezTo>
                    <a:pt x="194" y="219"/>
                    <a:pt x="194" y="219"/>
                    <a:pt x="194" y="219"/>
                  </a:cubicBezTo>
                  <a:cubicBezTo>
                    <a:pt x="189" y="217"/>
                    <a:pt x="189" y="217"/>
                    <a:pt x="189" y="217"/>
                  </a:cubicBezTo>
                  <a:cubicBezTo>
                    <a:pt x="189" y="197"/>
                    <a:pt x="189" y="197"/>
                    <a:pt x="189" y="197"/>
                  </a:cubicBezTo>
                  <a:cubicBezTo>
                    <a:pt x="200" y="200"/>
                    <a:pt x="200" y="200"/>
                    <a:pt x="200" y="200"/>
                  </a:cubicBezTo>
                  <a:cubicBezTo>
                    <a:pt x="202" y="195"/>
                    <a:pt x="203" y="190"/>
                    <a:pt x="205" y="185"/>
                  </a:cubicBezTo>
                  <a:cubicBezTo>
                    <a:pt x="189" y="179"/>
                    <a:pt x="189" y="179"/>
                    <a:pt x="189" y="179"/>
                  </a:cubicBezTo>
                  <a:cubicBezTo>
                    <a:pt x="189" y="159"/>
                    <a:pt x="189" y="159"/>
                    <a:pt x="189" y="159"/>
                  </a:cubicBezTo>
                  <a:cubicBezTo>
                    <a:pt x="211" y="166"/>
                    <a:pt x="211" y="166"/>
                    <a:pt x="211" y="166"/>
                  </a:cubicBezTo>
                  <a:cubicBezTo>
                    <a:pt x="213" y="161"/>
                    <a:pt x="213" y="161"/>
                    <a:pt x="213" y="161"/>
                  </a:cubicBezTo>
                  <a:lnTo>
                    <a:pt x="213" y="212"/>
                  </a:lnTo>
                  <a:close/>
                  <a:moveTo>
                    <a:pt x="143" y="26"/>
                  </a:moveTo>
                  <a:cubicBezTo>
                    <a:pt x="164" y="33"/>
                    <a:pt x="164" y="33"/>
                    <a:pt x="164" y="33"/>
                  </a:cubicBezTo>
                  <a:cubicBezTo>
                    <a:pt x="189" y="42"/>
                    <a:pt x="189" y="42"/>
                    <a:pt x="189" y="42"/>
                  </a:cubicBezTo>
                  <a:cubicBezTo>
                    <a:pt x="189" y="66"/>
                    <a:pt x="189" y="66"/>
                    <a:pt x="189" y="66"/>
                  </a:cubicBezTo>
                  <a:cubicBezTo>
                    <a:pt x="180" y="62"/>
                    <a:pt x="180" y="62"/>
                    <a:pt x="180" y="62"/>
                  </a:cubicBezTo>
                  <a:cubicBezTo>
                    <a:pt x="178" y="68"/>
                    <a:pt x="176" y="73"/>
                    <a:pt x="175" y="78"/>
                  </a:cubicBezTo>
                  <a:cubicBezTo>
                    <a:pt x="189" y="83"/>
                    <a:pt x="189" y="83"/>
                    <a:pt x="189" y="83"/>
                  </a:cubicBezTo>
                  <a:cubicBezTo>
                    <a:pt x="189" y="150"/>
                    <a:pt x="189" y="150"/>
                    <a:pt x="189" y="150"/>
                  </a:cubicBezTo>
                  <a:cubicBezTo>
                    <a:pt x="187" y="158"/>
                    <a:pt x="187" y="158"/>
                    <a:pt x="187" y="158"/>
                  </a:cubicBezTo>
                  <a:cubicBezTo>
                    <a:pt x="189" y="159"/>
                    <a:pt x="189" y="159"/>
                    <a:pt x="189" y="159"/>
                  </a:cubicBezTo>
                  <a:cubicBezTo>
                    <a:pt x="189" y="179"/>
                    <a:pt x="189" y="179"/>
                    <a:pt x="189" y="179"/>
                  </a:cubicBezTo>
                  <a:cubicBezTo>
                    <a:pt x="181" y="176"/>
                    <a:pt x="181" y="176"/>
                    <a:pt x="181" y="176"/>
                  </a:cubicBezTo>
                  <a:cubicBezTo>
                    <a:pt x="179" y="182"/>
                    <a:pt x="177" y="187"/>
                    <a:pt x="175" y="192"/>
                  </a:cubicBezTo>
                  <a:cubicBezTo>
                    <a:pt x="189" y="197"/>
                    <a:pt x="189" y="197"/>
                    <a:pt x="189" y="197"/>
                  </a:cubicBezTo>
                  <a:cubicBezTo>
                    <a:pt x="189" y="217"/>
                    <a:pt x="189" y="217"/>
                    <a:pt x="189" y="217"/>
                  </a:cubicBezTo>
                  <a:cubicBezTo>
                    <a:pt x="169" y="211"/>
                    <a:pt x="169" y="211"/>
                    <a:pt x="169" y="211"/>
                  </a:cubicBezTo>
                  <a:cubicBezTo>
                    <a:pt x="167" y="216"/>
                    <a:pt x="166" y="221"/>
                    <a:pt x="164" y="226"/>
                  </a:cubicBezTo>
                  <a:cubicBezTo>
                    <a:pt x="172" y="229"/>
                    <a:pt x="180" y="231"/>
                    <a:pt x="188" y="234"/>
                  </a:cubicBezTo>
                  <a:cubicBezTo>
                    <a:pt x="189" y="231"/>
                    <a:pt x="189" y="231"/>
                    <a:pt x="189" y="231"/>
                  </a:cubicBezTo>
                  <a:cubicBezTo>
                    <a:pt x="189" y="258"/>
                    <a:pt x="189" y="258"/>
                    <a:pt x="189" y="258"/>
                  </a:cubicBezTo>
                  <a:cubicBezTo>
                    <a:pt x="143" y="242"/>
                    <a:pt x="143" y="242"/>
                    <a:pt x="143" y="242"/>
                  </a:cubicBezTo>
                  <a:cubicBezTo>
                    <a:pt x="143" y="181"/>
                    <a:pt x="143" y="181"/>
                    <a:pt x="143" y="181"/>
                  </a:cubicBezTo>
                  <a:cubicBezTo>
                    <a:pt x="165" y="188"/>
                    <a:pt x="165" y="188"/>
                    <a:pt x="165" y="188"/>
                  </a:cubicBezTo>
                  <a:cubicBezTo>
                    <a:pt x="166" y="183"/>
                    <a:pt x="168" y="178"/>
                    <a:pt x="170" y="173"/>
                  </a:cubicBezTo>
                  <a:cubicBezTo>
                    <a:pt x="162" y="170"/>
                    <a:pt x="154" y="167"/>
                    <a:pt x="146" y="165"/>
                  </a:cubicBezTo>
                  <a:cubicBezTo>
                    <a:pt x="143" y="172"/>
                    <a:pt x="143" y="172"/>
                    <a:pt x="143" y="172"/>
                  </a:cubicBezTo>
                  <a:cubicBezTo>
                    <a:pt x="143" y="137"/>
                    <a:pt x="143" y="137"/>
                    <a:pt x="143" y="137"/>
                  </a:cubicBezTo>
                  <a:cubicBezTo>
                    <a:pt x="146" y="127"/>
                    <a:pt x="146" y="127"/>
                    <a:pt x="146" y="127"/>
                  </a:cubicBezTo>
                  <a:cubicBezTo>
                    <a:pt x="143" y="126"/>
                    <a:pt x="143" y="126"/>
                    <a:pt x="143" y="126"/>
                  </a:cubicBezTo>
                  <a:cubicBezTo>
                    <a:pt x="143" y="105"/>
                    <a:pt x="143" y="105"/>
                    <a:pt x="143" y="105"/>
                  </a:cubicBezTo>
                  <a:cubicBezTo>
                    <a:pt x="153" y="108"/>
                    <a:pt x="153" y="108"/>
                    <a:pt x="153" y="108"/>
                  </a:cubicBezTo>
                  <a:cubicBezTo>
                    <a:pt x="154" y="103"/>
                    <a:pt x="156" y="98"/>
                    <a:pt x="158" y="93"/>
                  </a:cubicBezTo>
                  <a:cubicBezTo>
                    <a:pt x="143" y="88"/>
                    <a:pt x="143" y="88"/>
                    <a:pt x="143" y="88"/>
                  </a:cubicBezTo>
                  <a:cubicBezTo>
                    <a:pt x="143" y="67"/>
                    <a:pt x="143" y="67"/>
                    <a:pt x="143" y="67"/>
                  </a:cubicBezTo>
                  <a:cubicBezTo>
                    <a:pt x="164" y="74"/>
                    <a:pt x="164" y="74"/>
                    <a:pt x="164" y="74"/>
                  </a:cubicBezTo>
                  <a:cubicBezTo>
                    <a:pt x="166" y="69"/>
                    <a:pt x="168" y="64"/>
                    <a:pt x="169" y="59"/>
                  </a:cubicBezTo>
                  <a:cubicBezTo>
                    <a:pt x="161" y="56"/>
                    <a:pt x="153" y="53"/>
                    <a:pt x="145" y="51"/>
                  </a:cubicBezTo>
                  <a:cubicBezTo>
                    <a:pt x="143" y="56"/>
                    <a:pt x="143" y="56"/>
                    <a:pt x="143" y="56"/>
                  </a:cubicBezTo>
                  <a:lnTo>
                    <a:pt x="143" y="26"/>
                  </a:lnTo>
                  <a:close/>
                  <a:moveTo>
                    <a:pt x="119" y="19"/>
                  </a:moveTo>
                  <a:cubicBezTo>
                    <a:pt x="143" y="26"/>
                    <a:pt x="143" y="26"/>
                    <a:pt x="143" y="26"/>
                  </a:cubicBezTo>
                  <a:cubicBezTo>
                    <a:pt x="143" y="56"/>
                    <a:pt x="143" y="56"/>
                    <a:pt x="143" y="56"/>
                  </a:cubicBezTo>
                  <a:cubicBezTo>
                    <a:pt x="140" y="66"/>
                    <a:pt x="140" y="66"/>
                    <a:pt x="140" y="66"/>
                  </a:cubicBezTo>
                  <a:cubicBezTo>
                    <a:pt x="143" y="67"/>
                    <a:pt x="143" y="67"/>
                    <a:pt x="143" y="67"/>
                  </a:cubicBezTo>
                  <a:cubicBezTo>
                    <a:pt x="143" y="88"/>
                    <a:pt x="143" y="88"/>
                    <a:pt x="143" y="88"/>
                  </a:cubicBezTo>
                  <a:cubicBezTo>
                    <a:pt x="133" y="85"/>
                    <a:pt x="133" y="85"/>
                    <a:pt x="133" y="85"/>
                  </a:cubicBezTo>
                  <a:cubicBezTo>
                    <a:pt x="132" y="90"/>
                    <a:pt x="130" y="95"/>
                    <a:pt x="128" y="100"/>
                  </a:cubicBezTo>
                  <a:cubicBezTo>
                    <a:pt x="143" y="105"/>
                    <a:pt x="143" y="105"/>
                    <a:pt x="143" y="105"/>
                  </a:cubicBezTo>
                  <a:cubicBezTo>
                    <a:pt x="143" y="126"/>
                    <a:pt x="143" y="126"/>
                    <a:pt x="143" y="126"/>
                  </a:cubicBezTo>
                  <a:cubicBezTo>
                    <a:pt x="122" y="119"/>
                    <a:pt x="122" y="119"/>
                    <a:pt x="122" y="119"/>
                  </a:cubicBezTo>
                  <a:cubicBezTo>
                    <a:pt x="119" y="126"/>
                    <a:pt x="119" y="126"/>
                    <a:pt x="119" y="126"/>
                  </a:cubicBezTo>
                  <a:cubicBezTo>
                    <a:pt x="119" y="59"/>
                    <a:pt x="119" y="59"/>
                    <a:pt x="119" y="59"/>
                  </a:cubicBezTo>
                  <a:cubicBezTo>
                    <a:pt x="129" y="63"/>
                    <a:pt x="129" y="63"/>
                    <a:pt x="129" y="63"/>
                  </a:cubicBezTo>
                  <a:cubicBezTo>
                    <a:pt x="131" y="57"/>
                    <a:pt x="132" y="52"/>
                    <a:pt x="134" y="47"/>
                  </a:cubicBezTo>
                  <a:cubicBezTo>
                    <a:pt x="119" y="42"/>
                    <a:pt x="119" y="42"/>
                    <a:pt x="119" y="42"/>
                  </a:cubicBezTo>
                  <a:cubicBezTo>
                    <a:pt x="119" y="19"/>
                    <a:pt x="119" y="19"/>
                    <a:pt x="119" y="19"/>
                  </a:cubicBezTo>
                  <a:close/>
                  <a:moveTo>
                    <a:pt x="143" y="242"/>
                  </a:moveTo>
                  <a:cubicBezTo>
                    <a:pt x="119" y="235"/>
                    <a:pt x="119" y="235"/>
                    <a:pt x="119" y="235"/>
                  </a:cubicBezTo>
                  <a:cubicBezTo>
                    <a:pt x="119" y="207"/>
                    <a:pt x="119" y="207"/>
                    <a:pt x="119" y="207"/>
                  </a:cubicBezTo>
                  <a:cubicBezTo>
                    <a:pt x="123" y="195"/>
                    <a:pt x="123" y="195"/>
                    <a:pt x="123" y="195"/>
                  </a:cubicBezTo>
                  <a:cubicBezTo>
                    <a:pt x="119" y="194"/>
                    <a:pt x="119" y="194"/>
                    <a:pt x="119" y="194"/>
                  </a:cubicBezTo>
                  <a:cubicBezTo>
                    <a:pt x="119" y="173"/>
                    <a:pt x="119" y="173"/>
                    <a:pt x="119" y="173"/>
                  </a:cubicBezTo>
                  <a:cubicBezTo>
                    <a:pt x="130" y="177"/>
                    <a:pt x="130" y="177"/>
                    <a:pt x="130" y="177"/>
                  </a:cubicBezTo>
                  <a:cubicBezTo>
                    <a:pt x="131" y="171"/>
                    <a:pt x="133" y="166"/>
                    <a:pt x="135" y="161"/>
                  </a:cubicBezTo>
                  <a:cubicBezTo>
                    <a:pt x="119" y="156"/>
                    <a:pt x="119" y="156"/>
                    <a:pt x="119" y="156"/>
                  </a:cubicBezTo>
                  <a:cubicBezTo>
                    <a:pt x="119" y="135"/>
                    <a:pt x="119" y="135"/>
                    <a:pt x="119" y="135"/>
                  </a:cubicBezTo>
                  <a:cubicBezTo>
                    <a:pt x="141" y="142"/>
                    <a:pt x="141" y="142"/>
                    <a:pt x="141" y="142"/>
                  </a:cubicBezTo>
                  <a:cubicBezTo>
                    <a:pt x="143" y="137"/>
                    <a:pt x="143" y="137"/>
                    <a:pt x="143" y="137"/>
                  </a:cubicBezTo>
                  <a:cubicBezTo>
                    <a:pt x="143" y="172"/>
                    <a:pt x="143" y="172"/>
                    <a:pt x="143" y="172"/>
                  </a:cubicBezTo>
                  <a:cubicBezTo>
                    <a:pt x="140" y="180"/>
                    <a:pt x="140" y="180"/>
                    <a:pt x="140" y="180"/>
                  </a:cubicBezTo>
                  <a:cubicBezTo>
                    <a:pt x="143" y="181"/>
                    <a:pt x="143" y="181"/>
                    <a:pt x="143" y="181"/>
                  </a:cubicBezTo>
                  <a:lnTo>
                    <a:pt x="143" y="242"/>
                  </a:lnTo>
                  <a:close/>
                  <a:moveTo>
                    <a:pt x="96" y="11"/>
                  </a:moveTo>
                  <a:cubicBezTo>
                    <a:pt x="119" y="19"/>
                    <a:pt x="119" y="19"/>
                    <a:pt x="119" y="19"/>
                  </a:cubicBezTo>
                  <a:cubicBezTo>
                    <a:pt x="119" y="42"/>
                    <a:pt x="119" y="42"/>
                    <a:pt x="119" y="42"/>
                  </a:cubicBezTo>
                  <a:cubicBezTo>
                    <a:pt x="110" y="39"/>
                    <a:pt x="110" y="39"/>
                    <a:pt x="110" y="39"/>
                  </a:cubicBezTo>
                  <a:cubicBezTo>
                    <a:pt x="108" y="44"/>
                    <a:pt x="106" y="49"/>
                    <a:pt x="105" y="54"/>
                  </a:cubicBezTo>
                  <a:cubicBezTo>
                    <a:pt x="119" y="59"/>
                    <a:pt x="119" y="59"/>
                    <a:pt x="119" y="59"/>
                  </a:cubicBezTo>
                  <a:cubicBezTo>
                    <a:pt x="119" y="126"/>
                    <a:pt x="119" y="126"/>
                    <a:pt x="119" y="126"/>
                  </a:cubicBezTo>
                  <a:cubicBezTo>
                    <a:pt x="117" y="134"/>
                    <a:pt x="117" y="134"/>
                    <a:pt x="117" y="134"/>
                  </a:cubicBezTo>
                  <a:cubicBezTo>
                    <a:pt x="119" y="135"/>
                    <a:pt x="119" y="135"/>
                    <a:pt x="119" y="135"/>
                  </a:cubicBezTo>
                  <a:cubicBezTo>
                    <a:pt x="119" y="156"/>
                    <a:pt x="119" y="156"/>
                    <a:pt x="119" y="156"/>
                  </a:cubicBezTo>
                  <a:cubicBezTo>
                    <a:pt x="110" y="153"/>
                    <a:pt x="110" y="153"/>
                    <a:pt x="110" y="153"/>
                  </a:cubicBezTo>
                  <a:cubicBezTo>
                    <a:pt x="109" y="158"/>
                    <a:pt x="107" y="163"/>
                    <a:pt x="105" y="168"/>
                  </a:cubicBezTo>
                  <a:cubicBezTo>
                    <a:pt x="119" y="173"/>
                    <a:pt x="119" y="173"/>
                    <a:pt x="119" y="173"/>
                  </a:cubicBezTo>
                  <a:cubicBezTo>
                    <a:pt x="119" y="194"/>
                    <a:pt x="119" y="194"/>
                    <a:pt x="119" y="194"/>
                  </a:cubicBezTo>
                  <a:cubicBezTo>
                    <a:pt x="99" y="187"/>
                    <a:pt x="99" y="187"/>
                    <a:pt x="99" y="187"/>
                  </a:cubicBezTo>
                  <a:cubicBezTo>
                    <a:pt x="96" y="195"/>
                    <a:pt x="96" y="195"/>
                    <a:pt x="96" y="195"/>
                  </a:cubicBezTo>
                  <a:cubicBezTo>
                    <a:pt x="96" y="128"/>
                    <a:pt x="96" y="128"/>
                    <a:pt x="96" y="128"/>
                  </a:cubicBezTo>
                  <a:cubicBezTo>
                    <a:pt x="106" y="131"/>
                    <a:pt x="106" y="131"/>
                    <a:pt x="106" y="131"/>
                  </a:cubicBezTo>
                  <a:cubicBezTo>
                    <a:pt x="108" y="126"/>
                    <a:pt x="110" y="120"/>
                    <a:pt x="111" y="115"/>
                  </a:cubicBezTo>
                  <a:cubicBezTo>
                    <a:pt x="96" y="110"/>
                    <a:pt x="96" y="110"/>
                    <a:pt x="96" y="110"/>
                  </a:cubicBezTo>
                  <a:cubicBezTo>
                    <a:pt x="96" y="43"/>
                    <a:pt x="96" y="43"/>
                    <a:pt x="96" y="43"/>
                  </a:cubicBezTo>
                  <a:cubicBezTo>
                    <a:pt x="99" y="35"/>
                    <a:pt x="99" y="35"/>
                    <a:pt x="99" y="35"/>
                  </a:cubicBezTo>
                  <a:cubicBezTo>
                    <a:pt x="96" y="34"/>
                    <a:pt x="96" y="34"/>
                    <a:pt x="96" y="34"/>
                  </a:cubicBezTo>
                  <a:cubicBezTo>
                    <a:pt x="96" y="11"/>
                    <a:pt x="96" y="11"/>
                    <a:pt x="96" y="11"/>
                  </a:cubicBezTo>
                  <a:close/>
                  <a:moveTo>
                    <a:pt x="119" y="235"/>
                  </a:moveTo>
                  <a:cubicBezTo>
                    <a:pt x="99" y="228"/>
                    <a:pt x="99" y="228"/>
                    <a:pt x="99" y="228"/>
                  </a:cubicBezTo>
                  <a:cubicBezTo>
                    <a:pt x="96" y="227"/>
                    <a:pt x="96" y="227"/>
                    <a:pt x="96" y="227"/>
                  </a:cubicBezTo>
                  <a:cubicBezTo>
                    <a:pt x="96" y="203"/>
                    <a:pt x="96" y="203"/>
                    <a:pt x="96" y="203"/>
                  </a:cubicBezTo>
                  <a:cubicBezTo>
                    <a:pt x="118" y="211"/>
                    <a:pt x="118" y="211"/>
                    <a:pt x="118" y="211"/>
                  </a:cubicBezTo>
                  <a:cubicBezTo>
                    <a:pt x="119" y="207"/>
                    <a:pt x="119" y="207"/>
                    <a:pt x="119" y="207"/>
                  </a:cubicBezTo>
                  <a:lnTo>
                    <a:pt x="119" y="235"/>
                  </a:lnTo>
                  <a:close/>
                  <a:moveTo>
                    <a:pt x="73" y="3"/>
                  </a:moveTo>
                  <a:cubicBezTo>
                    <a:pt x="96" y="11"/>
                    <a:pt x="96" y="11"/>
                    <a:pt x="96" y="11"/>
                  </a:cubicBezTo>
                  <a:cubicBezTo>
                    <a:pt x="96" y="34"/>
                    <a:pt x="96" y="34"/>
                    <a:pt x="96" y="34"/>
                  </a:cubicBezTo>
                  <a:cubicBezTo>
                    <a:pt x="75" y="27"/>
                    <a:pt x="75" y="27"/>
                    <a:pt x="75" y="27"/>
                  </a:cubicBezTo>
                  <a:cubicBezTo>
                    <a:pt x="73" y="33"/>
                    <a:pt x="73" y="33"/>
                    <a:pt x="73" y="33"/>
                  </a:cubicBezTo>
                  <a:cubicBezTo>
                    <a:pt x="73" y="3"/>
                    <a:pt x="73" y="3"/>
                    <a:pt x="73" y="3"/>
                  </a:cubicBezTo>
                  <a:close/>
                  <a:moveTo>
                    <a:pt x="96" y="227"/>
                  </a:moveTo>
                  <a:cubicBezTo>
                    <a:pt x="73" y="219"/>
                    <a:pt x="73" y="219"/>
                    <a:pt x="73" y="219"/>
                  </a:cubicBezTo>
                  <a:cubicBezTo>
                    <a:pt x="73" y="195"/>
                    <a:pt x="73" y="195"/>
                    <a:pt x="73" y="195"/>
                  </a:cubicBezTo>
                  <a:cubicBezTo>
                    <a:pt x="83" y="199"/>
                    <a:pt x="83" y="199"/>
                    <a:pt x="83" y="199"/>
                  </a:cubicBezTo>
                  <a:cubicBezTo>
                    <a:pt x="85" y="194"/>
                    <a:pt x="87" y="189"/>
                    <a:pt x="88" y="184"/>
                  </a:cubicBezTo>
                  <a:cubicBezTo>
                    <a:pt x="73" y="178"/>
                    <a:pt x="73" y="178"/>
                    <a:pt x="73" y="178"/>
                  </a:cubicBezTo>
                  <a:cubicBezTo>
                    <a:pt x="73" y="82"/>
                    <a:pt x="73" y="82"/>
                    <a:pt x="73" y="82"/>
                  </a:cubicBezTo>
                  <a:cubicBezTo>
                    <a:pt x="83" y="85"/>
                    <a:pt x="83" y="85"/>
                    <a:pt x="83" y="85"/>
                  </a:cubicBezTo>
                  <a:cubicBezTo>
                    <a:pt x="84" y="80"/>
                    <a:pt x="86" y="75"/>
                    <a:pt x="88" y="69"/>
                  </a:cubicBezTo>
                  <a:cubicBezTo>
                    <a:pt x="73" y="64"/>
                    <a:pt x="73" y="64"/>
                    <a:pt x="73" y="64"/>
                  </a:cubicBezTo>
                  <a:cubicBezTo>
                    <a:pt x="73" y="44"/>
                    <a:pt x="73" y="44"/>
                    <a:pt x="73" y="44"/>
                  </a:cubicBezTo>
                  <a:cubicBezTo>
                    <a:pt x="94" y="51"/>
                    <a:pt x="94" y="51"/>
                    <a:pt x="94" y="51"/>
                  </a:cubicBezTo>
                  <a:cubicBezTo>
                    <a:pt x="96" y="43"/>
                    <a:pt x="96" y="43"/>
                    <a:pt x="96" y="43"/>
                  </a:cubicBezTo>
                  <a:cubicBezTo>
                    <a:pt x="96" y="110"/>
                    <a:pt x="96" y="110"/>
                    <a:pt x="96" y="110"/>
                  </a:cubicBezTo>
                  <a:cubicBezTo>
                    <a:pt x="87" y="107"/>
                    <a:pt x="87" y="107"/>
                    <a:pt x="87" y="107"/>
                  </a:cubicBezTo>
                  <a:cubicBezTo>
                    <a:pt x="85" y="112"/>
                    <a:pt x="83" y="117"/>
                    <a:pt x="82" y="123"/>
                  </a:cubicBezTo>
                  <a:cubicBezTo>
                    <a:pt x="96" y="128"/>
                    <a:pt x="96" y="128"/>
                    <a:pt x="96" y="128"/>
                  </a:cubicBezTo>
                  <a:cubicBezTo>
                    <a:pt x="96" y="195"/>
                    <a:pt x="96" y="195"/>
                    <a:pt x="96" y="195"/>
                  </a:cubicBezTo>
                  <a:cubicBezTo>
                    <a:pt x="94" y="202"/>
                    <a:pt x="94" y="202"/>
                    <a:pt x="94" y="202"/>
                  </a:cubicBezTo>
                  <a:cubicBezTo>
                    <a:pt x="96" y="203"/>
                    <a:pt x="96" y="203"/>
                    <a:pt x="96" y="203"/>
                  </a:cubicBezTo>
                  <a:lnTo>
                    <a:pt x="96" y="227"/>
                  </a:lnTo>
                  <a:close/>
                  <a:moveTo>
                    <a:pt x="39" y="81"/>
                  </a:moveTo>
                  <a:cubicBezTo>
                    <a:pt x="65" y="0"/>
                    <a:pt x="65" y="0"/>
                    <a:pt x="65" y="0"/>
                  </a:cubicBezTo>
                  <a:cubicBezTo>
                    <a:pt x="73" y="3"/>
                    <a:pt x="73" y="3"/>
                    <a:pt x="73" y="3"/>
                  </a:cubicBezTo>
                  <a:cubicBezTo>
                    <a:pt x="73" y="33"/>
                    <a:pt x="73" y="33"/>
                    <a:pt x="73" y="33"/>
                  </a:cubicBezTo>
                  <a:cubicBezTo>
                    <a:pt x="69" y="43"/>
                    <a:pt x="69" y="43"/>
                    <a:pt x="69" y="43"/>
                  </a:cubicBezTo>
                  <a:cubicBezTo>
                    <a:pt x="73" y="44"/>
                    <a:pt x="73" y="44"/>
                    <a:pt x="73" y="44"/>
                  </a:cubicBezTo>
                  <a:cubicBezTo>
                    <a:pt x="73" y="64"/>
                    <a:pt x="73" y="64"/>
                    <a:pt x="73" y="64"/>
                  </a:cubicBezTo>
                  <a:cubicBezTo>
                    <a:pt x="63" y="61"/>
                    <a:pt x="63" y="61"/>
                    <a:pt x="63" y="61"/>
                  </a:cubicBezTo>
                  <a:cubicBezTo>
                    <a:pt x="62" y="66"/>
                    <a:pt x="60" y="72"/>
                    <a:pt x="58" y="77"/>
                  </a:cubicBezTo>
                  <a:cubicBezTo>
                    <a:pt x="73" y="82"/>
                    <a:pt x="73" y="82"/>
                    <a:pt x="73" y="82"/>
                  </a:cubicBezTo>
                  <a:cubicBezTo>
                    <a:pt x="73" y="178"/>
                    <a:pt x="73" y="178"/>
                    <a:pt x="73" y="178"/>
                  </a:cubicBezTo>
                  <a:cubicBezTo>
                    <a:pt x="64" y="175"/>
                    <a:pt x="64" y="175"/>
                    <a:pt x="64" y="175"/>
                  </a:cubicBezTo>
                  <a:cubicBezTo>
                    <a:pt x="62" y="181"/>
                    <a:pt x="60" y="186"/>
                    <a:pt x="59" y="191"/>
                  </a:cubicBezTo>
                  <a:cubicBezTo>
                    <a:pt x="73" y="195"/>
                    <a:pt x="73" y="195"/>
                    <a:pt x="73" y="195"/>
                  </a:cubicBezTo>
                  <a:cubicBezTo>
                    <a:pt x="73" y="219"/>
                    <a:pt x="73" y="219"/>
                    <a:pt x="73" y="219"/>
                  </a:cubicBezTo>
                  <a:cubicBezTo>
                    <a:pt x="39" y="207"/>
                    <a:pt x="39" y="207"/>
                    <a:pt x="39" y="207"/>
                  </a:cubicBezTo>
                  <a:cubicBezTo>
                    <a:pt x="39" y="184"/>
                    <a:pt x="39" y="184"/>
                    <a:pt x="39" y="184"/>
                  </a:cubicBezTo>
                  <a:cubicBezTo>
                    <a:pt x="48" y="187"/>
                    <a:pt x="48" y="187"/>
                    <a:pt x="48" y="187"/>
                  </a:cubicBezTo>
                  <a:cubicBezTo>
                    <a:pt x="50" y="182"/>
                    <a:pt x="52" y="177"/>
                    <a:pt x="53" y="172"/>
                  </a:cubicBezTo>
                  <a:cubicBezTo>
                    <a:pt x="39" y="167"/>
                    <a:pt x="39" y="167"/>
                    <a:pt x="39" y="167"/>
                  </a:cubicBezTo>
                  <a:cubicBezTo>
                    <a:pt x="39" y="146"/>
                    <a:pt x="39" y="146"/>
                    <a:pt x="39" y="146"/>
                  </a:cubicBezTo>
                  <a:cubicBezTo>
                    <a:pt x="60" y="153"/>
                    <a:pt x="60" y="153"/>
                    <a:pt x="60" y="153"/>
                  </a:cubicBezTo>
                  <a:cubicBezTo>
                    <a:pt x="61" y="148"/>
                    <a:pt x="63" y="143"/>
                    <a:pt x="65" y="138"/>
                  </a:cubicBezTo>
                  <a:cubicBezTo>
                    <a:pt x="57" y="135"/>
                    <a:pt x="49" y="132"/>
                    <a:pt x="40" y="129"/>
                  </a:cubicBezTo>
                  <a:cubicBezTo>
                    <a:pt x="39" y="135"/>
                    <a:pt x="39" y="135"/>
                    <a:pt x="39" y="135"/>
                  </a:cubicBezTo>
                  <a:lnTo>
                    <a:pt x="39" y="81"/>
                  </a:lnTo>
                  <a:close/>
                  <a:moveTo>
                    <a:pt x="0" y="195"/>
                  </a:moveTo>
                  <a:cubicBezTo>
                    <a:pt x="39" y="81"/>
                    <a:pt x="39" y="81"/>
                    <a:pt x="39" y="81"/>
                  </a:cubicBezTo>
                  <a:cubicBezTo>
                    <a:pt x="39" y="135"/>
                    <a:pt x="39" y="135"/>
                    <a:pt x="39" y="135"/>
                  </a:cubicBezTo>
                  <a:cubicBezTo>
                    <a:pt x="35" y="145"/>
                    <a:pt x="35" y="145"/>
                    <a:pt x="35" y="145"/>
                  </a:cubicBezTo>
                  <a:cubicBezTo>
                    <a:pt x="39" y="146"/>
                    <a:pt x="39" y="146"/>
                    <a:pt x="39" y="146"/>
                  </a:cubicBezTo>
                  <a:cubicBezTo>
                    <a:pt x="39" y="167"/>
                    <a:pt x="39" y="167"/>
                    <a:pt x="39" y="167"/>
                  </a:cubicBezTo>
                  <a:cubicBezTo>
                    <a:pt x="29" y="164"/>
                    <a:pt x="29" y="164"/>
                    <a:pt x="29" y="164"/>
                  </a:cubicBezTo>
                  <a:cubicBezTo>
                    <a:pt x="27" y="169"/>
                    <a:pt x="25" y="174"/>
                    <a:pt x="24" y="179"/>
                  </a:cubicBezTo>
                  <a:cubicBezTo>
                    <a:pt x="39" y="184"/>
                    <a:pt x="39" y="184"/>
                    <a:pt x="39" y="184"/>
                  </a:cubicBezTo>
                  <a:cubicBezTo>
                    <a:pt x="39" y="207"/>
                    <a:pt x="39" y="207"/>
                    <a:pt x="39" y="207"/>
                  </a:cubicBezTo>
                  <a:lnTo>
                    <a:pt x="0" y="195"/>
                  </a:lnTo>
                  <a:close/>
                </a:path>
              </a:pathLst>
            </a:custGeom>
            <a:grp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6" name="iśḻîdè">
              <a:extLst>
                <a:ext uri="{FF2B5EF4-FFF2-40B4-BE49-F238E27FC236}">
                  <a16:creationId xmlns:a16="http://schemas.microsoft.com/office/drawing/2014/main" id="{A0F0B936-DD60-4DD8-95C9-6E2B6FDDB2CD}"/>
                </a:ext>
              </a:extLst>
            </p:cNvPr>
            <p:cNvSpPr/>
            <p:nvPr/>
          </p:nvSpPr>
          <p:spPr bwMode="auto">
            <a:xfrm flipH="1">
              <a:off x="2251617" y="2019694"/>
              <a:ext cx="290271" cy="182750"/>
            </a:xfrm>
            <a:custGeom>
              <a:avLst/>
              <a:gdLst>
                <a:gd name="T0" fmla="*/ 121 w 173"/>
                <a:gd name="T1" fmla="*/ 14 h 112"/>
                <a:gd name="T2" fmla="*/ 173 w 173"/>
                <a:gd name="T3" fmla="*/ 53 h 112"/>
                <a:gd name="T4" fmla="*/ 121 w 173"/>
                <a:gd name="T5" fmla="*/ 91 h 112"/>
                <a:gd name="T6" fmla="*/ 101 w 173"/>
                <a:gd name="T7" fmla="*/ 88 h 112"/>
                <a:gd name="T8" fmla="*/ 52 w 173"/>
                <a:gd name="T9" fmla="*/ 112 h 112"/>
                <a:gd name="T10" fmla="*/ 0 w 173"/>
                <a:gd name="T11" fmla="*/ 74 h 112"/>
                <a:gd name="T12" fmla="*/ 12 w 173"/>
                <a:gd name="T13" fmla="*/ 50 h 112"/>
                <a:gd name="T14" fmla="*/ 9 w 173"/>
                <a:gd name="T15" fmla="*/ 38 h 112"/>
                <a:gd name="T16" fmla="*/ 61 w 173"/>
                <a:gd name="T17" fmla="*/ 0 h 112"/>
                <a:gd name="T18" fmla="*/ 104 w 173"/>
                <a:gd name="T19" fmla="*/ 16 h 112"/>
                <a:gd name="T20" fmla="*/ 121 w 173"/>
                <a:gd name="T21" fmla="*/ 1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112">
                  <a:moveTo>
                    <a:pt x="121" y="14"/>
                  </a:moveTo>
                  <a:cubicBezTo>
                    <a:pt x="150" y="14"/>
                    <a:pt x="173" y="31"/>
                    <a:pt x="173" y="53"/>
                  </a:cubicBezTo>
                  <a:cubicBezTo>
                    <a:pt x="173" y="74"/>
                    <a:pt x="150" y="91"/>
                    <a:pt x="121" y="91"/>
                  </a:cubicBezTo>
                  <a:cubicBezTo>
                    <a:pt x="114" y="91"/>
                    <a:pt x="107" y="90"/>
                    <a:pt x="101" y="88"/>
                  </a:cubicBezTo>
                  <a:cubicBezTo>
                    <a:pt x="93" y="102"/>
                    <a:pt x="74" y="112"/>
                    <a:pt x="52" y="112"/>
                  </a:cubicBezTo>
                  <a:cubicBezTo>
                    <a:pt x="23" y="112"/>
                    <a:pt x="0" y="95"/>
                    <a:pt x="0" y="74"/>
                  </a:cubicBezTo>
                  <a:cubicBezTo>
                    <a:pt x="0" y="65"/>
                    <a:pt x="4" y="56"/>
                    <a:pt x="12" y="50"/>
                  </a:cubicBezTo>
                  <a:cubicBezTo>
                    <a:pt x="10" y="46"/>
                    <a:pt x="9" y="42"/>
                    <a:pt x="9" y="38"/>
                  </a:cubicBezTo>
                  <a:cubicBezTo>
                    <a:pt x="9" y="17"/>
                    <a:pt x="33" y="0"/>
                    <a:pt x="61" y="0"/>
                  </a:cubicBezTo>
                  <a:cubicBezTo>
                    <a:pt x="79" y="0"/>
                    <a:pt x="95" y="7"/>
                    <a:pt x="104" y="16"/>
                  </a:cubicBezTo>
                  <a:cubicBezTo>
                    <a:pt x="109" y="15"/>
                    <a:pt x="115" y="14"/>
                    <a:pt x="121" y="14"/>
                  </a:cubicBezTo>
                  <a:close/>
                </a:path>
              </a:pathLst>
            </a:custGeom>
            <a:grp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7" name="iṧlîďê">
              <a:extLst>
                <a:ext uri="{FF2B5EF4-FFF2-40B4-BE49-F238E27FC236}">
                  <a16:creationId xmlns:a16="http://schemas.microsoft.com/office/drawing/2014/main" id="{485F2CED-B0C3-47F5-804D-4C834C63CB6F}"/>
                </a:ext>
              </a:extLst>
            </p:cNvPr>
            <p:cNvSpPr/>
            <p:nvPr/>
          </p:nvSpPr>
          <p:spPr bwMode="auto">
            <a:xfrm flipH="1">
              <a:off x="2671938" y="1818669"/>
              <a:ext cx="234090" cy="148231"/>
            </a:xfrm>
            <a:custGeom>
              <a:avLst/>
              <a:gdLst>
                <a:gd name="T0" fmla="*/ 98 w 140"/>
                <a:gd name="T1" fmla="*/ 11 h 91"/>
                <a:gd name="T2" fmla="*/ 140 w 140"/>
                <a:gd name="T3" fmla="*/ 42 h 91"/>
                <a:gd name="T4" fmla="*/ 98 w 140"/>
                <a:gd name="T5" fmla="*/ 73 h 91"/>
                <a:gd name="T6" fmla="*/ 82 w 140"/>
                <a:gd name="T7" fmla="*/ 71 h 91"/>
                <a:gd name="T8" fmla="*/ 42 w 140"/>
                <a:gd name="T9" fmla="*/ 91 h 91"/>
                <a:gd name="T10" fmla="*/ 0 w 140"/>
                <a:gd name="T11" fmla="*/ 59 h 91"/>
                <a:gd name="T12" fmla="*/ 9 w 140"/>
                <a:gd name="T13" fmla="*/ 40 h 91"/>
                <a:gd name="T14" fmla="*/ 7 w 140"/>
                <a:gd name="T15" fmla="*/ 31 h 91"/>
                <a:gd name="T16" fmla="*/ 50 w 140"/>
                <a:gd name="T17" fmla="*/ 0 h 91"/>
                <a:gd name="T18" fmla="*/ 84 w 140"/>
                <a:gd name="T19" fmla="*/ 13 h 91"/>
                <a:gd name="T20" fmla="*/ 98 w 140"/>
                <a:gd name="T21" fmla="*/ 1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91">
                  <a:moveTo>
                    <a:pt x="98" y="11"/>
                  </a:moveTo>
                  <a:cubicBezTo>
                    <a:pt x="121" y="11"/>
                    <a:pt x="140" y="25"/>
                    <a:pt x="140" y="42"/>
                  </a:cubicBezTo>
                  <a:cubicBezTo>
                    <a:pt x="140" y="59"/>
                    <a:pt x="121" y="73"/>
                    <a:pt x="98" y="73"/>
                  </a:cubicBezTo>
                  <a:cubicBezTo>
                    <a:pt x="92" y="73"/>
                    <a:pt x="87" y="73"/>
                    <a:pt x="82" y="71"/>
                  </a:cubicBezTo>
                  <a:cubicBezTo>
                    <a:pt x="75" y="82"/>
                    <a:pt x="60" y="91"/>
                    <a:pt x="42" y="91"/>
                  </a:cubicBezTo>
                  <a:cubicBezTo>
                    <a:pt x="19" y="91"/>
                    <a:pt x="0" y="77"/>
                    <a:pt x="0" y="59"/>
                  </a:cubicBezTo>
                  <a:cubicBezTo>
                    <a:pt x="0" y="52"/>
                    <a:pt x="3" y="45"/>
                    <a:pt x="9" y="40"/>
                  </a:cubicBezTo>
                  <a:cubicBezTo>
                    <a:pt x="8" y="37"/>
                    <a:pt x="7" y="34"/>
                    <a:pt x="7" y="31"/>
                  </a:cubicBezTo>
                  <a:cubicBezTo>
                    <a:pt x="7" y="14"/>
                    <a:pt x="26" y="0"/>
                    <a:pt x="50" y="0"/>
                  </a:cubicBezTo>
                  <a:cubicBezTo>
                    <a:pt x="64" y="0"/>
                    <a:pt x="77" y="5"/>
                    <a:pt x="84" y="13"/>
                  </a:cubicBezTo>
                  <a:cubicBezTo>
                    <a:pt x="89" y="12"/>
                    <a:pt x="93" y="11"/>
                    <a:pt x="98" y="11"/>
                  </a:cubicBezTo>
                  <a:close/>
                </a:path>
              </a:pathLst>
            </a:custGeom>
            <a:grp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8" name="iŝļïḓé">
              <a:extLst>
                <a:ext uri="{FF2B5EF4-FFF2-40B4-BE49-F238E27FC236}">
                  <a16:creationId xmlns:a16="http://schemas.microsoft.com/office/drawing/2014/main" id="{27C1B33D-4F29-4AB5-AECC-1A96861B40AE}"/>
                </a:ext>
              </a:extLst>
            </p:cNvPr>
            <p:cNvSpPr/>
            <p:nvPr/>
          </p:nvSpPr>
          <p:spPr bwMode="auto">
            <a:xfrm flipH="1">
              <a:off x="3919376" y="1760798"/>
              <a:ext cx="289231" cy="183765"/>
            </a:xfrm>
            <a:custGeom>
              <a:avLst/>
              <a:gdLst>
                <a:gd name="T0" fmla="*/ 121 w 173"/>
                <a:gd name="T1" fmla="*/ 14 h 112"/>
                <a:gd name="T2" fmla="*/ 173 w 173"/>
                <a:gd name="T3" fmla="*/ 53 h 112"/>
                <a:gd name="T4" fmla="*/ 121 w 173"/>
                <a:gd name="T5" fmla="*/ 91 h 112"/>
                <a:gd name="T6" fmla="*/ 101 w 173"/>
                <a:gd name="T7" fmla="*/ 88 h 112"/>
                <a:gd name="T8" fmla="*/ 52 w 173"/>
                <a:gd name="T9" fmla="*/ 112 h 112"/>
                <a:gd name="T10" fmla="*/ 0 w 173"/>
                <a:gd name="T11" fmla="*/ 74 h 112"/>
                <a:gd name="T12" fmla="*/ 12 w 173"/>
                <a:gd name="T13" fmla="*/ 50 h 112"/>
                <a:gd name="T14" fmla="*/ 9 w 173"/>
                <a:gd name="T15" fmla="*/ 39 h 112"/>
                <a:gd name="T16" fmla="*/ 61 w 173"/>
                <a:gd name="T17" fmla="*/ 0 h 112"/>
                <a:gd name="T18" fmla="*/ 104 w 173"/>
                <a:gd name="T19" fmla="*/ 16 h 112"/>
                <a:gd name="T20" fmla="*/ 121 w 173"/>
                <a:gd name="T21" fmla="*/ 1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112">
                  <a:moveTo>
                    <a:pt x="121" y="14"/>
                  </a:moveTo>
                  <a:cubicBezTo>
                    <a:pt x="150" y="14"/>
                    <a:pt x="173" y="32"/>
                    <a:pt x="173" y="53"/>
                  </a:cubicBezTo>
                  <a:cubicBezTo>
                    <a:pt x="173" y="74"/>
                    <a:pt x="150" y="91"/>
                    <a:pt x="121" y="91"/>
                  </a:cubicBezTo>
                  <a:cubicBezTo>
                    <a:pt x="114" y="91"/>
                    <a:pt x="107" y="90"/>
                    <a:pt x="101" y="88"/>
                  </a:cubicBezTo>
                  <a:cubicBezTo>
                    <a:pt x="93" y="102"/>
                    <a:pt x="74" y="112"/>
                    <a:pt x="52" y="112"/>
                  </a:cubicBezTo>
                  <a:cubicBezTo>
                    <a:pt x="23" y="112"/>
                    <a:pt x="0" y="95"/>
                    <a:pt x="0" y="74"/>
                  </a:cubicBezTo>
                  <a:cubicBezTo>
                    <a:pt x="0" y="65"/>
                    <a:pt x="4" y="56"/>
                    <a:pt x="12" y="50"/>
                  </a:cubicBezTo>
                  <a:cubicBezTo>
                    <a:pt x="10" y="46"/>
                    <a:pt x="9" y="42"/>
                    <a:pt x="9" y="39"/>
                  </a:cubicBezTo>
                  <a:cubicBezTo>
                    <a:pt x="9" y="17"/>
                    <a:pt x="33" y="0"/>
                    <a:pt x="61" y="0"/>
                  </a:cubicBezTo>
                  <a:cubicBezTo>
                    <a:pt x="79" y="0"/>
                    <a:pt x="95" y="7"/>
                    <a:pt x="104" y="16"/>
                  </a:cubicBezTo>
                  <a:cubicBezTo>
                    <a:pt x="109" y="15"/>
                    <a:pt x="115" y="14"/>
                    <a:pt x="121" y="14"/>
                  </a:cubicBezTo>
                  <a:close/>
                </a:path>
              </a:pathLst>
            </a:custGeom>
            <a:grpFill/>
            <a:ln>
              <a:noFill/>
            </a:ln>
          </p:spPr>
          <p:txBody>
            <a:bodyPr vert="horz" wrap="square" lIns="91440" tIns="45720" rIns="91440" bIns="45720" numCol="1" anchor="t" anchorCtr="0" compatLnSpc="1">
              <a:prstTxWarp prst="textNoShape">
                <a:avLst/>
              </a:prstTxWarp>
              <a:normAutofit fontScale="4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9" name="îsliďè">
              <a:extLst>
                <a:ext uri="{FF2B5EF4-FFF2-40B4-BE49-F238E27FC236}">
                  <a16:creationId xmlns:a16="http://schemas.microsoft.com/office/drawing/2014/main" id="{EC04BD24-D9B4-42D3-A6B8-05BCB0B10A63}"/>
                </a:ext>
              </a:extLst>
            </p:cNvPr>
            <p:cNvSpPr/>
            <p:nvPr/>
          </p:nvSpPr>
          <p:spPr bwMode="auto">
            <a:xfrm flipH="1">
              <a:off x="4182597" y="1971976"/>
              <a:ext cx="235130" cy="148231"/>
            </a:xfrm>
            <a:custGeom>
              <a:avLst/>
              <a:gdLst>
                <a:gd name="T0" fmla="*/ 99 w 141"/>
                <a:gd name="T1" fmla="*/ 11 h 91"/>
                <a:gd name="T2" fmla="*/ 141 w 141"/>
                <a:gd name="T3" fmla="*/ 42 h 91"/>
                <a:gd name="T4" fmla="*/ 99 w 141"/>
                <a:gd name="T5" fmla="*/ 73 h 91"/>
                <a:gd name="T6" fmla="*/ 82 w 141"/>
                <a:gd name="T7" fmla="*/ 71 h 91"/>
                <a:gd name="T8" fmla="*/ 43 w 141"/>
                <a:gd name="T9" fmla="*/ 91 h 91"/>
                <a:gd name="T10" fmla="*/ 0 w 141"/>
                <a:gd name="T11" fmla="*/ 59 h 91"/>
                <a:gd name="T12" fmla="*/ 10 w 141"/>
                <a:gd name="T13" fmla="*/ 40 h 91"/>
                <a:gd name="T14" fmla="*/ 8 w 141"/>
                <a:gd name="T15" fmla="*/ 31 h 91"/>
                <a:gd name="T16" fmla="*/ 50 w 141"/>
                <a:gd name="T17" fmla="*/ 0 h 91"/>
                <a:gd name="T18" fmla="*/ 85 w 141"/>
                <a:gd name="T19" fmla="*/ 13 h 91"/>
                <a:gd name="T20" fmla="*/ 99 w 141"/>
                <a:gd name="T21" fmla="*/ 1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91">
                  <a:moveTo>
                    <a:pt x="99" y="11"/>
                  </a:moveTo>
                  <a:cubicBezTo>
                    <a:pt x="122" y="11"/>
                    <a:pt x="141" y="25"/>
                    <a:pt x="141" y="42"/>
                  </a:cubicBezTo>
                  <a:cubicBezTo>
                    <a:pt x="141" y="60"/>
                    <a:pt x="122" y="73"/>
                    <a:pt x="99" y="73"/>
                  </a:cubicBezTo>
                  <a:cubicBezTo>
                    <a:pt x="93" y="73"/>
                    <a:pt x="87" y="73"/>
                    <a:pt x="82" y="71"/>
                  </a:cubicBezTo>
                  <a:cubicBezTo>
                    <a:pt x="76" y="83"/>
                    <a:pt x="61" y="91"/>
                    <a:pt x="43" y="91"/>
                  </a:cubicBezTo>
                  <a:cubicBezTo>
                    <a:pt x="19" y="91"/>
                    <a:pt x="0" y="77"/>
                    <a:pt x="0" y="59"/>
                  </a:cubicBezTo>
                  <a:cubicBezTo>
                    <a:pt x="0" y="52"/>
                    <a:pt x="4" y="45"/>
                    <a:pt x="10" y="40"/>
                  </a:cubicBezTo>
                  <a:cubicBezTo>
                    <a:pt x="8" y="37"/>
                    <a:pt x="8" y="34"/>
                    <a:pt x="8" y="31"/>
                  </a:cubicBezTo>
                  <a:cubicBezTo>
                    <a:pt x="8" y="14"/>
                    <a:pt x="27" y="0"/>
                    <a:pt x="50" y="0"/>
                  </a:cubicBezTo>
                  <a:cubicBezTo>
                    <a:pt x="65" y="0"/>
                    <a:pt x="77" y="5"/>
                    <a:pt x="85" y="13"/>
                  </a:cubicBezTo>
                  <a:cubicBezTo>
                    <a:pt x="89" y="12"/>
                    <a:pt x="94" y="11"/>
                    <a:pt x="99" y="11"/>
                  </a:cubicBezTo>
                  <a:close/>
                </a:path>
              </a:pathLst>
            </a:custGeom>
            <a:grpFill/>
            <a:ln>
              <a:no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291" name="işḻîḍe">
            <a:extLst>
              <a:ext uri="{FF2B5EF4-FFF2-40B4-BE49-F238E27FC236}">
                <a16:creationId xmlns:a16="http://schemas.microsoft.com/office/drawing/2014/main" id="{55F84246-DE96-4F18-A86C-755445C7966C}"/>
              </a:ext>
            </a:extLst>
          </p:cNvPr>
          <p:cNvSpPr/>
          <p:nvPr/>
        </p:nvSpPr>
        <p:spPr bwMode="auto">
          <a:xfrm flipH="1">
            <a:off x="1913489" y="2580127"/>
            <a:ext cx="2953691" cy="3495603"/>
          </a:xfrm>
          <a:custGeom>
            <a:avLst/>
            <a:gdLst>
              <a:gd name="T0" fmla="*/ 0 w 1764"/>
              <a:gd name="T1" fmla="*/ 564 h 2140"/>
              <a:gd name="T2" fmla="*/ 153 w 1764"/>
              <a:gd name="T3" fmla="*/ 803 h 2140"/>
              <a:gd name="T4" fmla="*/ 345 w 1764"/>
              <a:gd name="T5" fmla="*/ 594 h 2140"/>
              <a:gd name="T6" fmla="*/ 239 w 1764"/>
              <a:gd name="T7" fmla="*/ 585 h 2140"/>
              <a:gd name="T8" fmla="*/ 241 w 1764"/>
              <a:gd name="T9" fmla="*/ 567 h 2140"/>
              <a:gd name="T10" fmla="*/ 610 w 1764"/>
              <a:gd name="T11" fmla="*/ 79 h 2140"/>
              <a:gd name="T12" fmla="*/ 1428 w 1764"/>
              <a:gd name="T13" fmla="*/ 464 h 2140"/>
              <a:gd name="T14" fmla="*/ 1445 w 1764"/>
              <a:gd name="T15" fmla="*/ 533 h 2140"/>
              <a:gd name="T16" fmla="*/ 1454 w 1764"/>
              <a:gd name="T17" fmla="*/ 624 h 2140"/>
              <a:gd name="T18" fmla="*/ 1436 w 1764"/>
              <a:gd name="T19" fmla="*/ 839 h 2140"/>
              <a:gd name="T20" fmla="*/ 1335 w 1764"/>
              <a:gd name="T21" fmla="*/ 1060 h 2140"/>
              <a:gd name="T22" fmla="*/ 1173 w 1764"/>
              <a:gd name="T23" fmla="*/ 1173 h 2140"/>
              <a:gd name="T24" fmla="*/ 968 w 1764"/>
              <a:gd name="T25" fmla="*/ 1232 h 2140"/>
              <a:gd name="T26" fmla="*/ 759 w 1764"/>
              <a:gd name="T27" fmla="*/ 1331 h 2140"/>
              <a:gd name="T28" fmla="*/ 314 w 1764"/>
              <a:gd name="T29" fmla="*/ 2135 h 2140"/>
              <a:gd name="T30" fmla="*/ 656 w 1764"/>
              <a:gd name="T31" fmla="*/ 1947 h 2140"/>
              <a:gd name="T32" fmla="*/ 945 w 1764"/>
              <a:gd name="T33" fmla="*/ 2140 h 2140"/>
              <a:gd name="T34" fmla="*/ 974 w 1764"/>
              <a:gd name="T35" fmla="*/ 2019 h 2140"/>
              <a:gd name="T36" fmla="*/ 1030 w 1764"/>
              <a:gd name="T37" fmla="*/ 1865 h 2140"/>
              <a:gd name="T38" fmla="*/ 1105 w 1764"/>
              <a:gd name="T39" fmla="*/ 1739 h 2140"/>
              <a:gd name="T40" fmla="*/ 1189 w 1764"/>
              <a:gd name="T41" fmla="*/ 1702 h 2140"/>
              <a:gd name="T42" fmla="*/ 1247 w 1764"/>
              <a:gd name="T43" fmla="*/ 1709 h 2140"/>
              <a:gd name="T44" fmla="*/ 1539 w 1764"/>
              <a:gd name="T45" fmla="*/ 1727 h 2140"/>
              <a:gd name="T46" fmla="*/ 1573 w 1764"/>
              <a:gd name="T47" fmla="*/ 1687 h 2140"/>
              <a:gd name="T48" fmla="*/ 1576 w 1764"/>
              <a:gd name="T49" fmla="*/ 1634 h 2140"/>
              <a:gd name="T50" fmla="*/ 1576 w 1764"/>
              <a:gd name="T51" fmla="*/ 1580 h 2140"/>
              <a:gd name="T52" fmla="*/ 1608 w 1764"/>
              <a:gd name="T53" fmla="*/ 1529 h 2140"/>
              <a:gd name="T54" fmla="*/ 1628 w 1764"/>
              <a:gd name="T55" fmla="*/ 1524 h 2140"/>
              <a:gd name="T56" fmla="*/ 1643 w 1764"/>
              <a:gd name="T57" fmla="*/ 1517 h 2140"/>
              <a:gd name="T58" fmla="*/ 1627 w 1764"/>
              <a:gd name="T59" fmla="*/ 1463 h 2140"/>
              <a:gd name="T60" fmla="*/ 1618 w 1764"/>
              <a:gd name="T61" fmla="*/ 1451 h 2140"/>
              <a:gd name="T62" fmla="*/ 1629 w 1764"/>
              <a:gd name="T63" fmla="*/ 1441 h 2140"/>
              <a:gd name="T64" fmla="*/ 1649 w 1764"/>
              <a:gd name="T65" fmla="*/ 1412 h 2140"/>
              <a:gd name="T66" fmla="*/ 1653 w 1764"/>
              <a:gd name="T67" fmla="*/ 1400 h 2140"/>
              <a:gd name="T68" fmla="*/ 1636 w 1764"/>
              <a:gd name="T69" fmla="*/ 1354 h 2140"/>
              <a:gd name="T70" fmla="*/ 1632 w 1764"/>
              <a:gd name="T71" fmla="*/ 1324 h 2140"/>
              <a:gd name="T72" fmla="*/ 1674 w 1764"/>
              <a:gd name="T73" fmla="*/ 1284 h 2140"/>
              <a:gd name="T74" fmla="*/ 1739 w 1764"/>
              <a:gd name="T75" fmla="*/ 1245 h 2140"/>
              <a:gd name="T76" fmla="*/ 1763 w 1764"/>
              <a:gd name="T77" fmla="*/ 1216 h 2140"/>
              <a:gd name="T78" fmla="*/ 1748 w 1764"/>
              <a:gd name="T79" fmla="*/ 1174 h 2140"/>
              <a:gd name="T80" fmla="*/ 1696 w 1764"/>
              <a:gd name="T81" fmla="*/ 1107 h 2140"/>
              <a:gd name="T82" fmla="*/ 1623 w 1764"/>
              <a:gd name="T83" fmla="*/ 829 h 2140"/>
              <a:gd name="T84" fmla="*/ 1635 w 1764"/>
              <a:gd name="T85" fmla="*/ 704 h 2140"/>
              <a:gd name="T86" fmla="*/ 1620 w 1764"/>
              <a:gd name="T87" fmla="*/ 563 h 2140"/>
              <a:gd name="T88" fmla="*/ 1569 w 1764"/>
              <a:gd name="T89" fmla="*/ 440 h 2140"/>
              <a:gd name="T90" fmla="*/ 1471 w 1764"/>
              <a:gd name="T91" fmla="*/ 298 h 2140"/>
              <a:gd name="T92" fmla="*/ 1365 w 1764"/>
              <a:gd name="T93" fmla="*/ 192 h 2140"/>
              <a:gd name="T94" fmla="*/ 959 w 1764"/>
              <a:gd name="T95" fmla="*/ 30 h 2140"/>
              <a:gd name="T96" fmla="*/ 425 w 1764"/>
              <a:gd name="T97" fmla="*/ 111 h 2140"/>
              <a:gd name="T98" fmla="*/ 98 w 1764"/>
              <a:gd name="T99" fmla="*/ 557 h 2140"/>
              <a:gd name="T100" fmla="*/ 95 w 1764"/>
              <a:gd name="T101" fmla="*/ 572 h 2140"/>
              <a:gd name="T102" fmla="*/ 0 w 1764"/>
              <a:gd name="T103" fmla="*/ 564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64" h="2140">
                <a:moveTo>
                  <a:pt x="0" y="564"/>
                </a:moveTo>
                <a:cubicBezTo>
                  <a:pt x="153" y="803"/>
                  <a:pt x="153" y="803"/>
                  <a:pt x="153" y="803"/>
                </a:cubicBezTo>
                <a:cubicBezTo>
                  <a:pt x="345" y="594"/>
                  <a:pt x="345" y="594"/>
                  <a:pt x="345" y="594"/>
                </a:cubicBezTo>
                <a:cubicBezTo>
                  <a:pt x="239" y="585"/>
                  <a:pt x="239" y="585"/>
                  <a:pt x="239" y="585"/>
                </a:cubicBezTo>
                <a:cubicBezTo>
                  <a:pt x="241" y="567"/>
                  <a:pt x="241" y="567"/>
                  <a:pt x="241" y="567"/>
                </a:cubicBezTo>
                <a:cubicBezTo>
                  <a:pt x="265" y="337"/>
                  <a:pt x="371" y="134"/>
                  <a:pt x="610" y="79"/>
                </a:cubicBezTo>
                <a:cubicBezTo>
                  <a:pt x="952" y="0"/>
                  <a:pt x="1303" y="112"/>
                  <a:pt x="1428" y="464"/>
                </a:cubicBezTo>
                <a:cubicBezTo>
                  <a:pt x="1436" y="486"/>
                  <a:pt x="1441" y="510"/>
                  <a:pt x="1445" y="533"/>
                </a:cubicBezTo>
                <a:cubicBezTo>
                  <a:pt x="1450" y="563"/>
                  <a:pt x="1453" y="594"/>
                  <a:pt x="1454" y="624"/>
                </a:cubicBezTo>
                <a:cubicBezTo>
                  <a:pt x="1457" y="695"/>
                  <a:pt x="1451" y="769"/>
                  <a:pt x="1436" y="839"/>
                </a:cubicBezTo>
                <a:cubicBezTo>
                  <a:pt x="1419" y="918"/>
                  <a:pt x="1388" y="998"/>
                  <a:pt x="1335" y="1060"/>
                </a:cubicBezTo>
                <a:cubicBezTo>
                  <a:pt x="1290" y="1112"/>
                  <a:pt x="1237" y="1147"/>
                  <a:pt x="1173" y="1173"/>
                </a:cubicBezTo>
                <a:cubicBezTo>
                  <a:pt x="1107" y="1199"/>
                  <a:pt x="1036" y="1213"/>
                  <a:pt x="968" y="1232"/>
                </a:cubicBezTo>
                <a:cubicBezTo>
                  <a:pt x="891" y="1255"/>
                  <a:pt x="823" y="1283"/>
                  <a:pt x="759" y="1331"/>
                </a:cubicBezTo>
                <a:cubicBezTo>
                  <a:pt x="528" y="1503"/>
                  <a:pt x="387" y="1857"/>
                  <a:pt x="314" y="2135"/>
                </a:cubicBezTo>
                <a:cubicBezTo>
                  <a:pt x="656" y="1947"/>
                  <a:pt x="656" y="1947"/>
                  <a:pt x="656" y="1947"/>
                </a:cubicBezTo>
                <a:cubicBezTo>
                  <a:pt x="945" y="2140"/>
                  <a:pt x="945" y="2140"/>
                  <a:pt x="945" y="2140"/>
                </a:cubicBezTo>
                <a:cubicBezTo>
                  <a:pt x="951" y="2099"/>
                  <a:pt x="962" y="2058"/>
                  <a:pt x="974" y="2019"/>
                </a:cubicBezTo>
                <a:cubicBezTo>
                  <a:pt x="991" y="1967"/>
                  <a:pt x="1011" y="1916"/>
                  <a:pt x="1030" y="1865"/>
                </a:cubicBezTo>
                <a:cubicBezTo>
                  <a:pt x="1047" y="1821"/>
                  <a:pt x="1070" y="1771"/>
                  <a:pt x="1105" y="1739"/>
                </a:cubicBezTo>
                <a:cubicBezTo>
                  <a:pt x="1129" y="1716"/>
                  <a:pt x="1156" y="1703"/>
                  <a:pt x="1189" y="1702"/>
                </a:cubicBezTo>
                <a:cubicBezTo>
                  <a:pt x="1209" y="1702"/>
                  <a:pt x="1228" y="1705"/>
                  <a:pt x="1247" y="1709"/>
                </a:cubicBezTo>
                <a:cubicBezTo>
                  <a:pt x="1313" y="1725"/>
                  <a:pt x="1479" y="1762"/>
                  <a:pt x="1539" y="1727"/>
                </a:cubicBezTo>
                <a:cubicBezTo>
                  <a:pt x="1556" y="1718"/>
                  <a:pt x="1568" y="1706"/>
                  <a:pt x="1573" y="1687"/>
                </a:cubicBezTo>
                <a:cubicBezTo>
                  <a:pt x="1577" y="1670"/>
                  <a:pt x="1577" y="1651"/>
                  <a:pt x="1576" y="1634"/>
                </a:cubicBezTo>
                <a:cubicBezTo>
                  <a:pt x="1575" y="1616"/>
                  <a:pt x="1574" y="1598"/>
                  <a:pt x="1576" y="1580"/>
                </a:cubicBezTo>
                <a:cubicBezTo>
                  <a:pt x="1578" y="1558"/>
                  <a:pt x="1586" y="1538"/>
                  <a:pt x="1608" y="1529"/>
                </a:cubicBezTo>
                <a:cubicBezTo>
                  <a:pt x="1614" y="1527"/>
                  <a:pt x="1621" y="1525"/>
                  <a:pt x="1628" y="1524"/>
                </a:cubicBezTo>
                <a:cubicBezTo>
                  <a:pt x="1634" y="1523"/>
                  <a:pt x="1640" y="1521"/>
                  <a:pt x="1643" y="1517"/>
                </a:cubicBezTo>
                <a:cubicBezTo>
                  <a:pt x="1652" y="1505"/>
                  <a:pt x="1634" y="1473"/>
                  <a:pt x="1627" y="1463"/>
                </a:cubicBezTo>
                <a:cubicBezTo>
                  <a:pt x="1618" y="1451"/>
                  <a:pt x="1618" y="1451"/>
                  <a:pt x="1618" y="1451"/>
                </a:cubicBezTo>
                <a:cubicBezTo>
                  <a:pt x="1629" y="1441"/>
                  <a:pt x="1629" y="1441"/>
                  <a:pt x="1629" y="1441"/>
                </a:cubicBezTo>
                <a:cubicBezTo>
                  <a:pt x="1636" y="1433"/>
                  <a:pt x="1644" y="1421"/>
                  <a:pt x="1649" y="1412"/>
                </a:cubicBezTo>
                <a:cubicBezTo>
                  <a:pt x="1651" y="1409"/>
                  <a:pt x="1653" y="1405"/>
                  <a:pt x="1653" y="1400"/>
                </a:cubicBezTo>
                <a:cubicBezTo>
                  <a:pt x="1654" y="1388"/>
                  <a:pt x="1641" y="1365"/>
                  <a:pt x="1636" y="1354"/>
                </a:cubicBezTo>
                <a:cubicBezTo>
                  <a:pt x="1631" y="1345"/>
                  <a:pt x="1629" y="1334"/>
                  <a:pt x="1632" y="1324"/>
                </a:cubicBezTo>
                <a:cubicBezTo>
                  <a:pt x="1637" y="1304"/>
                  <a:pt x="1658" y="1293"/>
                  <a:pt x="1674" y="1284"/>
                </a:cubicBezTo>
                <a:cubicBezTo>
                  <a:pt x="1697" y="1271"/>
                  <a:pt x="1718" y="1260"/>
                  <a:pt x="1739" y="1245"/>
                </a:cubicBezTo>
                <a:cubicBezTo>
                  <a:pt x="1749" y="1238"/>
                  <a:pt x="1761" y="1228"/>
                  <a:pt x="1763" y="1216"/>
                </a:cubicBezTo>
                <a:cubicBezTo>
                  <a:pt x="1764" y="1202"/>
                  <a:pt x="1755" y="1185"/>
                  <a:pt x="1748" y="1174"/>
                </a:cubicBezTo>
                <a:cubicBezTo>
                  <a:pt x="1733" y="1151"/>
                  <a:pt x="1713" y="1129"/>
                  <a:pt x="1696" y="1107"/>
                </a:cubicBezTo>
                <a:cubicBezTo>
                  <a:pt x="1631" y="1027"/>
                  <a:pt x="1608" y="931"/>
                  <a:pt x="1623" y="829"/>
                </a:cubicBezTo>
                <a:cubicBezTo>
                  <a:pt x="1629" y="787"/>
                  <a:pt x="1634" y="746"/>
                  <a:pt x="1635" y="704"/>
                </a:cubicBezTo>
                <a:cubicBezTo>
                  <a:pt x="1635" y="656"/>
                  <a:pt x="1630" y="610"/>
                  <a:pt x="1620" y="563"/>
                </a:cubicBezTo>
                <a:cubicBezTo>
                  <a:pt x="1611" y="522"/>
                  <a:pt x="1589" y="477"/>
                  <a:pt x="1569" y="440"/>
                </a:cubicBezTo>
                <a:cubicBezTo>
                  <a:pt x="1541" y="390"/>
                  <a:pt x="1508" y="342"/>
                  <a:pt x="1471" y="298"/>
                </a:cubicBezTo>
                <a:cubicBezTo>
                  <a:pt x="1440" y="260"/>
                  <a:pt x="1404" y="223"/>
                  <a:pt x="1365" y="192"/>
                </a:cubicBezTo>
                <a:cubicBezTo>
                  <a:pt x="1253" y="103"/>
                  <a:pt x="1099" y="49"/>
                  <a:pt x="959" y="30"/>
                </a:cubicBezTo>
                <a:cubicBezTo>
                  <a:pt x="777" y="4"/>
                  <a:pt x="590" y="30"/>
                  <a:pt x="425" y="111"/>
                </a:cubicBezTo>
                <a:cubicBezTo>
                  <a:pt x="240" y="200"/>
                  <a:pt x="137" y="359"/>
                  <a:pt x="98" y="557"/>
                </a:cubicBezTo>
                <a:cubicBezTo>
                  <a:pt x="95" y="572"/>
                  <a:pt x="95" y="572"/>
                  <a:pt x="95" y="572"/>
                </a:cubicBezTo>
                <a:lnTo>
                  <a:pt x="0" y="56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68" name="îṥ1ïḍè">
            <a:extLst>
              <a:ext uri="{FF2B5EF4-FFF2-40B4-BE49-F238E27FC236}">
                <a16:creationId xmlns:a16="http://schemas.microsoft.com/office/drawing/2014/main" id="{55A2D7E7-FEC2-4B1D-9A51-94BCA59784E9}"/>
              </a:ext>
            </a:extLst>
          </p:cNvPr>
          <p:cNvSpPr/>
          <p:nvPr/>
        </p:nvSpPr>
        <p:spPr bwMode="auto">
          <a:xfrm>
            <a:off x="7948445" y="1776418"/>
            <a:ext cx="3506302" cy="541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en-US" altLang="zh-CN" sz="1100" dirty="0"/>
              <a:t>Copy paste fonts. Choose </a:t>
            </a:r>
            <a:r>
              <a:rPr lang="en-US" altLang="zh-CN" sz="1100"/>
              <a:t>the onl</a:t>
            </a:r>
            <a:r>
              <a:rPr lang="en-US" altLang="zh-CN" sz="100"/>
              <a:t> </a:t>
            </a:r>
            <a:r>
              <a:rPr lang="en-US" altLang="zh-CN" sz="1100"/>
              <a:t>y </a:t>
            </a:r>
            <a:r>
              <a:rPr lang="en-US" altLang="zh-CN" sz="1100" dirty="0"/>
              <a:t>option to retain text……</a:t>
            </a:r>
          </a:p>
        </p:txBody>
      </p:sp>
      <p:sp>
        <p:nvSpPr>
          <p:cNvPr id="269" name="iŝlidê">
            <a:extLst>
              <a:ext uri="{FF2B5EF4-FFF2-40B4-BE49-F238E27FC236}">
                <a16:creationId xmlns:a16="http://schemas.microsoft.com/office/drawing/2014/main" id="{335A0105-282D-4E61-8360-ADF5A6D201DE}"/>
              </a:ext>
            </a:extLst>
          </p:cNvPr>
          <p:cNvSpPr txBox="1"/>
          <p:nvPr/>
        </p:nvSpPr>
        <p:spPr bwMode="auto">
          <a:xfrm>
            <a:off x="7948445" y="1376034"/>
            <a:ext cx="3506302" cy="40038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b="1"/>
              <a:t>Text </a:t>
            </a:r>
            <a:r>
              <a:rPr lang="en-US" altLang="zh-CN" sz="100" b="1"/>
              <a:t> </a:t>
            </a:r>
            <a:r>
              <a:rPr lang="en-US" altLang="zh-CN" b="1"/>
              <a:t>here</a:t>
            </a:r>
            <a:endParaRPr lang="en-US" altLang="zh-CN" b="1" dirty="0"/>
          </a:p>
        </p:txBody>
      </p:sp>
      <p:sp>
        <p:nvSpPr>
          <p:cNvPr id="266" name="íSlïḓe">
            <a:extLst>
              <a:ext uri="{FF2B5EF4-FFF2-40B4-BE49-F238E27FC236}">
                <a16:creationId xmlns:a16="http://schemas.microsoft.com/office/drawing/2014/main" id="{55A2D7E7-FEC2-4B1D-9A51-94BCA59784E9}"/>
              </a:ext>
            </a:extLst>
          </p:cNvPr>
          <p:cNvSpPr/>
          <p:nvPr/>
        </p:nvSpPr>
        <p:spPr bwMode="auto">
          <a:xfrm>
            <a:off x="7948445" y="2970908"/>
            <a:ext cx="3506302" cy="541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en-US" altLang="zh-CN" sz="1100" dirty="0"/>
              <a:t>Copy paste fonts. Choose </a:t>
            </a:r>
            <a:r>
              <a:rPr lang="en-US" altLang="zh-CN" sz="1100"/>
              <a:t>the onl</a:t>
            </a:r>
            <a:r>
              <a:rPr lang="en-US" altLang="zh-CN" sz="100"/>
              <a:t> </a:t>
            </a:r>
            <a:r>
              <a:rPr lang="en-US" altLang="zh-CN" sz="1100"/>
              <a:t>y </a:t>
            </a:r>
            <a:r>
              <a:rPr lang="en-US" altLang="zh-CN" sz="1100" dirty="0"/>
              <a:t>option to retain text……</a:t>
            </a:r>
          </a:p>
        </p:txBody>
      </p:sp>
      <p:sp>
        <p:nvSpPr>
          <p:cNvPr id="267" name="iṣľîḍê">
            <a:extLst>
              <a:ext uri="{FF2B5EF4-FFF2-40B4-BE49-F238E27FC236}">
                <a16:creationId xmlns:a16="http://schemas.microsoft.com/office/drawing/2014/main" id="{335A0105-282D-4E61-8360-ADF5A6D201DE}"/>
              </a:ext>
            </a:extLst>
          </p:cNvPr>
          <p:cNvSpPr txBox="1"/>
          <p:nvPr/>
        </p:nvSpPr>
        <p:spPr bwMode="auto">
          <a:xfrm>
            <a:off x="7948445" y="2570524"/>
            <a:ext cx="3506302" cy="40038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b="1"/>
              <a:t>Text </a:t>
            </a:r>
            <a:r>
              <a:rPr lang="en-US" altLang="zh-CN" sz="100" b="1"/>
              <a:t> </a:t>
            </a:r>
            <a:r>
              <a:rPr lang="en-US" altLang="zh-CN" b="1"/>
              <a:t>here</a:t>
            </a:r>
            <a:endParaRPr lang="en-US" altLang="zh-CN" b="1" dirty="0"/>
          </a:p>
        </p:txBody>
      </p:sp>
      <p:sp>
        <p:nvSpPr>
          <p:cNvPr id="264" name="íSľîḍe">
            <a:extLst>
              <a:ext uri="{FF2B5EF4-FFF2-40B4-BE49-F238E27FC236}">
                <a16:creationId xmlns:a16="http://schemas.microsoft.com/office/drawing/2014/main" id="{55A2D7E7-FEC2-4B1D-9A51-94BCA59784E9}"/>
              </a:ext>
            </a:extLst>
          </p:cNvPr>
          <p:cNvSpPr/>
          <p:nvPr/>
        </p:nvSpPr>
        <p:spPr bwMode="auto">
          <a:xfrm>
            <a:off x="7948445" y="4165399"/>
            <a:ext cx="3506302" cy="541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en-US" altLang="zh-CN" sz="1100" dirty="0"/>
              <a:t>Copy paste fonts. Choose </a:t>
            </a:r>
            <a:r>
              <a:rPr lang="en-US" altLang="zh-CN" sz="1100"/>
              <a:t>the onl</a:t>
            </a:r>
            <a:r>
              <a:rPr lang="en-US" altLang="zh-CN" sz="100"/>
              <a:t> </a:t>
            </a:r>
            <a:r>
              <a:rPr lang="en-US" altLang="zh-CN" sz="1100"/>
              <a:t>y </a:t>
            </a:r>
            <a:r>
              <a:rPr lang="en-US" altLang="zh-CN" sz="1100" dirty="0"/>
              <a:t>option to retain text……</a:t>
            </a:r>
          </a:p>
        </p:txBody>
      </p:sp>
      <p:sp>
        <p:nvSpPr>
          <p:cNvPr id="265" name="íŝľidè">
            <a:extLst>
              <a:ext uri="{FF2B5EF4-FFF2-40B4-BE49-F238E27FC236}">
                <a16:creationId xmlns:a16="http://schemas.microsoft.com/office/drawing/2014/main" id="{335A0105-282D-4E61-8360-ADF5A6D201DE}"/>
              </a:ext>
            </a:extLst>
          </p:cNvPr>
          <p:cNvSpPr txBox="1"/>
          <p:nvPr/>
        </p:nvSpPr>
        <p:spPr bwMode="auto">
          <a:xfrm>
            <a:off x="7948445" y="3765015"/>
            <a:ext cx="3506302" cy="40038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b="1"/>
              <a:t>Text </a:t>
            </a:r>
            <a:r>
              <a:rPr lang="en-US" altLang="zh-CN" sz="100" b="1"/>
              <a:t> </a:t>
            </a:r>
            <a:r>
              <a:rPr lang="en-US" altLang="zh-CN" b="1"/>
              <a:t>here</a:t>
            </a:r>
            <a:endParaRPr lang="en-US" altLang="zh-CN" b="1" dirty="0"/>
          </a:p>
        </p:txBody>
      </p:sp>
      <p:sp>
        <p:nvSpPr>
          <p:cNvPr id="262" name="îSliďe">
            <a:extLst>
              <a:ext uri="{FF2B5EF4-FFF2-40B4-BE49-F238E27FC236}">
                <a16:creationId xmlns:a16="http://schemas.microsoft.com/office/drawing/2014/main" id="{C5BA6DAF-2F2F-481F-9DCC-2F086B266B6B}"/>
              </a:ext>
            </a:extLst>
          </p:cNvPr>
          <p:cNvSpPr/>
          <p:nvPr/>
        </p:nvSpPr>
        <p:spPr bwMode="auto">
          <a:xfrm>
            <a:off x="7033288" y="1432219"/>
            <a:ext cx="735196" cy="737142"/>
          </a:xfrm>
          <a:prstGeom prst="ellipse">
            <a:avLst/>
          </a:prstGeom>
          <a:solidFill>
            <a:schemeClr val="accent1"/>
          </a:solidFill>
          <a:ln w="28575">
            <a:solidFill>
              <a:schemeClr val="bg1">
                <a:lumMod val="95000"/>
              </a:schemeClr>
            </a:solidFill>
          </a:ln>
        </p:spPr>
        <p:txBody>
          <a:bodyPr vert="horz" wrap="square" lIns="91440" tIns="45720" rIns="91440" bIns="45720" numCol="1" anchor="ctr"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3200" dirty="0">
              <a:solidFill>
                <a:srgbClr val="FFFFFF"/>
              </a:solidFill>
            </a:endParaRPr>
          </a:p>
        </p:txBody>
      </p:sp>
      <p:sp>
        <p:nvSpPr>
          <p:cNvPr id="263" name="íŝ1íḑê">
            <a:extLst>
              <a:ext uri="{FF2B5EF4-FFF2-40B4-BE49-F238E27FC236}">
                <a16:creationId xmlns:a16="http://schemas.microsoft.com/office/drawing/2014/main" id="{C03F7592-22B8-4944-9ADC-446272A1558D}"/>
              </a:ext>
            </a:extLst>
          </p:cNvPr>
          <p:cNvSpPr/>
          <p:nvPr/>
        </p:nvSpPr>
        <p:spPr bwMode="auto">
          <a:xfrm>
            <a:off x="7206714" y="1623954"/>
            <a:ext cx="388344" cy="353670"/>
          </a:xfrm>
          <a:custGeom>
            <a:avLst/>
            <a:gdLst>
              <a:gd name="connsiteX0" fmla="*/ 123825 w 533400"/>
              <a:gd name="connsiteY0" fmla="*/ 228600 h 485775"/>
              <a:gd name="connsiteX1" fmla="*/ 123825 w 533400"/>
              <a:gd name="connsiteY1" fmla="*/ 276225 h 485775"/>
              <a:gd name="connsiteX2" fmla="*/ 142875 w 533400"/>
              <a:gd name="connsiteY2" fmla="*/ 276225 h 485775"/>
              <a:gd name="connsiteX3" fmla="*/ 142875 w 533400"/>
              <a:gd name="connsiteY3" fmla="*/ 228600 h 485775"/>
              <a:gd name="connsiteX4" fmla="*/ 390525 w 533400"/>
              <a:gd name="connsiteY4" fmla="*/ 228600 h 485775"/>
              <a:gd name="connsiteX5" fmla="*/ 390525 w 533400"/>
              <a:gd name="connsiteY5" fmla="*/ 276225 h 485775"/>
              <a:gd name="connsiteX6" fmla="*/ 409575 w 533400"/>
              <a:gd name="connsiteY6" fmla="*/ 276225 h 485775"/>
              <a:gd name="connsiteX7" fmla="*/ 409575 w 533400"/>
              <a:gd name="connsiteY7" fmla="*/ 228600 h 485775"/>
              <a:gd name="connsiteX8" fmla="*/ 533400 w 533400"/>
              <a:gd name="connsiteY8" fmla="*/ 228600 h 485775"/>
              <a:gd name="connsiteX9" fmla="*/ 533400 w 533400"/>
              <a:gd name="connsiteY9" fmla="*/ 457200 h 485775"/>
              <a:gd name="connsiteX10" fmla="*/ 504825 w 533400"/>
              <a:gd name="connsiteY10" fmla="*/ 485775 h 485775"/>
              <a:gd name="connsiteX11" fmla="*/ 28575 w 533400"/>
              <a:gd name="connsiteY11" fmla="*/ 485775 h 485775"/>
              <a:gd name="connsiteX12" fmla="*/ 0 w 533400"/>
              <a:gd name="connsiteY12" fmla="*/ 457200 h 485775"/>
              <a:gd name="connsiteX13" fmla="*/ 0 w 533400"/>
              <a:gd name="connsiteY13" fmla="*/ 228600 h 485775"/>
              <a:gd name="connsiteX14" fmla="*/ 123825 w 533400"/>
              <a:gd name="connsiteY14" fmla="*/ 228600 h 485775"/>
              <a:gd name="connsiteX15" fmla="*/ 371475 w 533400"/>
              <a:gd name="connsiteY15" fmla="*/ 0 h 485775"/>
              <a:gd name="connsiteX16" fmla="*/ 409575 w 533400"/>
              <a:gd name="connsiteY16" fmla="*/ 36195 h 485775"/>
              <a:gd name="connsiteX17" fmla="*/ 409575 w 533400"/>
              <a:gd name="connsiteY17" fmla="*/ 38100 h 485775"/>
              <a:gd name="connsiteX18" fmla="*/ 409575 w 533400"/>
              <a:gd name="connsiteY18" fmla="*/ 114300 h 485775"/>
              <a:gd name="connsiteX19" fmla="*/ 504825 w 533400"/>
              <a:gd name="connsiteY19" fmla="*/ 114300 h 485775"/>
              <a:gd name="connsiteX20" fmla="*/ 533400 w 533400"/>
              <a:gd name="connsiteY20" fmla="*/ 142875 h 485775"/>
              <a:gd name="connsiteX21" fmla="*/ 533400 w 533400"/>
              <a:gd name="connsiteY21" fmla="*/ 209550 h 485775"/>
              <a:gd name="connsiteX22" fmla="*/ 0 w 533400"/>
              <a:gd name="connsiteY22" fmla="*/ 209550 h 485775"/>
              <a:gd name="connsiteX23" fmla="*/ 0 w 533400"/>
              <a:gd name="connsiteY23" fmla="*/ 142875 h 485775"/>
              <a:gd name="connsiteX24" fmla="*/ 28575 w 533400"/>
              <a:gd name="connsiteY24" fmla="*/ 114300 h 485775"/>
              <a:gd name="connsiteX25" fmla="*/ 123825 w 533400"/>
              <a:gd name="connsiteY25" fmla="*/ 114300 h 485775"/>
              <a:gd name="connsiteX26" fmla="*/ 123825 w 533400"/>
              <a:gd name="connsiteY26" fmla="*/ 38100 h 485775"/>
              <a:gd name="connsiteX27" fmla="*/ 160020 w 533400"/>
              <a:gd name="connsiteY27" fmla="*/ 0 h 485775"/>
              <a:gd name="connsiteX28" fmla="*/ 161925 w 533400"/>
              <a:gd name="connsiteY28" fmla="*/ 0 h 485775"/>
              <a:gd name="connsiteX29" fmla="*/ 371475 w 533400"/>
              <a:gd name="connsiteY29" fmla="*/ 0 h 485775"/>
              <a:gd name="connsiteX30" fmla="*/ 371475 w 533400"/>
              <a:gd name="connsiteY30" fmla="*/ 19050 h 485775"/>
              <a:gd name="connsiteX31" fmla="*/ 161925 w 533400"/>
              <a:gd name="connsiteY31" fmla="*/ 19050 h 485775"/>
              <a:gd name="connsiteX32" fmla="*/ 142970 w 533400"/>
              <a:gd name="connsiteY32" fmla="*/ 36671 h 485775"/>
              <a:gd name="connsiteX33" fmla="*/ 142875 w 533400"/>
              <a:gd name="connsiteY33" fmla="*/ 38100 h 485775"/>
              <a:gd name="connsiteX34" fmla="*/ 142875 w 533400"/>
              <a:gd name="connsiteY34" fmla="*/ 114300 h 485775"/>
              <a:gd name="connsiteX35" fmla="*/ 390525 w 533400"/>
              <a:gd name="connsiteY35" fmla="*/ 114300 h 485775"/>
              <a:gd name="connsiteX36" fmla="*/ 390525 w 533400"/>
              <a:gd name="connsiteY36" fmla="*/ 38100 h 485775"/>
              <a:gd name="connsiteX37" fmla="*/ 374333 w 533400"/>
              <a:gd name="connsiteY37" fmla="*/ 19241 h 485775"/>
              <a:gd name="connsiteX38" fmla="*/ 372904 w 533400"/>
              <a:gd name="connsiteY38" fmla="*/ 19050 h 485775"/>
              <a:gd name="connsiteX39" fmla="*/ 371475 w 533400"/>
              <a:gd name="connsiteY39" fmla="*/ 1905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3825" y="228600"/>
                </a:moveTo>
                <a:lnTo>
                  <a:pt x="123825" y="276225"/>
                </a:lnTo>
                <a:lnTo>
                  <a:pt x="142875" y="276225"/>
                </a:lnTo>
                <a:lnTo>
                  <a:pt x="142875" y="228600"/>
                </a:lnTo>
                <a:lnTo>
                  <a:pt x="390525" y="228600"/>
                </a:lnTo>
                <a:lnTo>
                  <a:pt x="390525" y="276225"/>
                </a:lnTo>
                <a:lnTo>
                  <a:pt x="409575" y="276225"/>
                </a:lnTo>
                <a:lnTo>
                  <a:pt x="409575" y="228600"/>
                </a:lnTo>
                <a:lnTo>
                  <a:pt x="533400" y="228600"/>
                </a:lnTo>
                <a:lnTo>
                  <a:pt x="533400" y="457200"/>
                </a:lnTo>
                <a:cubicBezTo>
                  <a:pt x="533400" y="473012"/>
                  <a:pt x="520637" y="485775"/>
                  <a:pt x="504825" y="485775"/>
                </a:cubicBezTo>
                <a:lnTo>
                  <a:pt x="28575" y="485775"/>
                </a:lnTo>
                <a:cubicBezTo>
                  <a:pt x="12763" y="485775"/>
                  <a:pt x="0" y="473012"/>
                  <a:pt x="0" y="457200"/>
                </a:cubicBezTo>
                <a:lnTo>
                  <a:pt x="0" y="228600"/>
                </a:lnTo>
                <a:lnTo>
                  <a:pt x="123825" y="228600"/>
                </a:lnTo>
                <a:close/>
                <a:moveTo>
                  <a:pt x="371475" y="0"/>
                </a:moveTo>
                <a:cubicBezTo>
                  <a:pt x="391859" y="0"/>
                  <a:pt x="408527" y="16002"/>
                  <a:pt x="409575" y="36195"/>
                </a:cubicBezTo>
                <a:lnTo>
                  <a:pt x="409575" y="38100"/>
                </a:lnTo>
                <a:lnTo>
                  <a:pt x="409575" y="114300"/>
                </a:lnTo>
                <a:lnTo>
                  <a:pt x="504825" y="114300"/>
                </a:lnTo>
                <a:cubicBezTo>
                  <a:pt x="520637" y="114300"/>
                  <a:pt x="533400" y="127064"/>
                  <a:pt x="533400" y="142875"/>
                </a:cubicBezTo>
                <a:lnTo>
                  <a:pt x="533400" y="209550"/>
                </a:lnTo>
                <a:lnTo>
                  <a:pt x="0" y="209550"/>
                </a:lnTo>
                <a:lnTo>
                  <a:pt x="0" y="142875"/>
                </a:lnTo>
                <a:cubicBezTo>
                  <a:pt x="0" y="127064"/>
                  <a:pt x="12763" y="114300"/>
                  <a:pt x="28575" y="114300"/>
                </a:cubicBezTo>
                <a:lnTo>
                  <a:pt x="123825" y="114300"/>
                </a:lnTo>
                <a:lnTo>
                  <a:pt x="123825" y="38100"/>
                </a:lnTo>
                <a:cubicBezTo>
                  <a:pt x="123825" y="17716"/>
                  <a:pt x="139828" y="1048"/>
                  <a:pt x="160020" y="0"/>
                </a:cubicBezTo>
                <a:lnTo>
                  <a:pt x="161925" y="0"/>
                </a:lnTo>
                <a:lnTo>
                  <a:pt x="371475" y="0"/>
                </a:lnTo>
                <a:close/>
                <a:moveTo>
                  <a:pt x="371475" y="19050"/>
                </a:moveTo>
                <a:lnTo>
                  <a:pt x="161925" y="19050"/>
                </a:lnTo>
                <a:cubicBezTo>
                  <a:pt x="151923" y="19050"/>
                  <a:pt x="143637" y="26861"/>
                  <a:pt x="142970" y="36671"/>
                </a:cubicBezTo>
                <a:lnTo>
                  <a:pt x="142875" y="38100"/>
                </a:lnTo>
                <a:lnTo>
                  <a:pt x="142875" y="114300"/>
                </a:lnTo>
                <a:lnTo>
                  <a:pt x="390525" y="114300"/>
                </a:lnTo>
                <a:lnTo>
                  <a:pt x="390525" y="38100"/>
                </a:lnTo>
                <a:cubicBezTo>
                  <a:pt x="390525" y="28575"/>
                  <a:pt x="383477" y="20669"/>
                  <a:pt x="374333" y="19241"/>
                </a:cubicBezTo>
                <a:lnTo>
                  <a:pt x="372904" y="19050"/>
                </a:lnTo>
                <a:lnTo>
                  <a:pt x="371475" y="19050"/>
                </a:lnTo>
                <a:close/>
              </a:path>
            </a:pathLst>
          </a:custGeom>
          <a:solidFill>
            <a:schemeClr val="bg1"/>
          </a:solidFill>
          <a:ln>
            <a:noFill/>
          </a:ln>
        </p:spPr>
        <p:txBody>
          <a:bodyPr wrap="square" lIns="91440" tIns="45720" rIns="91440" bIns="4572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60" name="iṩlîḍê">
            <a:extLst>
              <a:ext uri="{FF2B5EF4-FFF2-40B4-BE49-F238E27FC236}">
                <a16:creationId xmlns:a16="http://schemas.microsoft.com/office/drawing/2014/main" id="{C5BA6DAF-2F2F-481F-9DCC-2F086B266B6B}"/>
              </a:ext>
            </a:extLst>
          </p:cNvPr>
          <p:cNvSpPr/>
          <p:nvPr/>
        </p:nvSpPr>
        <p:spPr bwMode="auto">
          <a:xfrm>
            <a:off x="7033288" y="2626709"/>
            <a:ext cx="735196" cy="737142"/>
          </a:xfrm>
          <a:prstGeom prst="ellipse">
            <a:avLst/>
          </a:prstGeom>
          <a:solidFill>
            <a:schemeClr val="accent3"/>
          </a:solidFill>
          <a:ln w="28575">
            <a:solidFill>
              <a:schemeClr val="bg1">
                <a:lumMod val="95000"/>
              </a:schemeClr>
            </a:solidFill>
          </a:ln>
        </p:spPr>
        <p:txBody>
          <a:bodyPr vert="horz" wrap="square" lIns="91440" tIns="45720" rIns="91440" bIns="45720" numCol="1" anchor="ctr"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3200" dirty="0">
              <a:solidFill>
                <a:srgbClr val="FFFFFF"/>
              </a:solidFill>
            </a:endParaRPr>
          </a:p>
        </p:txBody>
      </p:sp>
      <p:sp>
        <p:nvSpPr>
          <p:cNvPr id="261" name="îšliḑè">
            <a:extLst>
              <a:ext uri="{FF2B5EF4-FFF2-40B4-BE49-F238E27FC236}">
                <a16:creationId xmlns:a16="http://schemas.microsoft.com/office/drawing/2014/main" id="{C03F7592-22B8-4944-9ADC-446272A1558D}"/>
              </a:ext>
            </a:extLst>
          </p:cNvPr>
          <p:cNvSpPr/>
          <p:nvPr/>
        </p:nvSpPr>
        <p:spPr bwMode="auto">
          <a:xfrm>
            <a:off x="7223746" y="2801108"/>
            <a:ext cx="354278" cy="388344"/>
          </a:xfrm>
          <a:custGeom>
            <a:avLst/>
            <a:gdLst>
              <a:gd name="connsiteX0" fmla="*/ 247650 w 495300"/>
              <a:gd name="connsiteY0" fmla="*/ 0 h 542925"/>
              <a:gd name="connsiteX1" fmla="*/ 495300 w 495300"/>
              <a:gd name="connsiteY1" fmla="*/ 247650 h 542925"/>
              <a:gd name="connsiteX2" fmla="*/ 322707 w 495300"/>
              <a:gd name="connsiteY2" fmla="*/ 483775 h 542925"/>
              <a:gd name="connsiteX3" fmla="*/ 345853 w 495300"/>
              <a:gd name="connsiteY3" fmla="*/ 523875 h 542925"/>
              <a:gd name="connsiteX4" fmla="*/ 419100 w 495300"/>
              <a:gd name="connsiteY4" fmla="*/ 523875 h 542925"/>
              <a:gd name="connsiteX5" fmla="*/ 419100 w 495300"/>
              <a:gd name="connsiteY5" fmla="*/ 542925 h 542925"/>
              <a:gd name="connsiteX6" fmla="*/ 76200 w 495300"/>
              <a:gd name="connsiteY6" fmla="*/ 542925 h 542925"/>
              <a:gd name="connsiteX7" fmla="*/ 76200 w 495300"/>
              <a:gd name="connsiteY7" fmla="*/ 523875 h 542925"/>
              <a:gd name="connsiteX8" fmla="*/ 149447 w 495300"/>
              <a:gd name="connsiteY8" fmla="*/ 523875 h 542925"/>
              <a:gd name="connsiteX9" fmla="*/ 172593 w 495300"/>
              <a:gd name="connsiteY9" fmla="*/ 483775 h 542925"/>
              <a:gd name="connsiteX10" fmla="*/ 0 w 495300"/>
              <a:gd name="connsiteY10" fmla="*/ 247650 h 542925"/>
              <a:gd name="connsiteX11" fmla="*/ 247650 w 495300"/>
              <a:gd name="connsiteY11" fmla="*/ 0 h 542925"/>
              <a:gd name="connsiteX12" fmla="*/ 191643 w 495300"/>
              <a:gd name="connsiteY12" fmla="*/ 488918 h 542925"/>
              <a:gd name="connsiteX13" fmla="*/ 171450 w 495300"/>
              <a:gd name="connsiteY13" fmla="*/ 523875 h 542925"/>
              <a:gd name="connsiteX14" fmla="*/ 323850 w 495300"/>
              <a:gd name="connsiteY14" fmla="*/ 523875 h 542925"/>
              <a:gd name="connsiteX15" fmla="*/ 303657 w 495300"/>
              <a:gd name="connsiteY15" fmla="*/ 488918 h 542925"/>
              <a:gd name="connsiteX16" fmla="*/ 247650 w 495300"/>
              <a:gd name="connsiteY16" fmla="*/ 495300 h 542925"/>
              <a:gd name="connsiteX17" fmla="*/ 191643 w 495300"/>
              <a:gd name="connsiteY17" fmla="*/ 488918 h 542925"/>
              <a:gd name="connsiteX18" fmla="*/ 247650 w 495300"/>
              <a:gd name="connsiteY18" fmla="*/ 142875 h 542925"/>
              <a:gd name="connsiteX19" fmla="*/ 142875 w 495300"/>
              <a:gd name="connsiteY19" fmla="*/ 247650 h 542925"/>
              <a:gd name="connsiteX20" fmla="*/ 247650 w 495300"/>
              <a:gd name="connsiteY20" fmla="*/ 352425 h 542925"/>
              <a:gd name="connsiteX21" fmla="*/ 352425 w 495300"/>
              <a:gd name="connsiteY21" fmla="*/ 247650 h 542925"/>
              <a:gd name="connsiteX22" fmla="*/ 247650 w 495300"/>
              <a:gd name="connsiteY22" fmla="*/ 142875 h 542925"/>
              <a:gd name="connsiteX23" fmla="*/ 366713 w 495300"/>
              <a:gd name="connsiteY23" fmla="*/ 114300 h 542925"/>
              <a:gd name="connsiteX24" fmla="*/ 352425 w 495300"/>
              <a:gd name="connsiteY24" fmla="*/ 128588 h 542925"/>
              <a:gd name="connsiteX25" fmla="*/ 366713 w 495300"/>
              <a:gd name="connsiteY25" fmla="*/ 142875 h 542925"/>
              <a:gd name="connsiteX26" fmla="*/ 381000 w 495300"/>
              <a:gd name="connsiteY26" fmla="*/ 128588 h 542925"/>
              <a:gd name="connsiteX27" fmla="*/ 366713 w 495300"/>
              <a:gd name="connsiteY27" fmla="*/ 11430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7650" y="0"/>
                </a:moveTo>
                <a:cubicBezTo>
                  <a:pt x="384429" y="0"/>
                  <a:pt x="495300" y="110871"/>
                  <a:pt x="495300" y="247650"/>
                </a:cubicBezTo>
                <a:cubicBezTo>
                  <a:pt x="495300" y="358235"/>
                  <a:pt x="422815" y="451961"/>
                  <a:pt x="322707" y="483775"/>
                </a:cubicBezTo>
                <a:lnTo>
                  <a:pt x="345853" y="523875"/>
                </a:lnTo>
                <a:lnTo>
                  <a:pt x="419100" y="523875"/>
                </a:lnTo>
                <a:lnTo>
                  <a:pt x="419100" y="542925"/>
                </a:lnTo>
                <a:lnTo>
                  <a:pt x="76200" y="542925"/>
                </a:lnTo>
                <a:lnTo>
                  <a:pt x="76200" y="523875"/>
                </a:lnTo>
                <a:lnTo>
                  <a:pt x="149447" y="523875"/>
                </a:lnTo>
                <a:lnTo>
                  <a:pt x="172593" y="483775"/>
                </a:lnTo>
                <a:cubicBezTo>
                  <a:pt x="72485" y="451961"/>
                  <a:pt x="0" y="358235"/>
                  <a:pt x="0" y="247650"/>
                </a:cubicBezTo>
                <a:cubicBezTo>
                  <a:pt x="0" y="110871"/>
                  <a:pt x="110871" y="0"/>
                  <a:pt x="247650" y="0"/>
                </a:cubicBezTo>
                <a:close/>
                <a:moveTo>
                  <a:pt x="191643" y="488918"/>
                </a:moveTo>
                <a:lnTo>
                  <a:pt x="171450" y="523875"/>
                </a:lnTo>
                <a:lnTo>
                  <a:pt x="323850" y="523875"/>
                </a:lnTo>
                <a:lnTo>
                  <a:pt x="303657" y="488918"/>
                </a:lnTo>
                <a:cubicBezTo>
                  <a:pt x="285655" y="493109"/>
                  <a:pt x="266891" y="495300"/>
                  <a:pt x="247650" y="495300"/>
                </a:cubicBezTo>
                <a:cubicBezTo>
                  <a:pt x="228409" y="495300"/>
                  <a:pt x="209645" y="493109"/>
                  <a:pt x="191643" y="488918"/>
                </a:cubicBezTo>
                <a:close/>
                <a:moveTo>
                  <a:pt x="247650" y="142875"/>
                </a:moveTo>
                <a:cubicBezTo>
                  <a:pt x="189738" y="142875"/>
                  <a:pt x="142875" y="189738"/>
                  <a:pt x="142875" y="247650"/>
                </a:cubicBezTo>
                <a:cubicBezTo>
                  <a:pt x="142875" y="305562"/>
                  <a:pt x="189738" y="352425"/>
                  <a:pt x="247650" y="352425"/>
                </a:cubicBezTo>
                <a:cubicBezTo>
                  <a:pt x="305562" y="352425"/>
                  <a:pt x="352425" y="305562"/>
                  <a:pt x="352425" y="247650"/>
                </a:cubicBezTo>
                <a:cubicBezTo>
                  <a:pt x="352425" y="189738"/>
                  <a:pt x="305562" y="142875"/>
                  <a:pt x="247650" y="142875"/>
                </a:cubicBezTo>
                <a:close/>
                <a:moveTo>
                  <a:pt x="366713" y="114300"/>
                </a:moveTo>
                <a:cubicBezTo>
                  <a:pt x="358807" y="114300"/>
                  <a:pt x="352425" y="120682"/>
                  <a:pt x="352425" y="128588"/>
                </a:cubicBezTo>
                <a:cubicBezTo>
                  <a:pt x="352425" y="136493"/>
                  <a:pt x="358807" y="142875"/>
                  <a:pt x="366713" y="142875"/>
                </a:cubicBezTo>
                <a:cubicBezTo>
                  <a:pt x="374618" y="142875"/>
                  <a:pt x="381000" y="136493"/>
                  <a:pt x="381000" y="128588"/>
                </a:cubicBezTo>
                <a:cubicBezTo>
                  <a:pt x="381000" y="120682"/>
                  <a:pt x="374618" y="114300"/>
                  <a:pt x="366713" y="114300"/>
                </a:cubicBezTo>
                <a:close/>
              </a:path>
            </a:pathLst>
          </a:custGeom>
          <a:solidFill>
            <a:schemeClr val="bg1"/>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58" name="ïṩľïḑè">
            <a:extLst>
              <a:ext uri="{FF2B5EF4-FFF2-40B4-BE49-F238E27FC236}">
                <a16:creationId xmlns:a16="http://schemas.microsoft.com/office/drawing/2014/main" id="{C5BA6DAF-2F2F-481F-9DCC-2F086B266B6B}"/>
              </a:ext>
            </a:extLst>
          </p:cNvPr>
          <p:cNvSpPr/>
          <p:nvPr/>
        </p:nvSpPr>
        <p:spPr bwMode="auto">
          <a:xfrm>
            <a:off x="7033288" y="3821200"/>
            <a:ext cx="735196" cy="737142"/>
          </a:xfrm>
          <a:prstGeom prst="ellipse">
            <a:avLst/>
          </a:prstGeom>
          <a:solidFill>
            <a:schemeClr val="accent2"/>
          </a:solidFill>
          <a:ln w="28575">
            <a:solidFill>
              <a:schemeClr val="bg1">
                <a:lumMod val="95000"/>
              </a:schemeClr>
            </a:solidFill>
          </a:ln>
        </p:spPr>
        <p:txBody>
          <a:bodyPr vert="horz" wrap="square" lIns="91440" tIns="45720" rIns="91440" bIns="45720" numCol="1" anchor="ctr"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3200" dirty="0">
              <a:solidFill>
                <a:srgbClr val="FFFFFF"/>
              </a:solidFill>
            </a:endParaRPr>
          </a:p>
        </p:txBody>
      </p:sp>
      <p:sp>
        <p:nvSpPr>
          <p:cNvPr id="259" name="í$ḻïdé">
            <a:extLst>
              <a:ext uri="{FF2B5EF4-FFF2-40B4-BE49-F238E27FC236}">
                <a16:creationId xmlns:a16="http://schemas.microsoft.com/office/drawing/2014/main" id="{C03F7592-22B8-4944-9ADC-446272A1558D}"/>
              </a:ext>
            </a:extLst>
          </p:cNvPr>
          <p:cNvSpPr/>
          <p:nvPr/>
        </p:nvSpPr>
        <p:spPr bwMode="auto">
          <a:xfrm>
            <a:off x="7220321" y="3995599"/>
            <a:ext cx="361129" cy="388344"/>
          </a:xfrm>
          <a:custGeom>
            <a:avLst/>
            <a:gdLst>
              <a:gd name="connsiteX0" fmla="*/ 8038 w 487162"/>
              <a:gd name="connsiteY0" fmla="*/ 513398 h 523875"/>
              <a:gd name="connsiteX1" fmla="*/ 7467 w 487162"/>
              <a:gd name="connsiteY1" fmla="*/ 512731 h 523875"/>
              <a:gd name="connsiteX2" fmla="*/ 7467 w 487162"/>
              <a:gd name="connsiteY2" fmla="*/ 512731 h 523875"/>
              <a:gd name="connsiteX3" fmla="*/ 6991 w 487162"/>
              <a:gd name="connsiteY3" fmla="*/ 512064 h 523875"/>
              <a:gd name="connsiteX4" fmla="*/ 4990 w 487162"/>
              <a:gd name="connsiteY4" fmla="*/ 509016 h 523875"/>
              <a:gd name="connsiteX5" fmla="*/ 4990 w 487162"/>
              <a:gd name="connsiteY5" fmla="*/ 509016 h 523875"/>
              <a:gd name="connsiteX6" fmla="*/ 4514 w 487162"/>
              <a:gd name="connsiteY6" fmla="*/ 508254 h 523875"/>
              <a:gd name="connsiteX7" fmla="*/ 3752 w 487162"/>
              <a:gd name="connsiteY7" fmla="*/ 506730 h 523875"/>
              <a:gd name="connsiteX8" fmla="*/ 3085 w 487162"/>
              <a:gd name="connsiteY8" fmla="*/ 505111 h 523875"/>
              <a:gd name="connsiteX9" fmla="*/ 2990 w 487162"/>
              <a:gd name="connsiteY9" fmla="*/ 504920 h 523875"/>
              <a:gd name="connsiteX10" fmla="*/ 2895 w 487162"/>
              <a:gd name="connsiteY10" fmla="*/ 504635 h 523875"/>
              <a:gd name="connsiteX11" fmla="*/ 2895 w 487162"/>
              <a:gd name="connsiteY11" fmla="*/ 504444 h 523875"/>
              <a:gd name="connsiteX12" fmla="*/ 2228 w 487162"/>
              <a:gd name="connsiteY12" fmla="*/ 502444 h 523875"/>
              <a:gd name="connsiteX13" fmla="*/ 1847 w 487162"/>
              <a:gd name="connsiteY13" fmla="*/ 501110 h 523875"/>
              <a:gd name="connsiteX14" fmla="*/ 1371 w 487162"/>
              <a:gd name="connsiteY14" fmla="*/ 499205 h 523875"/>
              <a:gd name="connsiteX15" fmla="*/ 514 w 487162"/>
              <a:gd name="connsiteY15" fmla="*/ 494919 h 523875"/>
              <a:gd name="connsiteX16" fmla="*/ 228 w 487162"/>
              <a:gd name="connsiteY16" fmla="*/ 492443 h 523875"/>
              <a:gd name="connsiteX17" fmla="*/ 37 w 487162"/>
              <a:gd name="connsiteY17" fmla="*/ 485870 h 523875"/>
              <a:gd name="connsiteX18" fmla="*/ 4609 w 487162"/>
              <a:gd name="connsiteY18" fmla="*/ 467582 h 523875"/>
              <a:gd name="connsiteX19" fmla="*/ 154247 w 487162"/>
              <a:gd name="connsiteY19" fmla="*/ 150876 h 523875"/>
              <a:gd name="connsiteX20" fmla="*/ 157867 w 487162"/>
              <a:gd name="connsiteY20" fmla="*/ 134588 h 523875"/>
              <a:gd name="connsiteX21" fmla="*/ 157867 w 487162"/>
              <a:gd name="connsiteY21" fmla="*/ 19050 h 523875"/>
              <a:gd name="connsiteX22" fmla="*/ 119767 w 487162"/>
              <a:gd name="connsiteY22" fmla="*/ 19050 h 523875"/>
              <a:gd name="connsiteX23" fmla="*/ 119767 w 487162"/>
              <a:gd name="connsiteY23" fmla="*/ 0 h 523875"/>
              <a:gd name="connsiteX24" fmla="*/ 367417 w 487162"/>
              <a:gd name="connsiteY24" fmla="*/ 0 h 523875"/>
              <a:gd name="connsiteX25" fmla="*/ 367417 w 487162"/>
              <a:gd name="connsiteY25" fmla="*/ 19050 h 523875"/>
              <a:gd name="connsiteX26" fmla="*/ 329317 w 487162"/>
              <a:gd name="connsiteY26" fmla="*/ 19050 h 523875"/>
              <a:gd name="connsiteX27" fmla="*/ 329317 w 487162"/>
              <a:gd name="connsiteY27" fmla="*/ 134684 h 523875"/>
              <a:gd name="connsiteX28" fmla="*/ 332936 w 487162"/>
              <a:gd name="connsiteY28" fmla="*/ 150971 h 523875"/>
              <a:gd name="connsiteX29" fmla="*/ 482574 w 487162"/>
              <a:gd name="connsiteY29" fmla="*/ 467678 h 523875"/>
              <a:gd name="connsiteX30" fmla="*/ 484098 w 487162"/>
              <a:gd name="connsiteY30" fmla="*/ 504920 h 523875"/>
              <a:gd name="connsiteX31" fmla="*/ 484003 w 487162"/>
              <a:gd name="connsiteY31" fmla="*/ 505111 h 523875"/>
              <a:gd name="connsiteX32" fmla="*/ 483431 w 487162"/>
              <a:gd name="connsiteY32" fmla="*/ 506540 h 523875"/>
              <a:gd name="connsiteX33" fmla="*/ 458571 w 487162"/>
              <a:gd name="connsiteY33" fmla="*/ 523780 h 523875"/>
              <a:gd name="connsiteX34" fmla="*/ 456666 w 487162"/>
              <a:gd name="connsiteY34" fmla="*/ 523875 h 523875"/>
              <a:gd name="connsiteX35" fmla="*/ 30422 w 487162"/>
              <a:gd name="connsiteY35" fmla="*/ 523875 h 523875"/>
              <a:gd name="connsiteX36" fmla="*/ 28612 w 487162"/>
              <a:gd name="connsiteY36" fmla="*/ 523780 h 523875"/>
              <a:gd name="connsiteX37" fmla="*/ 26136 w 487162"/>
              <a:gd name="connsiteY37" fmla="*/ 523494 h 523875"/>
              <a:gd name="connsiteX38" fmla="*/ 22326 w 487162"/>
              <a:gd name="connsiteY38" fmla="*/ 522637 h 523875"/>
              <a:gd name="connsiteX39" fmla="*/ 22326 w 487162"/>
              <a:gd name="connsiteY39" fmla="*/ 522637 h 523875"/>
              <a:gd name="connsiteX40" fmla="*/ 16801 w 487162"/>
              <a:gd name="connsiteY40" fmla="*/ 520351 h 523875"/>
              <a:gd name="connsiteX41" fmla="*/ 15373 w 487162"/>
              <a:gd name="connsiteY41" fmla="*/ 519589 h 523875"/>
              <a:gd name="connsiteX42" fmla="*/ 14420 w 487162"/>
              <a:gd name="connsiteY42" fmla="*/ 519017 h 523875"/>
              <a:gd name="connsiteX43" fmla="*/ 9467 w 487162"/>
              <a:gd name="connsiteY43" fmla="*/ 514922 h 523875"/>
              <a:gd name="connsiteX44" fmla="*/ 8038 w 487162"/>
              <a:gd name="connsiteY44" fmla="*/ 513398 h 523875"/>
              <a:gd name="connsiteX45" fmla="*/ 8038 w 487162"/>
              <a:gd name="connsiteY45" fmla="*/ 513398 h 523875"/>
              <a:gd name="connsiteX46" fmla="*/ 254641 w 487162"/>
              <a:gd name="connsiteY46" fmla="*/ 404146 h 523875"/>
              <a:gd name="connsiteX47" fmla="*/ 251783 w 487162"/>
              <a:gd name="connsiteY47" fmla="*/ 405956 h 523875"/>
              <a:gd name="connsiteX48" fmla="*/ 246259 w 487162"/>
              <a:gd name="connsiteY48" fmla="*/ 409670 h 523875"/>
              <a:gd name="connsiteX49" fmla="*/ 54425 w 487162"/>
              <a:gd name="connsiteY49" fmla="*/ 416243 h 523875"/>
              <a:gd name="connsiteX50" fmla="*/ 50615 w 487162"/>
              <a:gd name="connsiteY50" fmla="*/ 414719 h 523875"/>
              <a:gd name="connsiteX51" fmla="*/ 21754 w 487162"/>
              <a:gd name="connsiteY51" fmla="*/ 475774 h 523875"/>
              <a:gd name="connsiteX52" fmla="*/ 20897 w 487162"/>
              <a:gd name="connsiteY52" fmla="*/ 477679 h 523875"/>
              <a:gd name="connsiteX53" fmla="*/ 20802 w 487162"/>
              <a:gd name="connsiteY53" fmla="*/ 498158 h 523875"/>
              <a:gd name="connsiteX54" fmla="*/ 27945 w 487162"/>
              <a:gd name="connsiteY54" fmla="*/ 504444 h 523875"/>
              <a:gd name="connsiteX55" fmla="*/ 29184 w 487162"/>
              <a:gd name="connsiteY55" fmla="*/ 504635 h 523875"/>
              <a:gd name="connsiteX56" fmla="*/ 30327 w 487162"/>
              <a:gd name="connsiteY56" fmla="*/ 504730 h 523875"/>
              <a:gd name="connsiteX57" fmla="*/ 456570 w 487162"/>
              <a:gd name="connsiteY57" fmla="*/ 504730 h 523875"/>
              <a:gd name="connsiteX58" fmla="*/ 457714 w 487162"/>
              <a:gd name="connsiteY58" fmla="*/ 504635 h 523875"/>
              <a:gd name="connsiteX59" fmla="*/ 466095 w 487162"/>
              <a:gd name="connsiteY59" fmla="*/ 498062 h 523875"/>
              <a:gd name="connsiteX60" fmla="*/ 466667 w 487162"/>
              <a:gd name="connsiteY60" fmla="*/ 479584 h 523875"/>
              <a:gd name="connsiteX61" fmla="*/ 466000 w 487162"/>
              <a:gd name="connsiteY61" fmla="*/ 477584 h 523875"/>
              <a:gd name="connsiteX62" fmla="*/ 465143 w 487162"/>
              <a:gd name="connsiteY62" fmla="*/ 475679 h 523875"/>
              <a:gd name="connsiteX63" fmla="*/ 423519 w 487162"/>
              <a:gd name="connsiteY63" fmla="*/ 387477 h 523875"/>
              <a:gd name="connsiteX64" fmla="*/ 254641 w 487162"/>
              <a:gd name="connsiteY64" fmla="*/ 404146 h 523875"/>
              <a:gd name="connsiteX65" fmla="*/ 305504 w 487162"/>
              <a:gd name="connsiteY65" fmla="*/ 257175 h 523875"/>
              <a:gd name="connsiteX66" fmla="*/ 272167 w 487162"/>
              <a:gd name="connsiteY66" fmla="*/ 290513 h 523875"/>
              <a:gd name="connsiteX67" fmla="*/ 305504 w 487162"/>
              <a:gd name="connsiteY67" fmla="*/ 323850 h 523875"/>
              <a:gd name="connsiteX68" fmla="*/ 338842 w 487162"/>
              <a:gd name="connsiteY68" fmla="*/ 290513 h 523875"/>
              <a:gd name="connsiteX69" fmla="*/ 305504 w 487162"/>
              <a:gd name="connsiteY69" fmla="*/ 2571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038" y="513398"/>
                </a:moveTo>
                <a:lnTo>
                  <a:pt x="7467" y="512731"/>
                </a:lnTo>
                <a:lnTo>
                  <a:pt x="7467" y="512731"/>
                </a:lnTo>
                <a:lnTo>
                  <a:pt x="6991" y="512064"/>
                </a:lnTo>
                <a:cubicBezTo>
                  <a:pt x="6228" y="511112"/>
                  <a:pt x="5657" y="510064"/>
                  <a:pt x="4990" y="509016"/>
                </a:cubicBezTo>
                <a:lnTo>
                  <a:pt x="4990" y="509016"/>
                </a:lnTo>
                <a:lnTo>
                  <a:pt x="4514" y="508254"/>
                </a:lnTo>
                <a:lnTo>
                  <a:pt x="3752" y="506730"/>
                </a:lnTo>
                <a:lnTo>
                  <a:pt x="3085" y="505111"/>
                </a:lnTo>
                <a:lnTo>
                  <a:pt x="2990" y="504920"/>
                </a:lnTo>
                <a:lnTo>
                  <a:pt x="2895" y="504635"/>
                </a:lnTo>
                <a:lnTo>
                  <a:pt x="2895" y="504444"/>
                </a:lnTo>
                <a:lnTo>
                  <a:pt x="2228" y="502444"/>
                </a:lnTo>
                <a:cubicBezTo>
                  <a:pt x="2133" y="501968"/>
                  <a:pt x="1942" y="501587"/>
                  <a:pt x="1847" y="501110"/>
                </a:cubicBezTo>
                <a:cubicBezTo>
                  <a:pt x="1657" y="500444"/>
                  <a:pt x="1466" y="499872"/>
                  <a:pt x="1371" y="499205"/>
                </a:cubicBezTo>
                <a:cubicBezTo>
                  <a:pt x="990" y="497776"/>
                  <a:pt x="799" y="496348"/>
                  <a:pt x="514" y="494919"/>
                </a:cubicBezTo>
                <a:lnTo>
                  <a:pt x="228" y="492443"/>
                </a:lnTo>
                <a:cubicBezTo>
                  <a:pt x="37" y="490252"/>
                  <a:pt x="-58" y="488061"/>
                  <a:pt x="37" y="485870"/>
                </a:cubicBezTo>
                <a:cubicBezTo>
                  <a:pt x="323" y="479584"/>
                  <a:pt x="1847" y="473393"/>
                  <a:pt x="4609" y="467582"/>
                </a:cubicBezTo>
                <a:lnTo>
                  <a:pt x="154247" y="150876"/>
                </a:lnTo>
                <a:cubicBezTo>
                  <a:pt x="156628" y="145828"/>
                  <a:pt x="157867" y="140208"/>
                  <a:pt x="157867" y="134588"/>
                </a:cubicBezTo>
                <a:lnTo>
                  <a:pt x="157867" y="19050"/>
                </a:lnTo>
                <a:lnTo>
                  <a:pt x="119767" y="19050"/>
                </a:lnTo>
                <a:lnTo>
                  <a:pt x="119767" y="0"/>
                </a:lnTo>
                <a:lnTo>
                  <a:pt x="367417" y="0"/>
                </a:lnTo>
                <a:lnTo>
                  <a:pt x="367417" y="19050"/>
                </a:lnTo>
                <a:lnTo>
                  <a:pt x="329317" y="19050"/>
                </a:lnTo>
                <a:lnTo>
                  <a:pt x="329317" y="134684"/>
                </a:lnTo>
                <a:cubicBezTo>
                  <a:pt x="329317" y="140303"/>
                  <a:pt x="330555" y="145828"/>
                  <a:pt x="332936" y="150971"/>
                </a:cubicBezTo>
                <a:lnTo>
                  <a:pt x="482574" y="467678"/>
                </a:lnTo>
                <a:cubicBezTo>
                  <a:pt x="488098" y="479393"/>
                  <a:pt x="488670" y="492824"/>
                  <a:pt x="484098" y="504920"/>
                </a:cubicBezTo>
                <a:lnTo>
                  <a:pt x="484003" y="505111"/>
                </a:lnTo>
                <a:lnTo>
                  <a:pt x="483431" y="506540"/>
                </a:lnTo>
                <a:cubicBezTo>
                  <a:pt x="478954" y="516446"/>
                  <a:pt x="469429" y="523113"/>
                  <a:pt x="458571" y="523780"/>
                </a:cubicBezTo>
                <a:lnTo>
                  <a:pt x="456666" y="523875"/>
                </a:lnTo>
                <a:lnTo>
                  <a:pt x="30422" y="523875"/>
                </a:lnTo>
                <a:lnTo>
                  <a:pt x="28612" y="523780"/>
                </a:lnTo>
                <a:cubicBezTo>
                  <a:pt x="27755" y="523685"/>
                  <a:pt x="26993" y="523685"/>
                  <a:pt x="26136" y="523494"/>
                </a:cubicBezTo>
                <a:cubicBezTo>
                  <a:pt x="24802" y="523304"/>
                  <a:pt x="23564" y="523018"/>
                  <a:pt x="22326" y="522637"/>
                </a:cubicBezTo>
                <a:lnTo>
                  <a:pt x="22326" y="522637"/>
                </a:lnTo>
                <a:cubicBezTo>
                  <a:pt x="20421" y="522065"/>
                  <a:pt x="18516" y="521303"/>
                  <a:pt x="16801" y="520351"/>
                </a:cubicBezTo>
                <a:lnTo>
                  <a:pt x="15373" y="519589"/>
                </a:lnTo>
                <a:cubicBezTo>
                  <a:pt x="15087" y="519398"/>
                  <a:pt x="14801" y="519208"/>
                  <a:pt x="14420" y="519017"/>
                </a:cubicBezTo>
                <a:cubicBezTo>
                  <a:pt x="12610" y="517874"/>
                  <a:pt x="10896" y="516446"/>
                  <a:pt x="9467" y="514922"/>
                </a:cubicBezTo>
                <a:lnTo>
                  <a:pt x="8038" y="513398"/>
                </a:lnTo>
                <a:lnTo>
                  <a:pt x="8038" y="513398"/>
                </a:lnTo>
                <a:close/>
                <a:moveTo>
                  <a:pt x="254641" y="404146"/>
                </a:moveTo>
                <a:lnTo>
                  <a:pt x="251783" y="405956"/>
                </a:lnTo>
                <a:lnTo>
                  <a:pt x="246259" y="409670"/>
                </a:lnTo>
                <a:cubicBezTo>
                  <a:pt x="199015" y="441008"/>
                  <a:pt x="119481" y="441960"/>
                  <a:pt x="54425" y="416243"/>
                </a:cubicBezTo>
                <a:lnTo>
                  <a:pt x="50615" y="414719"/>
                </a:lnTo>
                <a:lnTo>
                  <a:pt x="21754" y="475774"/>
                </a:lnTo>
                <a:lnTo>
                  <a:pt x="20897" y="477679"/>
                </a:lnTo>
                <a:cubicBezTo>
                  <a:pt x="18420" y="484251"/>
                  <a:pt x="18325" y="491490"/>
                  <a:pt x="20802" y="498158"/>
                </a:cubicBezTo>
                <a:cubicBezTo>
                  <a:pt x="22040" y="501396"/>
                  <a:pt x="24707" y="503682"/>
                  <a:pt x="27945" y="504444"/>
                </a:cubicBezTo>
                <a:lnTo>
                  <a:pt x="29184" y="504635"/>
                </a:lnTo>
                <a:lnTo>
                  <a:pt x="30327" y="504730"/>
                </a:lnTo>
                <a:lnTo>
                  <a:pt x="456570" y="504730"/>
                </a:lnTo>
                <a:lnTo>
                  <a:pt x="457714" y="504635"/>
                </a:lnTo>
                <a:cubicBezTo>
                  <a:pt x="461524" y="504254"/>
                  <a:pt x="464762" y="501682"/>
                  <a:pt x="466095" y="498062"/>
                </a:cubicBezTo>
                <a:cubicBezTo>
                  <a:pt x="468382" y="492157"/>
                  <a:pt x="468572" y="485585"/>
                  <a:pt x="466667" y="479584"/>
                </a:cubicBezTo>
                <a:lnTo>
                  <a:pt x="466000" y="477584"/>
                </a:lnTo>
                <a:lnTo>
                  <a:pt x="465143" y="475679"/>
                </a:lnTo>
                <a:lnTo>
                  <a:pt x="423519" y="387477"/>
                </a:lnTo>
                <a:cubicBezTo>
                  <a:pt x="365416" y="373190"/>
                  <a:pt x="295979" y="378714"/>
                  <a:pt x="254641" y="404146"/>
                </a:cubicBezTo>
                <a:close/>
                <a:moveTo>
                  <a:pt x="305504" y="257175"/>
                </a:moveTo>
                <a:cubicBezTo>
                  <a:pt x="287121" y="257175"/>
                  <a:pt x="272167" y="272129"/>
                  <a:pt x="272167" y="290513"/>
                </a:cubicBezTo>
                <a:cubicBezTo>
                  <a:pt x="272167" y="308896"/>
                  <a:pt x="287121" y="323850"/>
                  <a:pt x="305504" y="323850"/>
                </a:cubicBezTo>
                <a:cubicBezTo>
                  <a:pt x="323887" y="323850"/>
                  <a:pt x="338842" y="308896"/>
                  <a:pt x="338842" y="290513"/>
                </a:cubicBezTo>
                <a:cubicBezTo>
                  <a:pt x="338842" y="272129"/>
                  <a:pt x="323887" y="257175"/>
                  <a:pt x="305504" y="257175"/>
                </a:cubicBezTo>
                <a:close/>
              </a:path>
            </a:pathLst>
          </a:custGeom>
          <a:solidFill>
            <a:schemeClr val="bg1"/>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56" name="iSḷíḍé">
            <a:extLst>
              <a:ext uri="{FF2B5EF4-FFF2-40B4-BE49-F238E27FC236}">
                <a16:creationId xmlns:a16="http://schemas.microsoft.com/office/drawing/2014/main" id="{C5BA6DAF-2F2F-481F-9DCC-2F086B266B6B}"/>
              </a:ext>
            </a:extLst>
          </p:cNvPr>
          <p:cNvSpPr/>
          <p:nvPr/>
        </p:nvSpPr>
        <p:spPr bwMode="auto">
          <a:xfrm>
            <a:off x="7033288" y="5015693"/>
            <a:ext cx="735196" cy="737142"/>
          </a:xfrm>
          <a:prstGeom prst="ellipse">
            <a:avLst/>
          </a:prstGeom>
          <a:solidFill>
            <a:schemeClr val="accent5"/>
          </a:solidFill>
          <a:ln w="28575">
            <a:solidFill>
              <a:schemeClr val="bg1">
                <a:lumMod val="95000"/>
              </a:schemeClr>
            </a:solidFill>
          </a:ln>
        </p:spPr>
        <p:txBody>
          <a:bodyPr vert="horz" wrap="square" lIns="91440" tIns="45720" rIns="91440" bIns="45720" numCol="1" anchor="ctr"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3200" dirty="0">
              <a:solidFill>
                <a:srgbClr val="FFFFFF"/>
              </a:solidFill>
            </a:endParaRPr>
          </a:p>
        </p:txBody>
      </p:sp>
      <p:sp>
        <p:nvSpPr>
          <p:cNvPr id="257" name="ïSľîḍê">
            <a:extLst>
              <a:ext uri="{FF2B5EF4-FFF2-40B4-BE49-F238E27FC236}">
                <a16:creationId xmlns:a16="http://schemas.microsoft.com/office/drawing/2014/main" id="{C03F7592-22B8-4944-9ADC-446272A1558D}"/>
              </a:ext>
            </a:extLst>
          </p:cNvPr>
          <p:cNvSpPr/>
          <p:nvPr/>
        </p:nvSpPr>
        <p:spPr bwMode="auto">
          <a:xfrm>
            <a:off x="7206714" y="5193559"/>
            <a:ext cx="388344" cy="381409"/>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bg1"/>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54" name="ïṣľîḑè">
            <a:extLst>
              <a:ext uri="{FF2B5EF4-FFF2-40B4-BE49-F238E27FC236}">
                <a16:creationId xmlns:a16="http://schemas.microsoft.com/office/drawing/2014/main" id="{55A2D7E7-FEC2-4B1D-9A51-94BCA59784E9}"/>
              </a:ext>
            </a:extLst>
          </p:cNvPr>
          <p:cNvSpPr/>
          <p:nvPr/>
        </p:nvSpPr>
        <p:spPr bwMode="auto">
          <a:xfrm>
            <a:off x="7948445" y="5359892"/>
            <a:ext cx="3506302" cy="541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en-US" altLang="zh-CN" sz="1100" dirty="0"/>
              <a:t>Copy paste fonts. Choose </a:t>
            </a:r>
            <a:r>
              <a:rPr lang="en-US" altLang="zh-CN" sz="1100"/>
              <a:t>the onl</a:t>
            </a:r>
            <a:r>
              <a:rPr lang="en-US" altLang="zh-CN" sz="100"/>
              <a:t> </a:t>
            </a:r>
            <a:r>
              <a:rPr lang="en-US" altLang="zh-CN" sz="1100"/>
              <a:t>y </a:t>
            </a:r>
            <a:r>
              <a:rPr lang="en-US" altLang="zh-CN" sz="1100" dirty="0"/>
              <a:t>option to retain text……</a:t>
            </a:r>
          </a:p>
        </p:txBody>
      </p:sp>
      <p:sp>
        <p:nvSpPr>
          <p:cNvPr id="255" name="íŝľïdè">
            <a:extLst>
              <a:ext uri="{FF2B5EF4-FFF2-40B4-BE49-F238E27FC236}">
                <a16:creationId xmlns:a16="http://schemas.microsoft.com/office/drawing/2014/main" id="{335A0105-282D-4E61-8360-ADF5A6D201DE}"/>
              </a:ext>
            </a:extLst>
          </p:cNvPr>
          <p:cNvSpPr txBox="1"/>
          <p:nvPr/>
        </p:nvSpPr>
        <p:spPr bwMode="auto">
          <a:xfrm>
            <a:off x="7948445" y="4959508"/>
            <a:ext cx="3506302" cy="40038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b="1"/>
              <a:t>Text </a:t>
            </a:r>
            <a:r>
              <a:rPr lang="en-US" altLang="zh-CN" sz="100" b="1"/>
              <a:t> </a:t>
            </a:r>
            <a:r>
              <a:rPr lang="en-US" altLang="zh-CN" b="1"/>
              <a:t>here</a:t>
            </a:r>
            <a:endParaRPr lang="en-US" altLang="zh-CN" b="1" dirty="0"/>
          </a:p>
        </p:txBody>
      </p:sp>
      <p:cxnSp>
        <p:nvCxnSpPr>
          <p:cNvPr id="251" name="îṡ1îďè">
            <a:extLst>
              <a:ext uri="{FF2B5EF4-FFF2-40B4-BE49-F238E27FC236}">
                <a16:creationId xmlns:a16="http://schemas.microsoft.com/office/drawing/2014/main" id="{E6D33CC6-346F-4CCB-B13B-7C724608ABFC}"/>
              </a:ext>
            </a:extLst>
          </p:cNvPr>
          <p:cNvCxnSpPr/>
          <p:nvPr/>
        </p:nvCxnSpPr>
        <p:spPr>
          <a:xfrm>
            <a:off x="8014396" y="2444057"/>
            <a:ext cx="350609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52" name="ïṡľîḓè">
            <a:extLst>
              <a:ext uri="{FF2B5EF4-FFF2-40B4-BE49-F238E27FC236}">
                <a16:creationId xmlns:a16="http://schemas.microsoft.com/office/drawing/2014/main" id="{E6D33CC6-346F-4CCB-B13B-7C724608ABFC}"/>
              </a:ext>
            </a:extLst>
          </p:cNvPr>
          <p:cNvCxnSpPr/>
          <p:nvPr/>
        </p:nvCxnSpPr>
        <p:spPr>
          <a:xfrm>
            <a:off x="8014396" y="3638549"/>
            <a:ext cx="350609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53" name="iśļîdé">
            <a:extLst>
              <a:ext uri="{FF2B5EF4-FFF2-40B4-BE49-F238E27FC236}">
                <a16:creationId xmlns:a16="http://schemas.microsoft.com/office/drawing/2014/main" id="{E6D33CC6-346F-4CCB-B13B-7C724608ABFC}"/>
              </a:ext>
            </a:extLst>
          </p:cNvPr>
          <p:cNvCxnSpPr/>
          <p:nvPr/>
        </p:nvCxnSpPr>
        <p:spPr>
          <a:xfrm>
            <a:off x="8014396" y="4833040"/>
            <a:ext cx="350609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68327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ṡ1íde"/>
        <p:cNvGrpSpPr/>
        <p:nvPr/>
      </p:nvGrpSpPr>
      <p:grpSpPr>
        <a:xfrm>
          <a:off x="0" y="0"/>
          <a:ext cx="0" cy="0"/>
          <a:chOff x="0" y="0"/>
          <a:chExt cx="0" cy="0"/>
        </a:xfrm>
      </p:grpSpPr>
      <p:sp>
        <p:nvSpPr>
          <p:cNvPr id="2" name="ïṧḷîḑè">
            <a:extLst>
              <a:ext uri="{FF2B5EF4-FFF2-40B4-BE49-F238E27FC236}">
                <a16:creationId xmlns:a16="http://schemas.microsoft.com/office/drawing/2014/main" id="{5565BD0C-5EF4-46F2-9379-3588FCEE6B34}"/>
              </a:ext>
            </a:extLst>
          </p:cNvPr>
          <p:cNvSpPr>
            <a:spLocks noGrp="1"/>
          </p:cNvSpPr>
          <p:nvPr>
            <p:ph type="title"/>
          </p:nvPr>
        </p:nvSpPr>
        <p:spPr/>
        <p:txBody>
          <a:bodyPr/>
          <a:lstStyle/>
          <a:p>
            <a:r>
              <a:rPr lang="en-US" altLang="zh-CN" dirty="0"/>
              <a:t>Click </a:t>
            </a:r>
            <a:r>
              <a:rPr lang="en-US" altLang="zh-CN"/>
              <a:t>to edit</a:t>
            </a:r>
            <a:r>
              <a:rPr lang="en-US" altLang="zh-CN" sz="100"/>
              <a:t> </a:t>
            </a:r>
            <a:r>
              <a:rPr lang="en-US" altLang="zh-CN"/>
              <a:t> </a:t>
            </a:r>
            <a:r>
              <a:rPr lang="en-US" altLang="zh-CN" dirty="0"/>
              <a:t>Master title style</a:t>
            </a:r>
            <a:endParaRPr lang="zh-CN" altLang="en-US" dirty="0"/>
          </a:p>
        </p:txBody>
      </p:sp>
      <p:sp>
        <p:nvSpPr>
          <p:cNvPr id="3" name="iśḻíḓê">
            <a:extLst>
              <a:ext uri="{FF2B5EF4-FFF2-40B4-BE49-F238E27FC236}">
                <a16:creationId xmlns:a16="http://schemas.microsoft.com/office/drawing/2014/main" id="{D45C8B47-7AE4-4C49-A3CD-4339CBFACC19}"/>
              </a:ext>
            </a:extLst>
          </p:cNvPr>
          <p:cNvSpPr>
            <a:spLocks noGrp="1"/>
          </p:cNvSpPr>
          <p:nvPr>
            <p:ph type="ftr" sz="quarter" idx="11"/>
          </p:nvPr>
        </p:nvSpPr>
        <p:spPr/>
        <p:txBody>
          <a:bodyPr/>
          <a:lstStyle/>
          <a:p>
            <a:r>
              <a:rPr lang="zh-CN" altLang="en-US"/>
              <a:t>请在插入菜单</a:t>
            </a:r>
            <a:r>
              <a:rPr lang="en-US" altLang="zh-CN"/>
              <a:t>—</a:t>
            </a:r>
            <a:r>
              <a:rPr lang="en-US" altLang="zh-CN" sz="100"/>
              <a:t> </a:t>
            </a:r>
            <a:r>
              <a:rPr lang="zh-CN" altLang="en-US"/>
              <a:t>页眉和页脚中修改此文本</a:t>
            </a:r>
            <a:endParaRPr lang="zh-CN" altLang="en-US" dirty="0"/>
          </a:p>
        </p:txBody>
      </p:sp>
      <p:sp>
        <p:nvSpPr>
          <p:cNvPr id="4" name="îś1iḓê">
            <a:extLst>
              <a:ext uri="{FF2B5EF4-FFF2-40B4-BE49-F238E27FC236}">
                <a16:creationId xmlns:a16="http://schemas.microsoft.com/office/drawing/2014/main" id="{1FA7FB13-FF89-4B96-814E-1AD88C47CEC2}"/>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grpSp>
        <p:nvGrpSpPr>
          <p:cNvPr id="5" name="íśḻiḑ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9367207-FE47-4FB6-AE54-1DE1523316A1}"/>
              </a:ext>
            </a:extLst>
          </p:cNvPr>
          <p:cNvGrpSpPr>
            <a:grpSpLocks noChangeAspect="1"/>
          </p:cNvGrpSpPr>
          <p:nvPr>
            <p:custDataLst>
              <p:tags r:id="rId3"/>
            </p:custDataLst>
          </p:nvPr>
        </p:nvGrpSpPr>
        <p:grpSpPr>
          <a:xfrm>
            <a:off x="60356" y="1360826"/>
            <a:ext cx="12071288" cy="5497174"/>
            <a:chOff x="60356" y="1360826"/>
            <a:chExt cx="12071288" cy="5497174"/>
          </a:xfrm>
        </p:grpSpPr>
        <p:grpSp>
          <p:nvGrpSpPr>
            <p:cNvPr id="6" name="îŝļïḓê">
              <a:extLst>
                <a:ext uri="{FF2B5EF4-FFF2-40B4-BE49-F238E27FC236}">
                  <a16:creationId xmlns:a16="http://schemas.microsoft.com/office/drawing/2014/main" id="{4DEBD9A4-EFB0-4F4A-B1F0-D5A09C34E253}"/>
                </a:ext>
              </a:extLst>
            </p:cNvPr>
            <p:cNvGrpSpPr/>
            <p:nvPr/>
          </p:nvGrpSpPr>
          <p:grpSpPr>
            <a:xfrm>
              <a:off x="60356" y="3471750"/>
              <a:ext cx="12071288" cy="3386250"/>
              <a:chOff x="2215081" y="3633996"/>
              <a:chExt cx="7761838" cy="3224004"/>
            </a:xfrm>
          </p:grpSpPr>
          <p:sp>
            <p:nvSpPr>
              <p:cNvPr id="27" name="í$lïḑe">
                <a:extLst>
                  <a:ext uri="{FF2B5EF4-FFF2-40B4-BE49-F238E27FC236}">
                    <a16:creationId xmlns:a16="http://schemas.microsoft.com/office/drawing/2014/main" id="{9848FC44-9159-4C6E-9CD3-2B4923C024A4}"/>
                  </a:ext>
                </a:extLst>
              </p:cNvPr>
              <p:cNvSpPr/>
              <p:nvPr/>
            </p:nvSpPr>
            <p:spPr bwMode="auto">
              <a:xfrm>
                <a:off x="2215081" y="3633996"/>
                <a:ext cx="7761838" cy="3224004"/>
              </a:xfrm>
              <a:custGeom>
                <a:avLst/>
                <a:gdLst>
                  <a:gd name="T0" fmla="*/ 2598 w 2844"/>
                  <a:gd name="T1" fmla="*/ 731 h 1180"/>
                  <a:gd name="T2" fmla="*/ 2416 w 2844"/>
                  <a:gd name="T3" fmla="*/ 604 h 1180"/>
                  <a:gd name="T4" fmla="*/ 2284 w 2844"/>
                  <a:gd name="T5" fmla="*/ 556 h 1180"/>
                  <a:gd name="T6" fmla="*/ 2162 w 2844"/>
                  <a:gd name="T7" fmla="*/ 482 h 1180"/>
                  <a:gd name="T8" fmla="*/ 2077 w 2844"/>
                  <a:gd name="T9" fmla="*/ 458 h 1180"/>
                  <a:gd name="T10" fmla="*/ 1861 w 2844"/>
                  <a:gd name="T11" fmla="*/ 646 h 1180"/>
                  <a:gd name="T12" fmla="*/ 1781 w 2844"/>
                  <a:gd name="T13" fmla="*/ 461 h 1180"/>
                  <a:gd name="T14" fmla="*/ 1552 w 2844"/>
                  <a:gd name="T15" fmla="*/ 219 h 1180"/>
                  <a:gd name="T16" fmla="*/ 1446 w 2844"/>
                  <a:gd name="T17" fmla="*/ 123 h 1180"/>
                  <a:gd name="T18" fmla="*/ 1341 w 2844"/>
                  <a:gd name="T19" fmla="*/ 65 h 1180"/>
                  <a:gd name="T20" fmla="*/ 1078 w 2844"/>
                  <a:gd name="T21" fmla="*/ 497 h 1180"/>
                  <a:gd name="T22" fmla="*/ 987 w 2844"/>
                  <a:gd name="T23" fmla="*/ 538 h 1180"/>
                  <a:gd name="T24" fmla="*/ 881 w 2844"/>
                  <a:gd name="T25" fmla="*/ 481 h 1180"/>
                  <a:gd name="T26" fmla="*/ 835 w 2844"/>
                  <a:gd name="T27" fmla="*/ 425 h 1180"/>
                  <a:gd name="T28" fmla="*/ 698 w 2844"/>
                  <a:gd name="T29" fmla="*/ 313 h 1180"/>
                  <a:gd name="T30" fmla="*/ 437 w 2844"/>
                  <a:gd name="T31" fmla="*/ 541 h 1180"/>
                  <a:gd name="T32" fmla="*/ 263 w 2844"/>
                  <a:gd name="T33" fmla="*/ 535 h 1180"/>
                  <a:gd name="T34" fmla="*/ 7 w 2844"/>
                  <a:gd name="T35" fmla="*/ 880 h 1180"/>
                  <a:gd name="T36" fmla="*/ 253 w 2844"/>
                  <a:gd name="T37" fmla="*/ 628 h 1180"/>
                  <a:gd name="T38" fmla="*/ 321 w 2844"/>
                  <a:gd name="T39" fmla="*/ 522 h 1180"/>
                  <a:gd name="T40" fmla="*/ 460 w 2844"/>
                  <a:gd name="T41" fmla="*/ 572 h 1180"/>
                  <a:gd name="T42" fmla="*/ 688 w 2844"/>
                  <a:gd name="T43" fmla="*/ 373 h 1180"/>
                  <a:gd name="T44" fmla="*/ 816 w 2844"/>
                  <a:gd name="T45" fmla="*/ 469 h 1180"/>
                  <a:gd name="T46" fmla="*/ 957 w 2844"/>
                  <a:gd name="T47" fmla="*/ 582 h 1180"/>
                  <a:gd name="T48" fmla="*/ 940 w 2844"/>
                  <a:gd name="T49" fmla="*/ 601 h 1180"/>
                  <a:gd name="T50" fmla="*/ 658 w 2844"/>
                  <a:gd name="T51" fmla="*/ 443 h 1180"/>
                  <a:gd name="T52" fmla="*/ 552 w 2844"/>
                  <a:gd name="T53" fmla="*/ 549 h 1180"/>
                  <a:gd name="T54" fmla="*/ 716 w 2844"/>
                  <a:gd name="T55" fmla="*/ 564 h 1180"/>
                  <a:gd name="T56" fmla="*/ 824 w 2844"/>
                  <a:gd name="T57" fmla="*/ 614 h 1180"/>
                  <a:gd name="T58" fmla="*/ 779 w 2844"/>
                  <a:gd name="T59" fmla="*/ 825 h 1180"/>
                  <a:gd name="T60" fmla="*/ 684 w 2844"/>
                  <a:gd name="T61" fmla="*/ 875 h 1180"/>
                  <a:gd name="T62" fmla="*/ 531 w 2844"/>
                  <a:gd name="T63" fmla="*/ 1116 h 1180"/>
                  <a:gd name="T64" fmla="*/ 528 w 2844"/>
                  <a:gd name="T65" fmla="*/ 1123 h 1180"/>
                  <a:gd name="T66" fmla="*/ 664 w 2844"/>
                  <a:gd name="T67" fmla="*/ 967 h 1180"/>
                  <a:gd name="T68" fmla="*/ 758 w 2844"/>
                  <a:gd name="T69" fmla="*/ 911 h 1180"/>
                  <a:gd name="T70" fmla="*/ 932 w 2844"/>
                  <a:gd name="T71" fmla="*/ 705 h 1180"/>
                  <a:gd name="T72" fmla="*/ 1040 w 2844"/>
                  <a:gd name="T73" fmla="*/ 564 h 1180"/>
                  <a:gd name="T74" fmla="*/ 1157 w 2844"/>
                  <a:gd name="T75" fmla="*/ 463 h 1180"/>
                  <a:gd name="T76" fmla="*/ 1361 w 2844"/>
                  <a:gd name="T77" fmla="*/ 119 h 1180"/>
                  <a:gd name="T78" fmla="*/ 1420 w 2844"/>
                  <a:gd name="T79" fmla="*/ 156 h 1180"/>
                  <a:gd name="T80" fmla="*/ 1496 w 2844"/>
                  <a:gd name="T81" fmla="*/ 220 h 1180"/>
                  <a:gd name="T82" fmla="*/ 1702 w 2844"/>
                  <a:gd name="T83" fmla="*/ 467 h 1180"/>
                  <a:gd name="T84" fmla="*/ 1778 w 2844"/>
                  <a:gd name="T85" fmla="*/ 593 h 1180"/>
                  <a:gd name="T86" fmla="*/ 2074 w 2844"/>
                  <a:gd name="T87" fmla="*/ 921 h 1180"/>
                  <a:gd name="T88" fmla="*/ 2271 w 2844"/>
                  <a:gd name="T89" fmla="*/ 1146 h 1180"/>
                  <a:gd name="T90" fmla="*/ 2332 w 2844"/>
                  <a:gd name="T91" fmla="*/ 1165 h 1180"/>
                  <a:gd name="T92" fmla="*/ 2091 w 2844"/>
                  <a:gd name="T93" fmla="*/ 872 h 1180"/>
                  <a:gd name="T94" fmla="*/ 1928 w 2844"/>
                  <a:gd name="T95" fmla="*/ 705 h 1180"/>
                  <a:gd name="T96" fmla="*/ 1983 w 2844"/>
                  <a:gd name="T97" fmla="*/ 665 h 1180"/>
                  <a:gd name="T98" fmla="*/ 2087 w 2844"/>
                  <a:gd name="T99" fmla="*/ 524 h 1180"/>
                  <a:gd name="T100" fmla="*/ 2206 w 2844"/>
                  <a:gd name="T101" fmla="*/ 518 h 1180"/>
                  <a:gd name="T102" fmla="*/ 2374 w 2844"/>
                  <a:gd name="T103" fmla="*/ 668 h 1180"/>
                  <a:gd name="T104" fmla="*/ 2547 w 2844"/>
                  <a:gd name="T105" fmla="*/ 802 h 1180"/>
                  <a:gd name="T106" fmla="*/ 2735 w 2844"/>
                  <a:gd name="T107" fmla="*/ 891 h 1180"/>
                  <a:gd name="T108" fmla="*/ 2840 w 2844"/>
                  <a:gd name="T109" fmla="*/ 937 h 1180"/>
                  <a:gd name="T110" fmla="*/ 663 w 2844"/>
                  <a:gd name="T111" fmla="*/ 938 h 1180"/>
                  <a:gd name="T112" fmla="*/ 1883 w 2844"/>
                  <a:gd name="T113" fmla="*/ 704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44" h="1180">
                    <a:moveTo>
                      <a:pt x="2840" y="937"/>
                    </a:moveTo>
                    <a:cubicBezTo>
                      <a:pt x="2749" y="886"/>
                      <a:pt x="2683" y="800"/>
                      <a:pt x="2606" y="731"/>
                    </a:cubicBezTo>
                    <a:cubicBezTo>
                      <a:pt x="2604" y="729"/>
                      <a:pt x="2600" y="729"/>
                      <a:pt x="2598" y="731"/>
                    </a:cubicBezTo>
                    <a:cubicBezTo>
                      <a:pt x="2562" y="766"/>
                      <a:pt x="2510" y="711"/>
                      <a:pt x="2485" y="686"/>
                    </a:cubicBezTo>
                    <a:cubicBezTo>
                      <a:pt x="2470" y="670"/>
                      <a:pt x="2454" y="653"/>
                      <a:pt x="2442" y="635"/>
                    </a:cubicBezTo>
                    <a:cubicBezTo>
                      <a:pt x="2435" y="625"/>
                      <a:pt x="2428" y="610"/>
                      <a:pt x="2416" y="604"/>
                    </a:cubicBezTo>
                    <a:cubicBezTo>
                      <a:pt x="2407" y="599"/>
                      <a:pt x="2396" y="605"/>
                      <a:pt x="2388" y="609"/>
                    </a:cubicBezTo>
                    <a:cubicBezTo>
                      <a:pt x="2371" y="618"/>
                      <a:pt x="2360" y="624"/>
                      <a:pt x="2342" y="618"/>
                    </a:cubicBezTo>
                    <a:cubicBezTo>
                      <a:pt x="2315" y="609"/>
                      <a:pt x="2299" y="579"/>
                      <a:pt x="2284" y="556"/>
                    </a:cubicBezTo>
                    <a:cubicBezTo>
                      <a:pt x="2271" y="535"/>
                      <a:pt x="2258" y="513"/>
                      <a:pt x="2237" y="498"/>
                    </a:cubicBezTo>
                    <a:cubicBezTo>
                      <a:pt x="2224" y="489"/>
                      <a:pt x="2210" y="488"/>
                      <a:pt x="2195" y="487"/>
                    </a:cubicBezTo>
                    <a:cubicBezTo>
                      <a:pt x="2184" y="486"/>
                      <a:pt x="2173" y="485"/>
                      <a:pt x="2162" y="482"/>
                    </a:cubicBezTo>
                    <a:cubicBezTo>
                      <a:pt x="2150" y="478"/>
                      <a:pt x="2142" y="469"/>
                      <a:pt x="2134" y="460"/>
                    </a:cubicBezTo>
                    <a:cubicBezTo>
                      <a:pt x="2128" y="452"/>
                      <a:pt x="2121" y="443"/>
                      <a:pt x="2111" y="441"/>
                    </a:cubicBezTo>
                    <a:cubicBezTo>
                      <a:pt x="2098" y="438"/>
                      <a:pt x="2086" y="450"/>
                      <a:pt x="2077" y="458"/>
                    </a:cubicBezTo>
                    <a:cubicBezTo>
                      <a:pt x="2048" y="484"/>
                      <a:pt x="2029" y="520"/>
                      <a:pt x="2005" y="551"/>
                    </a:cubicBezTo>
                    <a:cubicBezTo>
                      <a:pt x="1971" y="596"/>
                      <a:pt x="1933" y="642"/>
                      <a:pt x="1886" y="673"/>
                    </a:cubicBezTo>
                    <a:cubicBezTo>
                      <a:pt x="1877" y="664"/>
                      <a:pt x="1869" y="656"/>
                      <a:pt x="1861" y="646"/>
                    </a:cubicBezTo>
                    <a:cubicBezTo>
                      <a:pt x="1837" y="618"/>
                      <a:pt x="1813" y="581"/>
                      <a:pt x="1810" y="542"/>
                    </a:cubicBezTo>
                    <a:cubicBezTo>
                      <a:pt x="1809" y="526"/>
                      <a:pt x="1813" y="506"/>
                      <a:pt x="1806" y="490"/>
                    </a:cubicBezTo>
                    <a:cubicBezTo>
                      <a:pt x="1800" y="478"/>
                      <a:pt x="1791" y="469"/>
                      <a:pt x="1781" y="461"/>
                    </a:cubicBezTo>
                    <a:cubicBezTo>
                      <a:pt x="1755" y="442"/>
                      <a:pt x="1726" y="430"/>
                      <a:pt x="1699" y="414"/>
                    </a:cubicBezTo>
                    <a:cubicBezTo>
                      <a:pt x="1666" y="393"/>
                      <a:pt x="1640" y="355"/>
                      <a:pt x="1618" y="324"/>
                    </a:cubicBezTo>
                    <a:cubicBezTo>
                      <a:pt x="1595" y="290"/>
                      <a:pt x="1574" y="254"/>
                      <a:pt x="1552" y="219"/>
                    </a:cubicBezTo>
                    <a:cubicBezTo>
                      <a:pt x="1542" y="203"/>
                      <a:pt x="1531" y="186"/>
                      <a:pt x="1520" y="170"/>
                    </a:cubicBezTo>
                    <a:cubicBezTo>
                      <a:pt x="1509" y="155"/>
                      <a:pt x="1498" y="138"/>
                      <a:pt x="1485" y="126"/>
                    </a:cubicBezTo>
                    <a:cubicBezTo>
                      <a:pt x="1470" y="113"/>
                      <a:pt x="1460" y="130"/>
                      <a:pt x="1446" y="123"/>
                    </a:cubicBezTo>
                    <a:cubicBezTo>
                      <a:pt x="1433" y="117"/>
                      <a:pt x="1429" y="94"/>
                      <a:pt x="1425" y="82"/>
                    </a:cubicBezTo>
                    <a:cubicBezTo>
                      <a:pt x="1420" y="61"/>
                      <a:pt x="1417" y="26"/>
                      <a:pt x="1397" y="13"/>
                    </a:cubicBezTo>
                    <a:cubicBezTo>
                      <a:pt x="1377" y="0"/>
                      <a:pt x="1348" y="55"/>
                      <a:pt x="1341" y="65"/>
                    </a:cubicBezTo>
                    <a:cubicBezTo>
                      <a:pt x="1314" y="105"/>
                      <a:pt x="1291" y="147"/>
                      <a:pt x="1267" y="189"/>
                    </a:cubicBezTo>
                    <a:cubicBezTo>
                      <a:pt x="1224" y="264"/>
                      <a:pt x="1183" y="342"/>
                      <a:pt x="1138" y="416"/>
                    </a:cubicBezTo>
                    <a:cubicBezTo>
                      <a:pt x="1121" y="445"/>
                      <a:pt x="1102" y="474"/>
                      <a:pt x="1078" y="497"/>
                    </a:cubicBezTo>
                    <a:cubicBezTo>
                      <a:pt x="1067" y="507"/>
                      <a:pt x="1052" y="517"/>
                      <a:pt x="1037" y="514"/>
                    </a:cubicBezTo>
                    <a:cubicBezTo>
                      <a:pt x="1028" y="512"/>
                      <a:pt x="1022" y="506"/>
                      <a:pt x="1013" y="509"/>
                    </a:cubicBezTo>
                    <a:cubicBezTo>
                      <a:pt x="1002" y="513"/>
                      <a:pt x="993" y="529"/>
                      <a:pt x="987" y="538"/>
                    </a:cubicBezTo>
                    <a:cubicBezTo>
                      <a:pt x="984" y="542"/>
                      <a:pt x="982" y="545"/>
                      <a:pt x="980" y="548"/>
                    </a:cubicBezTo>
                    <a:cubicBezTo>
                      <a:pt x="945" y="540"/>
                      <a:pt x="915" y="518"/>
                      <a:pt x="890" y="492"/>
                    </a:cubicBezTo>
                    <a:cubicBezTo>
                      <a:pt x="887" y="488"/>
                      <a:pt x="884" y="485"/>
                      <a:pt x="881" y="481"/>
                    </a:cubicBezTo>
                    <a:cubicBezTo>
                      <a:pt x="872" y="470"/>
                      <a:pt x="866" y="457"/>
                      <a:pt x="857" y="446"/>
                    </a:cubicBezTo>
                    <a:cubicBezTo>
                      <a:pt x="852" y="439"/>
                      <a:pt x="846" y="434"/>
                      <a:pt x="839" y="429"/>
                    </a:cubicBezTo>
                    <a:cubicBezTo>
                      <a:pt x="838" y="428"/>
                      <a:pt x="837" y="427"/>
                      <a:pt x="835" y="425"/>
                    </a:cubicBezTo>
                    <a:cubicBezTo>
                      <a:pt x="820" y="410"/>
                      <a:pt x="800" y="400"/>
                      <a:pt x="784" y="386"/>
                    </a:cubicBezTo>
                    <a:cubicBezTo>
                      <a:pt x="768" y="372"/>
                      <a:pt x="754" y="357"/>
                      <a:pt x="739" y="342"/>
                    </a:cubicBezTo>
                    <a:cubicBezTo>
                      <a:pt x="727" y="330"/>
                      <a:pt x="715" y="318"/>
                      <a:pt x="698" y="313"/>
                    </a:cubicBezTo>
                    <a:cubicBezTo>
                      <a:pt x="666" y="304"/>
                      <a:pt x="641" y="341"/>
                      <a:pt x="626" y="362"/>
                    </a:cubicBezTo>
                    <a:cubicBezTo>
                      <a:pt x="591" y="410"/>
                      <a:pt x="554" y="457"/>
                      <a:pt x="510" y="498"/>
                    </a:cubicBezTo>
                    <a:cubicBezTo>
                      <a:pt x="491" y="516"/>
                      <a:pt x="466" y="538"/>
                      <a:pt x="437" y="541"/>
                    </a:cubicBezTo>
                    <a:cubicBezTo>
                      <a:pt x="410" y="545"/>
                      <a:pt x="390" y="516"/>
                      <a:pt x="373" y="499"/>
                    </a:cubicBezTo>
                    <a:cubicBezTo>
                      <a:pt x="355" y="479"/>
                      <a:pt x="331" y="456"/>
                      <a:pt x="304" y="477"/>
                    </a:cubicBezTo>
                    <a:cubicBezTo>
                      <a:pt x="286" y="491"/>
                      <a:pt x="275" y="517"/>
                      <a:pt x="263" y="535"/>
                    </a:cubicBezTo>
                    <a:cubicBezTo>
                      <a:pt x="248" y="560"/>
                      <a:pt x="233" y="584"/>
                      <a:pt x="217" y="609"/>
                    </a:cubicBezTo>
                    <a:cubicBezTo>
                      <a:pt x="157" y="707"/>
                      <a:pt x="92" y="802"/>
                      <a:pt x="3" y="876"/>
                    </a:cubicBezTo>
                    <a:cubicBezTo>
                      <a:pt x="0" y="878"/>
                      <a:pt x="4" y="882"/>
                      <a:pt x="7" y="880"/>
                    </a:cubicBezTo>
                    <a:cubicBezTo>
                      <a:pt x="7" y="880"/>
                      <a:pt x="7" y="880"/>
                      <a:pt x="7" y="880"/>
                    </a:cubicBezTo>
                    <a:cubicBezTo>
                      <a:pt x="22" y="884"/>
                      <a:pt x="87" y="828"/>
                      <a:pt x="94" y="822"/>
                    </a:cubicBezTo>
                    <a:cubicBezTo>
                      <a:pt x="158" y="765"/>
                      <a:pt x="209" y="701"/>
                      <a:pt x="253" y="628"/>
                    </a:cubicBezTo>
                    <a:cubicBezTo>
                      <a:pt x="262" y="612"/>
                      <a:pt x="273" y="597"/>
                      <a:pt x="281" y="580"/>
                    </a:cubicBezTo>
                    <a:cubicBezTo>
                      <a:pt x="288" y="566"/>
                      <a:pt x="295" y="551"/>
                      <a:pt x="304" y="537"/>
                    </a:cubicBezTo>
                    <a:cubicBezTo>
                      <a:pt x="308" y="531"/>
                      <a:pt x="313" y="523"/>
                      <a:pt x="321" y="522"/>
                    </a:cubicBezTo>
                    <a:cubicBezTo>
                      <a:pt x="330" y="521"/>
                      <a:pt x="338" y="530"/>
                      <a:pt x="343" y="536"/>
                    </a:cubicBezTo>
                    <a:cubicBezTo>
                      <a:pt x="355" y="548"/>
                      <a:pt x="364" y="561"/>
                      <a:pt x="377" y="572"/>
                    </a:cubicBezTo>
                    <a:cubicBezTo>
                      <a:pt x="404" y="594"/>
                      <a:pt x="432" y="587"/>
                      <a:pt x="460" y="572"/>
                    </a:cubicBezTo>
                    <a:cubicBezTo>
                      <a:pt x="498" y="551"/>
                      <a:pt x="532" y="524"/>
                      <a:pt x="564" y="496"/>
                    </a:cubicBezTo>
                    <a:cubicBezTo>
                      <a:pt x="600" y="465"/>
                      <a:pt x="634" y="432"/>
                      <a:pt x="665" y="397"/>
                    </a:cubicBezTo>
                    <a:cubicBezTo>
                      <a:pt x="672" y="389"/>
                      <a:pt x="680" y="381"/>
                      <a:pt x="688" y="373"/>
                    </a:cubicBezTo>
                    <a:cubicBezTo>
                      <a:pt x="700" y="362"/>
                      <a:pt x="710" y="369"/>
                      <a:pt x="719" y="378"/>
                    </a:cubicBezTo>
                    <a:cubicBezTo>
                      <a:pt x="736" y="395"/>
                      <a:pt x="751" y="414"/>
                      <a:pt x="767" y="431"/>
                    </a:cubicBezTo>
                    <a:cubicBezTo>
                      <a:pt x="782" y="447"/>
                      <a:pt x="803" y="451"/>
                      <a:pt x="816" y="469"/>
                    </a:cubicBezTo>
                    <a:cubicBezTo>
                      <a:pt x="827" y="484"/>
                      <a:pt x="834" y="502"/>
                      <a:pt x="845" y="517"/>
                    </a:cubicBezTo>
                    <a:cubicBezTo>
                      <a:pt x="871" y="550"/>
                      <a:pt x="918" y="564"/>
                      <a:pt x="955" y="581"/>
                    </a:cubicBezTo>
                    <a:cubicBezTo>
                      <a:pt x="956" y="582"/>
                      <a:pt x="956" y="582"/>
                      <a:pt x="957" y="582"/>
                    </a:cubicBezTo>
                    <a:cubicBezTo>
                      <a:pt x="954" y="587"/>
                      <a:pt x="951" y="591"/>
                      <a:pt x="948" y="596"/>
                    </a:cubicBezTo>
                    <a:cubicBezTo>
                      <a:pt x="947" y="598"/>
                      <a:pt x="946" y="599"/>
                      <a:pt x="945" y="601"/>
                    </a:cubicBezTo>
                    <a:cubicBezTo>
                      <a:pt x="943" y="600"/>
                      <a:pt x="941" y="600"/>
                      <a:pt x="940" y="601"/>
                    </a:cubicBezTo>
                    <a:cubicBezTo>
                      <a:pt x="893" y="595"/>
                      <a:pt x="852" y="571"/>
                      <a:pt x="817" y="540"/>
                    </a:cubicBezTo>
                    <a:cubicBezTo>
                      <a:pt x="783" y="511"/>
                      <a:pt x="759" y="474"/>
                      <a:pt x="728" y="442"/>
                    </a:cubicBezTo>
                    <a:cubicBezTo>
                      <a:pt x="706" y="417"/>
                      <a:pt x="682" y="422"/>
                      <a:pt x="658" y="443"/>
                    </a:cubicBezTo>
                    <a:cubicBezTo>
                      <a:pt x="640" y="458"/>
                      <a:pt x="626" y="477"/>
                      <a:pt x="610" y="493"/>
                    </a:cubicBezTo>
                    <a:cubicBezTo>
                      <a:pt x="592" y="512"/>
                      <a:pt x="572" y="527"/>
                      <a:pt x="549" y="540"/>
                    </a:cubicBezTo>
                    <a:cubicBezTo>
                      <a:pt x="545" y="542"/>
                      <a:pt x="547" y="549"/>
                      <a:pt x="552" y="549"/>
                    </a:cubicBezTo>
                    <a:cubicBezTo>
                      <a:pt x="574" y="548"/>
                      <a:pt x="596" y="545"/>
                      <a:pt x="618" y="539"/>
                    </a:cubicBezTo>
                    <a:cubicBezTo>
                      <a:pt x="638" y="534"/>
                      <a:pt x="665" y="521"/>
                      <a:pt x="685" y="531"/>
                    </a:cubicBezTo>
                    <a:cubicBezTo>
                      <a:pt x="698" y="538"/>
                      <a:pt x="707" y="553"/>
                      <a:pt x="716" y="564"/>
                    </a:cubicBezTo>
                    <a:cubicBezTo>
                      <a:pt x="726" y="576"/>
                      <a:pt x="738" y="586"/>
                      <a:pt x="753" y="591"/>
                    </a:cubicBezTo>
                    <a:cubicBezTo>
                      <a:pt x="754" y="591"/>
                      <a:pt x="756" y="591"/>
                      <a:pt x="757" y="589"/>
                    </a:cubicBezTo>
                    <a:cubicBezTo>
                      <a:pt x="771" y="572"/>
                      <a:pt x="812" y="606"/>
                      <a:pt x="824" y="614"/>
                    </a:cubicBezTo>
                    <a:cubicBezTo>
                      <a:pt x="852" y="631"/>
                      <a:pt x="885" y="639"/>
                      <a:pt x="917" y="643"/>
                    </a:cubicBezTo>
                    <a:cubicBezTo>
                      <a:pt x="901" y="668"/>
                      <a:pt x="884" y="692"/>
                      <a:pt x="867" y="716"/>
                    </a:cubicBezTo>
                    <a:cubicBezTo>
                      <a:pt x="839" y="754"/>
                      <a:pt x="810" y="790"/>
                      <a:pt x="779" y="825"/>
                    </a:cubicBezTo>
                    <a:cubicBezTo>
                      <a:pt x="765" y="840"/>
                      <a:pt x="752" y="857"/>
                      <a:pt x="736" y="870"/>
                    </a:cubicBezTo>
                    <a:cubicBezTo>
                      <a:pt x="721" y="883"/>
                      <a:pt x="705" y="877"/>
                      <a:pt x="689" y="872"/>
                    </a:cubicBezTo>
                    <a:cubicBezTo>
                      <a:pt x="686" y="871"/>
                      <a:pt x="684" y="873"/>
                      <a:pt x="684" y="875"/>
                    </a:cubicBezTo>
                    <a:cubicBezTo>
                      <a:pt x="665" y="924"/>
                      <a:pt x="637" y="967"/>
                      <a:pt x="611" y="1012"/>
                    </a:cubicBezTo>
                    <a:cubicBezTo>
                      <a:pt x="590" y="1050"/>
                      <a:pt x="568" y="1091"/>
                      <a:pt x="531" y="1116"/>
                    </a:cubicBezTo>
                    <a:cubicBezTo>
                      <a:pt x="531" y="1116"/>
                      <a:pt x="531" y="1116"/>
                      <a:pt x="531" y="1116"/>
                    </a:cubicBezTo>
                    <a:cubicBezTo>
                      <a:pt x="530" y="1117"/>
                      <a:pt x="529" y="1117"/>
                      <a:pt x="528" y="1118"/>
                    </a:cubicBezTo>
                    <a:cubicBezTo>
                      <a:pt x="528" y="1118"/>
                      <a:pt x="528" y="1118"/>
                      <a:pt x="528" y="1118"/>
                    </a:cubicBezTo>
                    <a:cubicBezTo>
                      <a:pt x="526" y="1119"/>
                      <a:pt x="527" y="1122"/>
                      <a:pt x="528" y="1123"/>
                    </a:cubicBezTo>
                    <a:cubicBezTo>
                      <a:pt x="529" y="1124"/>
                      <a:pt x="531" y="1125"/>
                      <a:pt x="533" y="1124"/>
                    </a:cubicBezTo>
                    <a:cubicBezTo>
                      <a:pt x="569" y="1114"/>
                      <a:pt x="596" y="1084"/>
                      <a:pt x="619" y="1056"/>
                    </a:cubicBezTo>
                    <a:cubicBezTo>
                      <a:pt x="640" y="1030"/>
                      <a:pt x="649" y="996"/>
                      <a:pt x="664" y="967"/>
                    </a:cubicBezTo>
                    <a:cubicBezTo>
                      <a:pt x="672" y="952"/>
                      <a:pt x="682" y="937"/>
                      <a:pt x="696" y="927"/>
                    </a:cubicBezTo>
                    <a:cubicBezTo>
                      <a:pt x="706" y="920"/>
                      <a:pt x="720" y="921"/>
                      <a:pt x="732" y="920"/>
                    </a:cubicBezTo>
                    <a:cubicBezTo>
                      <a:pt x="741" y="919"/>
                      <a:pt x="750" y="916"/>
                      <a:pt x="758" y="911"/>
                    </a:cubicBezTo>
                    <a:cubicBezTo>
                      <a:pt x="773" y="903"/>
                      <a:pt x="785" y="889"/>
                      <a:pt x="795" y="876"/>
                    </a:cubicBezTo>
                    <a:cubicBezTo>
                      <a:pt x="810" y="858"/>
                      <a:pt x="824" y="840"/>
                      <a:pt x="839" y="822"/>
                    </a:cubicBezTo>
                    <a:cubicBezTo>
                      <a:pt x="870" y="783"/>
                      <a:pt x="901" y="744"/>
                      <a:pt x="932" y="705"/>
                    </a:cubicBezTo>
                    <a:cubicBezTo>
                      <a:pt x="945" y="688"/>
                      <a:pt x="957" y="670"/>
                      <a:pt x="970" y="652"/>
                    </a:cubicBezTo>
                    <a:cubicBezTo>
                      <a:pt x="981" y="635"/>
                      <a:pt x="994" y="620"/>
                      <a:pt x="1005" y="602"/>
                    </a:cubicBezTo>
                    <a:cubicBezTo>
                      <a:pt x="1013" y="588"/>
                      <a:pt x="1023" y="570"/>
                      <a:pt x="1040" y="564"/>
                    </a:cubicBezTo>
                    <a:cubicBezTo>
                      <a:pt x="1048" y="561"/>
                      <a:pt x="1056" y="568"/>
                      <a:pt x="1064" y="567"/>
                    </a:cubicBezTo>
                    <a:cubicBezTo>
                      <a:pt x="1073" y="565"/>
                      <a:pt x="1080" y="562"/>
                      <a:pt x="1086" y="557"/>
                    </a:cubicBezTo>
                    <a:cubicBezTo>
                      <a:pt x="1116" y="532"/>
                      <a:pt x="1136" y="496"/>
                      <a:pt x="1157" y="463"/>
                    </a:cubicBezTo>
                    <a:cubicBezTo>
                      <a:pt x="1181" y="423"/>
                      <a:pt x="1209" y="385"/>
                      <a:pt x="1234" y="345"/>
                    </a:cubicBezTo>
                    <a:cubicBezTo>
                      <a:pt x="1260" y="303"/>
                      <a:pt x="1286" y="260"/>
                      <a:pt x="1310" y="217"/>
                    </a:cubicBezTo>
                    <a:cubicBezTo>
                      <a:pt x="1328" y="185"/>
                      <a:pt x="1341" y="150"/>
                      <a:pt x="1361" y="119"/>
                    </a:cubicBezTo>
                    <a:cubicBezTo>
                      <a:pt x="1366" y="111"/>
                      <a:pt x="1372" y="104"/>
                      <a:pt x="1382" y="101"/>
                    </a:cubicBezTo>
                    <a:cubicBezTo>
                      <a:pt x="1390" y="98"/>
                      <a:pt x="1396" y="109"/>
                      <a:pt x="1399" y="115"/>
                    </a:cubicBezTo>
                    <a:cubicBezTo>
                      <a:pt x="1407" y="129"/>
                      <a:pt x="1413" y="143"/>
                      <a:pt x="1420" y="156"/>
                    </a:cubicBezTo>
                    <a:cubicBezTo>
                      <a:pt x="1426" y="167"/>
                      <a:pt x="1433" y="181"/>
                      <a:pt x="1445" y="185"/>
                    </a:cubicBezTo>
                    <a:cubicBezTo>
                      <a:pt x="1456" y="188"/>
                      <a:pt x="1467" y="188"/>
                      <a:pt x="1477" y="196"/>
                    </a:cubicBezTo>
                    <a:cubicBezTo>
                      <a:pt x="1485" y="202"/>
                      <a:pt x="1491" y="212"/>
                      <a:pt x="1496" y="220"/>
                    </a:cubicBezTo>
                    <a:cubicBezTo>
                      <a:pt x="1518" y="254"/>
                      <a:pt x="1540" y="286"/>
                      <a:pt x="1566" y="316"/>
                    </a:cubicBezTo>
                    <a:cubicBezTo>
                      <a:pt x="1599" y="352"/>
                      <a:pt x="1627" y="391"/>
                      <a:pt x="1660" y="427"/>
                    </a:cubicBezTo>
                    <a:cubicBezTo>
                      <a:pt x="1673" y="442"/>
                      <a:pt x="1687" y="455"/>
                      <a:pt x="1702" y="467"/>
                    </a:cubicBezTo>
                    <a:cubicBezTo>
                      <a:pt x="1717" y="480"/>
                      <a:pt x="1736" y="490"/>
                      <a:pt x="1750" y="504"/>
                    </a:cubicBezTo>
                    <a:cubicBezTo>
                      <a:pt x="1761" y="514"/>
                      <a:pt x="1764" y="529"/>
                      <a:pt x="1767" y="543"/>
                    </a:cubicBezTo>
                    <a:cubicBezTo>
                      <a:pt x="1770" y="559"/>
                      <a:pt x="1774" y="576"/>
                      <a:pt x="1778" y="593"/>
                    </a:cubicBezTo>
                    <a:cubicBezTo>
                      <a:pt x="1787" y="623"/>
                      <a:pt x="1801" y="652"/>
                      <a:pt x="1819" y="679"/>
                    </a:cubicBezTo>
                    <a:cubicBezTo>
                      <a:pt x="1862" y="743"/>
                      <a:pt x="1926" y="791"/>
                      <a:pt x="1984" y="839"/>
                    </a:cubicBezTo>
                    <a:cubicBezTo>
                      <a:pt x="2015" y="865"/>
                      <a:pt x="2047" y="891"/>
                      <a:pt x="2074" y="921"/>
                    </a:cubicBezTo>
                    <a:cubicBezTo>
                      <a:pt x="2104" y="953"/>
                      <a:pt x="2129" y="989"/>
                      <a:pt x="2155" y="1024"/>
                    </a:cubicBezTo>
                    <a:cubicBezTo>
                      <a:pt x="2177" y="1056"/>
                      <a:pt x="2202" y="1087"/>
                      <a:pt x="2230" y="1114"/>
                    </a:cubicBezTo>
                    <a:cubicBezTo>
                      <a:pt x="2242" y="1127"/>
                      <a:pt x="2256" y="1137"/>
                      <a:pt x="2271" y="1146"/>
                    </a:cubicBezTo>
                    <a:cubicBezTo>
                      <a:pt x="2288" y="1155"/>
                      <a:pt x="2307" y="1164"/>
                      <a:pt x="2321" y="1177"/>
                    </a:cubicBezTo>
                    <a:cubicBezTo>
                      <a:pt x="2324" y="1180"/>
                      <a:pt x="2328" y="1179"/>
                      <a:pt x="2330" y="1176"/>
                    </a:cubicBezTo>
                    <a:cubicBezTo>
                      <a:pt x="2334" y="1175"/>
                      <a:pt x="2337" y="1168"/>
                      <a:pt x="2332" y="1165"/>
                    </a:cubicBezTo>
                    <a:cubicBezTo>
                      <a:pt x="2298" y="1142"/>
                      <a:pt x="2266" y="1117"/>
                      <a:pt x="2238" y="1088"/>
                    </a:cubicBezTo>
                    <a:cubicBezTo>
                      <a:pt x="2209" y="1059"/>
                      <a:pt x="2185" y="1025"/>
                      <a:pt x="2163" y="990"/>
                    </a:cubicBezTo>
                    <a:cubicBezTo>
                      <a:pt x="2138" y="951"/>
                      <a:pt x="2116" y="911"/>
                      <a:pt x="2091" y="872"/>
                    </a:cubicBezTo>
                    <a:cubicBezTo>
                      <a:pt x="2070" y="842"/>
                      <a:pt x="2046" y="815"/>
                      <a:pt x="2019" y="790"/>
                    </a:cubicBezTo>
                    <a:cubicBezTo>
                      <a:pt x="1989" y="761"/>
                      <a:pt x="1955" y="736"/>
                      <a:pt x="1923" y="708"/>
                    </a:cubicBezTo>
                    <a:cubicBezTo>
                      <a:pt x="1925" y="707"/>
                      <a:pt x="1926" y="706"/>
                      <a:pt x="1928" y="705"/>
                    </a:cubicBezTo>
                    <a:cubicBezTo>
                      <a:pt x="1945" y="696"/>
                      <a:pt x="1961" y="685"/>
                      <a:pt x="1975" y="673"/>
                    </a:cubicBezTo>
                    <a:cubicBezTo>
                      <a:pt x="1976" y="672"/>
                      <a:pt x="1977" y="672"/>
                      <a:pt x="1978" y="671"/>
                    </a:cubicBezTo>
                    <a:cubicBezTo>
                      <a:pt x="1981" y="670"/>
                      <a:pt x="1982" y="667"/>
                      <a:pt x="1983" y="665"/>
                    </a:cubicBezTo>
                    <a:cubicBezTo>
                      <a:pt x="2000" y="649"/>
                      <a:pt x="2015" y="630"/>
                      <a:pt x="2029" y="612"/>
                    </a:cubicBezTo>
                    <a:cubicBezTo>
                      <a:pt x="2038" y="600"/>
                      <a:pt x="2046" y="588"/>
                      <a:pt x="2054" y="576"/>
                    </a:cubicBezTo>
                    <a:cubicBezTo>
                      <a:pt x="2066" y="559"/>
                      <a:pt x="2077" y="542"/>
                      <a:pt x="2087" y="524"/>
                    </a:cubicBezTo>
                    <a:cubicBezTo>
                      <a:pt x="2095" y="511"/>
                      <a:pt x="2104" y="497"/>
                      <a:pt x="2110" y="482"/>
                    </a:cubicBezTo>
                    <a:cubicBezTo>
                      <a:pt x="2121" y="492"/>
                      <a:pt x="2132" y="502"/>
                      <a:pt x="2146" y="508"/>
                    </a:cubicBezTo>
                    <a:cubicBezTo>
                      <a:pt x="2165" y="517"/>
                      <a:pt x="2186" y="515"/>
                      <a:pt x="2206" y="518"/>
                    </a:cubicBezTo>
                    <a:cubicBezTo>
                      <a:pt x="2243" y="525"/>
                      <a:pt x="2266" y="571"/>
                      <a:pt x="2283" y="600"/>
                    </a:cubicBezTo>
                    <a:cubicBezTo>
                      <a:pt x="2297" y="622"/>
                      <a:pt x="2314" y="658"/>
                      <a:pt x="2340" y="668"/>
                    </a:cubicBezTo>
                    <a:cubicBezTo>
                      <a:pt x="2351" y="672"/>
                      <a:pt x="2362" y="670"/>
                      <a:pt x="2374" y="668"/>
                    </a:cubicBezTo>
                    <a:cubicBezTo>
                      <a:pt x="2387" y="665"/>
                      <a:pt x="2401" y="657"/>
                      <a:pt x="2412" y="669"/>
                    </a:cubicBezTo>
                    <a:cubicBezTo>
                      <a:pt x="2433" y="694"/>
                      <a:pt x="2448" y="723"/>
                      <a:pt x="2469" y="748"/>
                    </a:cubicBezTo>
                    <a:cubicBezTo>
                      <a:pt x="2490" y="772"/>
                      <a:pt x="2516" y="794"/>
                      <a:pt x="2547" y="802"/>
                    </a:cubicBezTo>
                    <a:cubicBezTo>
                      <a:pt x="2563" y="805"/>
                      <a:pt x="2577" y="802"/>
                      <a:pt x="2593" y="801"/>
                    </a:cubicBezTo>
                    <a:cubicBezTo>
                      <a:pt x="2608" y="800"/>
                      <a:pt x="2618" y="807"/>
                      <a:pt x="2630" y="816"/>
                    </a:cubicBezTo>
                    <a:cubicBezTo>
                      <a:pt x="2663" y="844"/>
                      <a:pt x="2699" y="867"/>
                      <a:pt x="2735" y="891"/>
                    </a:cubicBezTo>
                    <a:cubicBezTo>
                      <a:pt x="2767" y="913"/>
                      <a:pt x="2799" y="933"/>
                      <a:pt x="2832" y="953"/>
                    </a:cubicBezTo>
                    <a:cubicBezTo>
                      <a:pt x="2837" y="956"/>
                      <a:pt x="2842" y="951"/>
                      <a:pt x="2841" y="946"/>
                    </a:cubicBezTo>
                    <a:cubicBezTo>
                      <a:pt x="2844" y="944"/>
                      <a:pt x="2844" y="939"/>
                      <a:pt x="2840" y="937"/>
                    </a:cubicBezTo>
                    <a:close/>
                    <a:moveTo>
                      <a:pt x="653" y="958"/>
                    </a:moveTo>
                    <a:cubicBezTo>
                      <a:pt x="652" y="959"/>
                      <a:pt x="651" y="960"/>
                      <a:pt x="650" y="961"/>
                    </a:cubicBezTo>
                    <a:cubicBezTo>
                      <a:pt x="655" y="954"/>
                      <a:pt x="659" y="946"/>
                      <a:pt x="663" y="938"/>
                    </a:cubicBezTo>
                    <a:cubicBezTo>
                      <a:pt x="660" y="945"/>
                      <a:pt x="657" y="951"/>
                      <a:pt x="653" y="958"/>
                    </a:cubicBezTo>
                    <a:close/>
                    <a:moveTo>
                      <a:pt x="1869" y="690"/>
                    </a:moveTo>
                    <a:cubicBezTo>
                      <a:pt x="1874" y="695"/>
                      <a:pt x="1878" y="700"/>
                      <a:pt x="1883" y="704"/>
                    </a:cubicBezTo>
                    <a:cubicBezTo>
                      <a:pt x="1883" y="705"/>
                      <a:pt x="1883" y="705"/>
                      <a:pt x="1884" y="706"/>
                    </a:cubicBezTo>
                    <a:cubicBezTo>
                      <a:pt x="1879" y="701"/>
                      <a:pt x="1874" y="696"/>
                      <a:pt x="1869" y="690"/>
                    </a:cubicBezTo>
                    <a:close/>
                  </a:path>
                </a:pathLst>
              </a:custGeom>
              <a:solidFill>
                <a:schemeClr val="bg1">
                  <a:lumMod val="95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28" name="îsḻiḍè">
                <a:extLst>
                  <a:ext uri="{FF2B5EF4-FFF2-40B4-BE49-F238E27FC236}">
                    <a16:creationId xmlns:a16="http://schemas.microsoft.com/office/drawing/2014/main" id="{9C86B74D-69E1-4EE7-A615-D80D859F4328}"/>
                  </a:ext>
                </a:extLst>
              </p:cNvPr>
              <p:cNvSpPr/>
              <p:nvPr/>
            </p:nvSpPr>
            <p:spPr bwMode="auto">
              <a:xfrm>
                <a:off x="5785042" y="4160336"/>
                <a:ext cx="1072873" cy="1066142"/>
              </a:xfrm>
              <a:custGeom>
                <a:avLst/>
                <a:gdLst>
                  <a:gd name="T0" fmla="*/ 391 w 393"/>
                  <a:gd name="T1" fmla="*/ 383 h 390"/>
                  <a:gd name="T2" fmla="*/ 172 w 393"/>
                  <a:gd name="T3" fmla="*/ 112 h 390"/>
                  <a:gd name="T4" fmla="*/ 113 w 393"/>
                  <a:gd name="T5" fmla="*/ 45 h 390"/>
                  <a:gd name="T6" fmla="*/ 73 w 393"/>
                  <a:gd name="T7" fmla="*/ 2 h 390"/>
                  <a:gd name="T8" fmla="*/ 45 w 393"/>
                  <a:gd name="T9" fmla="*/ 24 h 390"/>
                  <a:gd name="T10" fmla="*/ 13 w 393"/>
                  <a:gd name="T11" fmla="*/ 79 h 390"/>
                  <a:gd name="T12" fmla="*/ 12 w 393"/>
                  <a:gd name="T13" fmla="*/ 81 h 390"/>
                  <a:gd name="T14" fmla="*/ 11 w 393"/>
                  <a:gd name="T15" fmla="*/ 83 h 390"/>
                  <a:gd name="T16" fmla="*/ 48 w 393"/>
                  <a:gd name="T17" fmla="*/ 135 h 390"/>
                  <a:gd name="T18" fmla="*/ 140 w 393"/>
                  <a:gd name="T19" fmla="*/ 177 h 390"/>
                  <a:gd name="T20" fmla="*/ 268 w 393"/>
                  <a:gd name="T21" fmla="*/ 256 h 390"/>
                  <a:gd name="T22" fmla="*/ 384 w 393"/>
                  <a:gd name="T23" fmla="*/ 386 h 390"/>
                  <a:gd name="T24" fmla="*/ 391 w 393"/>
                  <a:gd name="T25" fmla="*/ 383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3" h="390">
                    <a:moveTo>
                      <a:pt x="391" y="383"/>
                    </a:moveTo>
                    <a:cubicBezTo>
                      <a:pt x="357" y="266"/>
                      <a:pt x="265" y="184"/>
                      <a:pt x="172" y="112"/>
                    </a:cubicBezTo>
                    <a:cubicBezTo>
                      <a:pt x="147" y="92"/>
                      <a:pt x="128" y="73"/>
                      <a:pt x="113" y="45"/>
                    </a:cubicBezTo>
                    <a:cubicBezTo>
                      <a:pt x="105" y="29"/>
                      <a:pt x="94" y="5"/>
                      <a:pt x="73" y="2"/>
                    </a:cubicBezTo>
                    <a:cubicBezTo>
                      <a:pt x="59" y="0"/>
                      <a:pt x="50" y="14"/>
                      <a:pt x="45" y="24"/>
                    </a:cubicBezTo>
                    <a:cubicBezTo>
                      <a:pt x="35" y="42"/>
                      <a:pt x="30" y="66"/>
                      <a:pt x="13" y="79"/>
                    </a:cubicBezTo>
                    <a:cubicBezTo>
                      <a:pt x="12" y="79"/>
                      <a:pt x="12" y="80"/>
                      <a:pt x="12" y="81"/>
                    </a:cubicBezTo>
                    <a:cubicBezTo>
                      <a:pt x="12" y="81"/>
                      <a:pt x="11" y="82"/>
                      <a:pt x="11" y="83"/>
                    </a:cubicBezTo>
                    <a:cubicBezTo>
                      <a:pt x="0" y="106"/>
                      <a:pt x="31" y="125"/>
                      <a:pt x="48" y="135"/>
                    </a:cubicBezTo>
                    <a:cubicBezTo>
                      <a:pt x="77" y="152"/>
                      <a:pt x="109" y="164"/>
                      <a:pt x="140" y="177"/>
                    </a:cubicBezTo>
                    <a:cubicBezTo>
                      <a:pt x="187" y="195"/>
                      <a:pt x="230" y="225"/>
                      <a:pt x="268" y="256"/>
                    </a:cubicBezTo>
                    <a:cubicBezTo>
                      <a:pt x="313" y="293"/>
                      <a:pt x="352" y="337"/>
                      <a:pt x="384" y="386"/>
                    </a:cubicBezTo>
                    <a:cubicBezTo>
                      <a:pt x="386" y="390"/>
                      <a:pt x="393" y="388"/>
                      <a:pt x="391" y="383"/>
                    </a:cubicBezTo>
                    <a:close/>
                  </a:path>
                </a:pathLst>
              </a:custGeom>
              <a:solidFill>
                <a:schemeClr val="bg1">
                  <a:lumMod val="95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29" name="íŝļîďê">
                <a:extLst>
                  <a:ext uri="{FF2B5EF4-FFF2-40B4-BE49-F238E27FC236}">
                    <a16:creationId xmlns:a16="http://schemas.microsoft.com/office/drawing/2014/main" id="{F262DA68-DD81-46C8-A9CF-8017122E04C1}"/>
                  </a:ext>
                </a:extLst>
              </p:cNvPr>
              <p:cNvSpPr/>
              <p:nvPr/>
            </p:nvSpPr>
            <p:spPr bwMode="auto">
              <a:xfrm>
                <a:off x="4720246" y="4706870"/>
                <a:ext cx="1441715" cy="1124027"/>
              </a:xfrm>
              <a:custGeom>
                <a:avLst/>
                <a:gdLst>
                  <a:gd name="T0" fmla="*/ 526 w 528"/>
                  <a:gd name="T1" fmla="*/ 304 h 411"/>
                  <a:gd name="T2" fmla="*/ 467 w 528"/>
                  <a:gd name="T3" fmla="*/ 257 h 411"/>
                  <a:gd name="T4" fmla="*/ 429 w 528"/>
                  <a:gd name="T5" fmla="*/ 168 h 411"/>
                  <a:gd name="T6" fmla="*/ 380 w 528"/>
                  <a:gd name="T7" fmla="*/ 98 h 411"/>
                  <a:gd name="T8" fmla="*/ 393 w 528"/>
                  <a:gd name="T9" fmla="*/ 23 h 411"/>
                  <a:gd name="T10" fmla="*/ 395 w 528"/>
                  <a:gd name="T11" fmla="*/ 20 h 411"/>
                  <a:gd name="T12" fmla="*/ 406 w 528"/>
                  <a:gd name="T13" fmla="*/ 7 h 411"/>
                  <a:gd name="T14" fmla="*/ 403 w 528"/>
                  <a:gd name="T15" fmla="*/ 0 h 411"/>
                  <a:gd name="T16" fmla="*/ 308 w 528"/>
                  <a:gd name="T17" fmla="*/ 66 h 411"/>
                  <a:gd name="T18" fmla="*/ 228 w 528"/>
                  <a:gd name="T19" fmla="*/ 180 h 411"/>
                  <a:gd name="T20" fmla="*/ 171 w 528"/>
                  <a:gd name="T21" fmla="*/ 229 h 411"/>
                  <a:gd name="T22" fmla="*/ 148 w 528"/>
                  <a:gd name="T23" fmla="*/ 227 h 411"/>
                  <a:gd name="T24" fmla="*/ 130 w 528"/>
                  <a:gd name="T25" fmla="*/ 246 h 411"/>
                  <a:gd name="T26" fmla="*/ 113 w 528"/>
                  <a:gd name="T27" fmla="*/ 275 h 411"/>
                  <a:gd name="T28" fmla="*/ 69 w 528"/>
                  <a:gd name="T29" fmla="*/ 333 h 411"/>
                  <a:gd name="T30" fmla="*/ 6 w 528"/>
                  <a:gd name="T31" fmla="*/ 401 h 411"/>
                  <a:gd name="T32" fmla="*/ 2 w 528"/>
                  <a:gd name="T33" fmla="*/ 406 h 411"/>
                  <a:gd name="T34" fmla="*/ 2 w 528"/>
                  <a:gd name="T35" fmla="*/ 407 h 411"/>
                  <a:gd name="T36" fmla="*/ 3 w 528"/>
                  <a:gd name="T37" fmla="*/ 410 h 411"/>
                  <a:gd name="T38" fmla="*/ 6 w 528"/>
                  <a:gd name="T39" fmla="*/ 411 h 411"/>
                  <a:gd name="T40" fmla="*/ 171 w 528"/>
                  <a:gd name="T41" fmla="*/ 307 h 411"/>
                  <a:gd name="T42" fmla="*/ 320 w 528"/>
                  <a:gd name="T43" fmla="*/ 172 h 411"/>
                  <a:gd name="T44" fmla="*/ 327 w 528"/>
                  <a:gd name="T45" fmla="*/ 161 h 411"/>
                  <a:gd name="T46" fmla="*/ 331 w 528"/>
                  <a:gd name="T47" fmla="*/ 153 h 411"/>
                  <a:gd name="T48" fmla="*/ 522 w 528"/>
                  <a:gd name="T49" fmla="*/ 312 h 411"/>
                  <a:gd name="T50" fmla="*/ 526 w 528"/>
                  <a:gd name="T51" fmla="*/ 304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8" h="411">
                    <a:moveTo>
                      <a:pt x="526" y="304"/>
                    </a:moveTo>
                    <a:cubicBezTo>
                      <a:pt x="508" y="285"/>
                      <a:pt x="485" y="275"/>
                      <a:pt x="467" y="257"/>
                    </a:cubicBezTo>
                    <a:cubicBezTo>
                      <a:pt x="443" y="234"/>
                      <a:pt x="442" y="197"/>
                      <a:pt x="429" y="168"/>
                    </a:cubicBezTo>
                    <a:cubicBezTo>
                      <a:pt x="417" y="141"/>
                      <a:pt x="390" y="125"/>
                      <a:pt x="380" y="98"/>
                    </a:cubicBezTo>
                    <a:cubicBezTo>
                      <a:pt x="371" y="74"/>
                      <a:pt x="378" y="45"/>
                      <a:pt x="393" y="23"/>
                    </a:cubicBezTo>
                    <a:cubicBezTo>
                      <a:pt x="394" y="22"/>
                      <a:pt x="394" y="21"/>
                      <a:pt x="395" y="20"/>
                    </a:cubicBezTo>
                    <a:cubicBezTo>
                      <a:pt x="398" y="15"/>
                      <a:pt x="402" y="11"/>
                      <a:pt x="406" y="7"/>
                    </a:cubicBezTo>
                    <a:cubicBezTo>
                      <a:pt x="408" y="5"/>
                      <a:pt x="407" y="0"/>
                      <a:pt x="403" y="0"/>
                    </a:cubicBezTo>
                    <a:cubicBezTo>
                      <a:pt x="362" y="5"/>
                      <a:pt x="332" y="36"/>
                      <a:pt x="308" y="66"/>
                    </a:cubicBezTo>
                    <a:cubicBezTo>
                      <a:pt x="279" y="102"/>
                      <a:pt x="256" y="143"/>
                      <a:pt x="228" y="180"/>
                    </a:cubicBezTo>
                    <a:cubicBezTo>
                      <a:pt x="218" y="194"/>
                      <a:pt x="191" y="234"/>
                      <a:pt x="171" y="229"/>
                    </a:cubicBezTo>
                    <a:cubicBezTo>
                      <a:pt x="162" y="227"/>
                      <a:pt x="157" y="222"/>
                      <a:pt x="148" y="227"/>
                    </a:cubicBezTo>
                    <a:cubicBezTo>
                      <a:pt x="140" y="231"/>
                      <a:pt x="134" y="238"/>
                      <a:pt x="130" y="246"/>
                    </a:cubicBezTo>
                    <a:cubicBezTo>
                      <a:pt x="124" y="255"/>
                      <a:pt x="119" y="265"/>
                      <a:pt x="113" y="275"/>
                    </a:cubicBezTo>
                    <a:cubicBezTo>
                      <a:pt x="99" y="295"/>
                      <a:pt x="84" y="314"/>
                      <a:pt x="69" y="333"/>
                    </a:cubicBezTo>
                    <a:cubicBezTo>
                      <a:pt x="49" y="356"/>
                      <a:pt x="27" y="378"/>
                      <a:pt x="6" y="401"/>
                    </a:cubicBezTo>
                    <a:cubicBezTo>
                      <a:pt x="4" y="402"/>
                      <a:pt x="2" y="404"/>
                      <a:pt x="2" y="406"/>
                    </a:cubicBezTo>
                    <a:cubicBezTo>
                      <a:pt x="2" y="406"/>
                      <a:pt x="2" y="407"/>
                      <a:pt x="2" y="407"/>
                    </a:cubicBezTo>
                    <a:cubicBezTo>
                      <a:pt x="0" y="408"/>
                      <a:pt x="2" y="410"/>
                      <a:pt x="3" y="410"/>
                    </a:cubicBezTo>
                    <a:cubicBezTo>
                      <a:pt x="4" y="411"/>
                      <a:pt x="5" y="411"/>
                      <a:pt x="6" y="411"/>
                    </a:cubicBezTo>
                    <a:cubicBezTo>
                      <a:pt x="77" y="402"/>
                      <a:pt x="104" y="322"/>
                      <a:pt x="171" y="307"/>
                    </a:cubicBezTo>
                    <a:cubicBezTo>
                      <a:pt x="241" y="292"/>
                      <a:pt x="289" y="234"/>
                      <a:pt x="320" y="172"/>
                    </a:cubicBezTo>
                    <a:cubicBezTo>
                      <a:pt x="323" y="168"/>
                      <a:pt x="325" y="165"/>
                      <a:pt x="327" y="161"/>
                    </a:cubicBezTo>
                    <a:cubicBezTo>
                      <a:pt x="329" y="158"/>
                      <a:pt x="330" y="156"/>
                      <a:pt x="331" y="153"/>
                    </a:cubicBezTo>
                    <a:cubicBezTo>
                      <a:pt x="402" y="200"/>
                      <a:pt x="424" y="310"/>
                      <a:pt x="522" y="312"/>
                    </a:cubicBezTo>
                    <a:cubicBezTo>
                      <a:pt x="527" y="312"/>
                      <a:pt x="528" y="307"/>
                      <a:pt x="526" y="304"/>
                    </a:cubicBezTo>
                    <a:close/>
                  </a:path>
                </a:pathLst>
              </a:custGeom>
              <a:solidFill>
                <a:schemeClr val="bg1">
                  <a:lumMod val="95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0" name="íšḷidê">
                <a:extLst>
                  <a:ext uri="{FF2B5EF4-FFF2-40B4-BE49-F238E27FC236}">
                    <a16:creationId xmlns:a16="http://schemas.microsoft.com/office/drawing/2014/main" id="{26994356-BBA4-4337-BE64-BD9E96D88D5A}"/>
                  </a:ext>
                </a:extLst>
              </p:cNvPr>
              <p:cNvSpPr/>
              <p:nvPr/>
            </p:nvSpPr>
            <p:spPr bwMode="auto">
              <a:xfrm>
                <a:off x="2460078" y="5253402"/>
                <a:ext cx="892490" cy="779415"/>
              </a:xfrm>
              <a:custGeom>
                <a:avLst/>
                <a:gdLst>
                  <a:gd name="T0" fmla="*/ 327 w 327"/>
                  <a:gd name="T1" fmla="*/ 73 h 285"/>
                  <a:gd name="T2" fmla="*/ 257 w 327"/>
                  <a:gd name="T3" fmla="*/ 3 h 285"/>
                  <a:gd name="T4" fmla="*/ 224 w 327"/>
                  <a:gd name="T5" fmla="*/ 20 h 285"/>
                  <a:gd name="T6" fmla="*/ 213 w 327"/>
                  <a:gd name="T7" fmla="*/ 46 h 285"/>
                  <a:gd name="T8" fmla="*/ 194 w 327"/>
                  <a:gd name="T9" fmla="*/ 84 h 285"/>
                  <a:gd name="T10" fmla="*/ 109 w 327"/>
                  <a:gd name="T11" fmla="*/ 199 h 285"/>
                  <a:gd name="T12" fmla="*/ 5 w 327"/>
                  <a:gd name="T13" fmla="*/ 271 h 285"/>
                  <a:gd name="T14" fmla="*/ 3 w 327"/>
                  <a:gd name="T15" fmla="*/ 276 h 285"/>
                  <a:gd name="T16" fmla="*/ 4 w 327"/>
                  <a:gd name="T17" fmla="*/ 283 h 285"/>
                  <a:gd name="T18" fmla="*/ 24 w 327"/>
                  <a:gd name="T19" fmla="*/ 281 h 285"/>
                  <a:gd name="T20" fmla="*/ 60 w 327"/>
                  <a:gd name="T21" fmla="*/ 268 h 285"/>
                  <a:gd name="T22" fmla="*/ 157 w 327"/>
                  <a:gd name="T23" fmla="*/ 203 h 285"/>
                  <a:gd name="T24" fmla="*/ 233 w 327"/>
                  <a:gd name="T25" fmla="*/ 124 h 285"/>
                  <a:gd name="T26" fmla="*/ 263 w 327"/>
                  <a:gd name="T27" fmla="*/ 86 h 285"/>
                  <a:gd name="T28" fmla="*/ 324 w 327"/>
                  <a:gd name="T29" fmla="*/ 78 h 285"/>
                  <a:gd name="T30" fmla="*/ 327 w 327"/>
                  <a:gd name="T31" fmla="*/ 7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7" h="285">
                    <a:moveTo>
                      <a:pt x="327" y="73"/>
                    </a:moveTo>
                    <a:cubicBezTo>
                      <a:pt x="317" y="44"/>
                      <a:pt x="287" y="11"/>
                      <a:pt x="257" y="3"/>
                    </a:cubicBezTo>
                    <a:cubicBezTo>
                      <a:pt x="242" y="0"/>
                      <a:pt x="231" y="8"/>
                      <a:pt x="224" y="20"/>
                    </a:cubicBezTo>
                    <a:cubicBezTo>
                      <a:pt x="219" y="28"/>
                      <a:pt x="216" y="37"/>
                      <a:pt x="213" y="46"/>
                    </a:cubicBezTo>
                    <a:cubicBezTo>
                      <a:pt x="209" y="60"/>
                      <a:pt x="202" y="72"/>
                      <a:pt x="194" y="84"/>
                    </a:cubicBezTo>
                    <a:cubicBezTo>
                      <a:pt x="168" y="123"/>
                      <a:pt x="139" y="162"/>
                      <a:pt x="109" y="199"/>
                    </a:cubicBezTo>
                    <a:cubicBezTo>
                      <a:pt x="84" y="229"/>
                      <a:pt x="48" y="272"/>
                      <a:pt x="5" y="271"/>
                    </a:cubicBezTo>
                    <a:cubicBezTo>
                      <a:pt x="2" y="271"/>
                      <a:pt x="1" y="274"/>
                      <a:pt x="3" y="276"/>
                    </a:cubicBezTo>
                    <a:cubicBezTo>
                      <a:pt x="0" y="277"/>
                      <a:pt x="0" y="281"/>
                      <a:pt x="4" y="283"/>
                    </a:cubicBezTo>
                    <a:cubicBezTo>
                      <a:pt x="9" y="285"/>
                      <a:pt x="19" y="282"/>
                      <a:pt x="24" y="281"/>
                    </a:cubicBezTo>
                    <a:cubicBezTo>
                      <a:pt x="37" y="279"/>
                      <a:pt x="49" y="274"/>
                      <a:pt x="60" y="268"/>
                    </a:cubicBezTo>
                    <a:cubicBezTo>
                      <a:pt x="95" y="252"/>
                      <a:pt x="128" y="227"/>
                      <a:pt x="157" y="203"/>
                    </a:cubicBezTo>
                    <a:cubicBezTo>
                      <a:pt x="186" y="180"/>
                      <a:pt x="211" y="153"/>
                      <a:pt x="233" y="124"/>
                    </a:cubicBezTo>
                    <a:cubicBezTo>
                      <a:pt x="242" y="111"/>
                      <a:pt x="251" y="97"/>
                      <a:pt x="263" y="86"/>
                    </a:cubicBezTo>
                    <a:cubicBezTo>
                      <a:pt x="280" y="69"/>
                      <a:pt x="303" y="83"/>
                      <a:pt x="324" y="78"/>
                    </a:cubicBezTo>
                    <a:cubicBezTo>
                      <a:pt x="326" y="78"/>
                      <a:pt x="327" y="75"/>
                      <a:pt x="327" y="73"/>
                    </a:cubicBezTo>
                    <a:close/>
                  </a:path>
                </a:pathLst>
              </a:custGeom>
              <a:solidFill>
                <a:schemeClr val="bg1">
                  <a:lumMod val="95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1" name="işlíďê">
                <a:extLst>
                  <a:ext uri="{FF2B5EF4-FFF2-40B4-BE49-F238E27FC236}">
                    <a16:creationId xmlns:a16="http://schemas.microsoft.com/office/drawing/2014/main" id="{9CF3AEDF-D49C-4C89-86D0-8DC1B7BCA48E}"/>
                  </a:ext>
                </a:extLst>
              </p:cNvPr>
              <p:cNvSpPr/>
              <p:nvPr/>
            </p:nvSpPr>
            <p:spPr bwMode="auto">
              <a:xfrm>
                <a:off x="6848491" y="5515899"/>
                <a:ext cx="1321909" cy="1177872"/>
              </a:xfrm>
              <a:custGeom>
                <a:avLst/>
                <a:gdLst>
                  <a:gd name="T0" fmla="*/ 481 w 484"/>
                  <a:gd name="T1" fmla="*/ 423 h 431"/>
                  <a:gd name="T2" fmla="*/ 361 w 484"/>
                  <a:gd name="T3" fmla="*/ 300 h 431"/>
                  <a:gd name="T4" fmla="*/ 259 w 484"/>
                  <a:gd name="T5" fmla="*/ 179 h 431"/>
                  <a:gd name="T6" fmla="*/ 112 w 484"/>
                  <a:gd name="T7" fmla="*/ 110 h 431"/>
                  <a:gd name="T8" fmla="*/ 21 w 484"/>
                  <a:gd name="T9" fmla="*/ 26 h 431"/>
                  <a:gd name="T10" fmla="*/ 17 w 484"/>
                  <a:gd name="T11" fmla="*/ 17 h 431"/>
                  <a:gd name="T12" fmla="*/ 12 w 484"/>
                  <a:gd name="T13" fmla="*/ 6 h 431"/>
                  <a:gd name="T14" fmla="*/ 3 w 484"/>
                  <a:gd name="T15" fmla="*/ 12 h 431"/>
                  <a:gd name="T16" fmla="*/ 17 w 484"/>
                  <a:gd name="T17" fmla="*/ 46 h 431"/>
                  <a:gd name="T18" fmla="*/ 23 w 484"/>
                  <a:gd name="T19" fmla="*/ 66 h 431"/>
                  <a:gd name="T20" fmla="*/ 53 w 484"/>
                  <a:gd name="T21" fmla="*/ 115 h 431"/>
                  <a:gd name="T22" fmla="*/ 100 w 484"/>
                  <a:gd name="T23" fmla="*/ 166 h 431"/>
                  <a:gd name="T24" fmla="*/ 121 w 484"/>
                  <a:gd name="T25" fmla="*/ 248 h 431"/>
                  <a:gd name="T26" fmla="*/ 174 w 484"/>
                  <a:gd name="T27" fmla="*/ 366 h 431"/>
                  <a:gd name="T28" fmla="*/ 279 w 484"/>
                  <a:gd name="T29" fmla="*/ 413 h 431"/>
                  <a:gd name="T30" fmla="*/ 280 w 484"/>
                  <a:gd name="T31" fmla="*/ 406 h 431"/>
                  <a:gd name="T32" fmla="*/ 181 w 484"/>
                  <a:gd name="T33" fmla="*/ 294 h 431"/>
                  <a:gd name="T34" fmla="*/ 179 w 484"/>
                  <a:gd name="T35" fmla="*/ 252 h 431"/>
                  <a:gd name="T36" fmla="*/ 181 w 484"/>
                  <a:gd name="T37" fmla="*/ 247 h 431"/>
                  <a:gd name="T38" fmla="*/ 183 w 484"/>
                  <a:gd name="T39" fmla="*/ 245 h 431"/>
                  <a:gd name="T40" fmla="*/ 194 w 484"/>
                  <a:gd name="T41" fmla="*/ 238 h 431"/>
                  <a:gd name="T42" fmla="*/ 263 w 484"/>
                  <a:gd name="T43" fmla="*/ 250 h 431"/>
                  <a:gd name="T44" fmla="*/ 358 w 484"/>
                  <a:gd name="T45" fmla="*/ 359 h 431"/>
                  <a:gd name="T46" fmla="*/ 477 w 484"/>
                  <a:gd name="T47" fmla="*/ 430 h 431"/>
                  <a:gd name="T48" fmla="*/ 481 w 484"/>
                  <a:gd name="T49" fmla="*/ 423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4" h="431">
                    <a:moveTo>
                      <a:pt x="481" y="423"/>
                    </a:moveTo>
                    <a:cubicBezTo>
                      <a:pt x="438" y="384"/>
                      <a:pt x="395" y="348"/>
                      <a:pt x="361" y="300"/>
                    </a:cubicBezTo>
                    <a:cubicBezTo>
                      <a:pt x="331" y="255"/>
                      <a:pt x="303" y="211"/>
                      <a:pt x="259" y="179"/>
                    </a:cubicBezTo>
                    <a:cubicBezTo>
                      <a:pt x="215" y="147"/>
                      <a:pt x="163" y="128"/>
                      <a:pt x="112" y="110"/>
                    </a:cubicBezTo>
                    <a:cubicBezTo>
                      <a:pt x="70" y="96"/>
                      <a:pt x="42" y="63"/>
                      <a:pt x="21" y="26"/>
                    </a:cubicBezTo>
                    <a:cubicBezTo>
                      <a:pt x="20" y="23"/>
                      <a:pt x="19" y="20"/>
                      <a:pt x="17" y="17"/>
                    </a:cubicBezTo>
                    <a:cubicBezTo>
                      <a:pt x="15" y="14"/>
                      <a:pt x="13" y="10"/>
                      <a:pt x="12" y="6"/>
                    </a:cubicBezTo>
                    <a:cubicBezTo>
                      <a:pt x="9" y="0"/>
                      <a:pt x="0" y="6"/>
                      <a:pt x="3" y="12"/>
                    </a:cubicBezTo>
                    <a:cubicBezTo>
                      <a:pt x="7" y="22"/>
                      <a:pt x="11" y="35"/>
                      <a:pt x="17" y="46"/>
                    </a:cubicBezTo>
                    <a:cubicBezTo>
                      <a:pt x="19" y="52"/>
                      <a:pt x="20" y="59"/>
                      <a:pt x="23" y="66"/>
                    </a:cubicBezTo>
                    <a:cubicBezTo>
                      <a:pt x="29" y="85"/>
                      <a:pt x="39" y="101"/>
                      <a:pt x="53" y="115"/>
                    </a:cubicBezTo>
                    <a:cubicBezTo>
                      <a:pt x="69" y="132"/>
                      <a:pt x="88" y="146"/>
                      <a:pt x="100" y="166"/>
                    </a:cubicBezTo>
                    <a:cubicBezTo>
                      <a:pt x="116" y="190"/>
                      <a:pt x="118" y="220"/>
                      <a:pt x="121" y="248"/>
                    </a:cubicBezTo>
                    <a:cubicBezTo>
                      <a:pt x="126" y="294"/>
                      <a:pt x="143" y="332"/>
                      <a:pt x="174" y="366"/>
                    </a:cubicBezTo>
                    <a:cubicBezTo>
                      <a:pt x="200" y="396"/>
                      <a:pt x="238" y="421"/>
                      <a:pt x="279" y="413"/>
                    </a:cubicBezTo>
                    <a:cubicBezTo>
                      <a:pt x="283" y="413"/>
                      <a:pt x="283" y="408"/>
                      <a:pt x="280" y="406"/>
                    </a:cubicBezTo>
                    <a:cubicBezTo>
                      <a:pt x="239" y="375"/>
                      <a:pt x="198" y="344"/>
                      <a:pt x="181" y="294"/>
                    </a:cubicBezTo>
                    <a:cubicBezTo>
                      <a:pt x="177" y="281"/>
                      <a:pt x="174" y="265"/>
                      <a:pt x="179" y="252"/>
                    </a:cubicBezTo>
                    <a:cubicBezTo>
                      <a:pt x="180" y="251"/>
                      <a:pt x="180" y="249"/>
                      <a:pt x="181" y="247"/>
                    </a:cubicBezTo>
                    <a:cubicBezTo>
                      <a:pt x="182" y="247"/>
                      <a:pt x="183" y="246"/>
                      <a:pt x="183" y="245"/>
                    </a:cubicBezTo>
                    <a:cubicBezTo>
                      <a:pt x="186" y="242"/>
                      <a:pt x="189" y="240"/>
                      <a:pt x="194" y="238"/>
                    </a:cubicBezTo>
                    <a:cubicBezTo>
                      <a:pt x="216" y="229"/>
                      <a:pt x="244" y="239"/>
                      <a:pt x="263" y="250"/>
                    </a:cubicBezTo>
                    <a:cubicBezTo>
                      <a:pt x="305" y="275"/>
                      <a:pt x="328" y="323"/>
                      <a:pt x="358" y="359"/>
                    </a:cubicBezTo>
                    <a:cubicBezTo>
                      <a:pt x="389" y="396"/>
                      <a:pt x="431" y="418"/>
                      <a:pt x="477" y="430"/>
                    </a:cubicBezTo>
                    <a:cubicBezTo>
                      <a:pt x="481" y="431"/>
                      <a:pt x="484" y="426"/>
                      <a:pt x="481" y="423"/>
                    </a:cubicBezTo>
                    <a:close/>
                  </a:path>
                </a:pathLst>
              </a:custGeom>
              <a:solidFill>
                <a:schemeClr val="bg1">
                  <a:lumMod val="95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2" name="ïṩľidè">
                <a:extLst>
                  <a:ext uri="{FF2B5EF4-FFF2-40B4-BE49-F238E27FC236}">
                    <a16:creationId xmlns:a16="http://schemas.microsoft.com/office/drawing/2014/main" id="{5934730B-BD22-4B96-901D-1F6E6A2BC89F}"/>
                  </a:ext>
                </a:extLst>
              </p:cNvPr>
              <p:cNvSpPr/>
              <p:nvPr/>
            </p:nvSpPr>
            <p:spPr bwMode="auto">
              <a:xfrm>
                <a:off x="7984633" y="5086480"/>
                <a:ext cx="1014989" cy="877683"/>
              </a:xfrm>
              <a:custGeom>
                <a:avLst/>
                <a:gdLst>
                  <a:gd name="T0" fmla="*/ 368 w 372"/>
                  <a:gd name="T1" fmla="*/ 313 h 321"/>
                  <a:gd name="T2" fmla="*/ 311 w 372"/>
                  <a:gd name="T3" fmla="*/ 276 h 321"/>
                  <a:gd name="T4" fmla="*/ 272 w 372"/>
                  <a:gd name="T5" fmla="*/ 220 h 321"/>
                  <a:gd name="T6" fmla="*/ 197 w 372"/>
                  <a:gd name="T7" fmla="*/ 155 h 321"/>
                  <a:gd name="T8" fmla="*/ 137 w 372"/>
                  <a:gd name="T9" fmla="*/ 127 h 321"/>
                  <a:gd name="T10" fmla="*/ 102 w 372"/>
                  <a:gd name="T11" fmla="*/ 73 h 321"/>
                  <a:gd name="T12" fmla="*/ 70 w 372"/>
                  <a:gd name="T13" fmla="*/ 21 h 321"/>
                  <a:gd name="T14" fmla="*/ 49 w 372"/>
                  <a:gd name="T15" fmla="*/ 5 h 321"/>
                  <a:gd name="T16" fmla="*/ 6 w 372"/>
                  <a:gd name="T17" fmla="*/ 1 h 321"/>
                  <a:gd name="T18" fmla="*/ 4 w 372"/>
                  <a:gd name="T19" fmla="*/ 4 h 321"/>
                  <a:gd name="T20" fmla="*/ 3 w 372"/>
                  <a:gd name="T21" fmla="*/ 6 h 321"/>
                  <a:gd name="T22" fmla="*/ 23 w 372"/>
                  <a:gd name="T23" fmla="*/ 66 h 321"/>
                  <a:gd name="T24" fmla="*/ 10 w 372"/>
                  <a:gd name="T25" fmla="*/ 152 h 321"/>
                  <a:gd name="T26" fmla="*/ 16 w 372"/>
                  <a:gd name="T27" fmla="*/ 158 h 321"/>
                  <a:gd name="T28" fmla="*/ 60 w 372"/>
                  <a:gd name="T29" fmla="*/ 106 h 321"/>
                  <a:gd name="T30" fmla="*/ 62 w 372"/>
                  <a:gd name="T31" fmla="*/ 101 h 321"/>
                  <a:gd name="T32" fmla="*/ 117 w 372"/>
                  <a:gd name="T33" fmla="*/ 186 h 321"/>
                  <a:gd name="T34" fmla="*/ 174 w 372"/>
                  <a:gd name="T35" fmla="*/ 198 h 321"/>
                  <a:gd name="T36" fmla="*/ 187 w 372"/>
                  <a:gd name="T37" fmla="*/ 201 h 321"/>
                  <a:gd name="T38" fmla="*/ 207 w 372"/>
                  <a:gd name="T39" fmla="*/ 209 h 321"/>
                  <a:gd name="T40" fmla="*/ 225 w 372"/>
                  <a:gd name="T41" fmla="*/ 221 h 321"/>
                  <a:gd name="T42" fmla="*/ 287 w 372"/>
                  <a:gd name="T43" fmla="*/ 288 h 321"/>
                  <a:gd name="T44" fmla="*/ 367 w 372"/>
                  <a:gd name="T45" fmla="*/ 321 h 321"/>
                  <a:gd name="T46" fmla="*/ 368 w 372"/>
                  <a:gd name="T47" fmla="*/ 31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2" h="321">
                    <a:moveTo>
                      <a:pt x="368" y="313"/>
                    </a:moveTo>
                    <a:cubicBezTo>
                      <a:pt x="347" y="304"/>
                      <a:pt x="327" y="292"/>
                      <a:pt x="311" y="276"/>
                    </a:cubicBezTo>
                    <a:cubicBezTo>
                      <a:pt x="295" y="260"/>
                      <a:pt x="284" y="240"/>
                      <a:pt x="272" y="220"/>
                    </a:cubicBezTo>
                    <a:cubicBezTo>
                      <a:pt x="254" y="190"/>
                      <a:pt x="233" y="165"/>
                      <a:pt x="197" y="155"/>
                    </a:cubicBezTo>
                    <a:cubicBezTo>
                      <a:pt x="174" y="149"/>
                      <a:pt x="155" y="145"/>
                      <a:pt x="137" y="127"/>
                    </a:cubicBezTo>
                    <a:cubicBezTo>
                      <a:pt x="122" y="111"/>
                      <a:pt x="112" y="91"/>
                      <a:pt x="102" y="73"/>
                    </a:cubicBezTo>
                    <a:cubicBezTo>
                      <a:pt x="92" y="55"/>
                      <a:pt x="82" y="37"/>
                      <a:pt x="70" y="21"/>
                    </a:cubicBezTo>
                    <a:cubicBezTo>
                      <a:pt x="65" y="15"/>
                      <a:pt x="56" y="7"/>
                      <a:pt x="49" y="5"/>
                    </a:cubicBezTo>
                    <a:cubicBezTo>
                      <a:pt x="34" y="1"/>
                      <a:pt x="20" y="5"/>
                      <a:pt x="6" y="1"/>
                    </a:cubicBezTo>
                    <a:cubicBezTo>
                      <a:pt x="4" y="0"/>
                      <a:pt x="2" y="3"/>
                      <a:pt x="4" y="4"/>
                    </a:cubicBezTo>
                    <a:cubicBezTo>
                      <a:pt x="3" y="5"/>
                      <a:pt x="3" y="6"/>
                      <a:pt x="3" y="6"/>
                    </a:cubicBezTo>
                    <a:cubicBezTo>
                      <a:pt x="0" y="27"/>
                      <a:pt x="17" y="48"/>
                      <a:pt x="23" y="66"/>
                    </a:cubicBezTo>
                    <a:cubicBezTo>
                      <a:pt x="33" y="95"/>
                      <a:pt x="21" y="126"/>
                      <a:pt x="10" y="152"/>
                    </a:cubicBezTo>
                    <a:cubicBezTo>
                      <a:pt x="9" y="155"/>
                      <a:pt x="13" y="159"/>
                      <a:pt x="16" y="158"/>
                    </a:cubicBezTo>
                    <a:cubicBezTo>
                      <a:pt x="40" y="149"/>
                      <a:pt x="53" y="129"/>
                      <a:pt x="60" y="106"/>
                    </a:cubicBezTo>
                    <a:cubicBezTo>
                      <a:pt x="60" y="104"/>
                      <a:pt x="61" y="103"/>
                      <a:pt x="62" y="101"/>
                    </a:cubicBezTo>
                    <a:cubicBezTo>
                      <a:pt x="82" y="130"/>
                      <a:pt x="80" y="169"/>
                      <a:pt x="117" y="186"/>
                    </a:cubicBezTo>
                    <a:cubicBezTo>
                      <a:pt x="134" y="194"/>
                      <a:pt x="155" y="195"/>
                      <a:pt x="174" y="198"/>
                    </a:cubicBezTo>
                    <a:cubicBezTo>
                      <a:pt x="179" y="198"/>
                      <a:pt x="183" y="199"/>
                      <a:pt x="187" y="201"/>
                    </a:cubicBezTo>
                    <a:cubicBezTo>
                      <a:pt x="194" y="203"/>
                      <a:pt x="201" y="206"/>
                      <a:pt x="207" y="209"/>
                    </a:cubicBezTo>
                    <a:cubicBezTo>
                      <a:pt x="213" y="212"/>
                      <a:pt x="219" y="216"/>
                      <a:pt x="225" y="221"/>
                    </a:cubicBezTo>
                    <a:cubicBezTo>
                      <a:pt x="249" y="240"/>
                      <a:pt x="265" y="266"/>
                      <a:pt x="287" y="288"/>
                    </a:cubicBezTo>
                    <a:cubicBezTo>
                      <a:pt x="309" y="310"/>
                      <a:pt x="336" y="321"/>
                      <a:pt x="367" y="321"/>
                    </a:cubicBezTo>
                    <a:cubicBezTo>
                      <a:pt x="372" y="321"/>
                      <a:pt x="372" y="314"/>
                      <a:pt x="368" y="313"/>
                    </a:cubicBezTo>
                    <a:close/>
                  </a:path>
                </a:pathLst>
              </a:custGeom>
              <a:solidFill>
                <a:schemeClr val="bg1">
                  <a:lumMod val="95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3" name="îṣļiḍé">
                <a:extLst>
                  <a:ext uri="{FF2B5EF4-FFF2-40B4-BE49-F238E27FC236}">
                    <a16:creationId xmlns:a16="http://schemas.microsoft.com/office/drawing/2014/main" id="{527AC0B5-0F3A-4087-BB6D-B06951F30A44}"/>
                  </a:ext>
                </a:extLst>
              </p:cNvPr>
              <p:cNvSpPr/>
              <p:nvPr/>
            </p:nvSpPr>
            <p:spPr bwMode="auto">
              <a:xfrm>
                <a:off x="9150390" y="5898202"/>
                <a:ext cx="659608" cy="352689"/>
              </a:xfrm>
              <a:custGeom>
                <a:avLst/>
                <a:gdLst>
                  <a:gd name="T0" fmla="*/ 238 w 242"/>
                  <a:gd name="T1" fmla="*/ 121 h 129"/>
                  <a:gd name="T2" fmla="*/ 109 w 242"/>
                  <a:gd name="T3" fmla="*/ 42 h 129"/>
                  <a:gd name="T4" fmla="*/ 79 w 242"/>
                  <a:gd name="T5" fmla="*/ 16 h 129"/>
                  <a:gd name="T6" fmla="*/ 37 w 242"/>
                  <a:gd name="T7" fmla="*/ 3 h 129"/>
                  <a:gd name="T8" fmla="*/ 33 w 242"/>
                  <a:gd name="T9" fmla="*/ 3 h 129"/>
                  <a:gd name="T10" fmla="*/ 31 w 242"/>
                  <a:gd name="T11" fmla="*/ 4 h 129"/>
                  <a:gd name="T12" fmla="*/ 16 w 242"/>
                  <a:gd name="T13" fmla="*/ 14 h 129"/>
                  <a:gd name="T14" fmla="*/ 8 w 242"/>
                  <a:gd name="T15" fmla="*/ 48 h 129"/>
                  <a:gd name="T16" fmla="*/ 73 w 242"/>
                  <a:gd name="T17" fmla="*/ 64 h 129"/>
                  <a:gd name="T18" fmla="*/ 117 w 242"/>
                  <a:gd name="T19" fmla="*/ 83 h 129"/>
                  <a:gd name="T20" fmla="*/ 155 w 242"/>
                  <a:gd name="T21" fmla="*/ 105 h 129"/>
                  <a:gd name="T22" fmla="*/ 172 w 242"/>
                  <a:gd name="T23" fmla="*/ 114 h 129"/>
                  <a:gd name="T24" fmla="*/ 195 w 242"/>
                  <a:gd name="T25" fmla="*/ 122 h 129"/>
                  <a:gd name="T26" fmla="*/ 236 w 242"/>
                  <a:gd name="T27" fmla="*/ 129 h 129"/>
                  <a:gd name="T28" fmla="*/ 238 w 242"/>
                  <a:gd name="T29" fmla="*/ 12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29">
                    <a:moveTo>
                      <a:pt x="238" y="121"/>
                    </a:moveTo>
                    <a:cubicBezTo>
                      <a:pt x="192" y="101"/>
                      <a:pt x="145" y="76"/>
                      <a:pt x="109" y="42"/>
                    </a:cubicBezTo>
                    <a:cubicBezTo>
                      <a:pt x="100" y="35"/>
                      <a:pt x="90" y="24"/>
                      <a:pt x="79" y="16"/>
                    </a:cubicBezTo>
                    <a:cubicBezTo>
                      <a:pt x="67" y="6"/>
                      <a:pt x="53" y="0"/>
                      <a:pt x="37" y="3"/>
                    </a:cubicBezTo>
                    <a:cubicBezTo>
                      <a:pt x="36" y="2"/>
                      <a:pt x="35" y="2"/>
                      <a:pt x="33" y="3"/>
                    </a:cubicBezTo>
                    <a:cubicBezTo>
                      <a:pt x="33" y="3"/>
                      <a:pt x="32" y="4"/>
                      <a:pt x="31" y="4"/>
                    </a:cubicBezTo>
                    <a:cubicBezTo>
                      <a:pt x="25" y="6"/>
                      <a:pt x="20" y="10"/>
                      <a:pt x="16" y="14"/>
                    </a:cubicBezTo>
                    <a:cubicBezTo>
                      <a:pt x="6" y="23"/>
                      <a:pt x="0" y="34"/>
                      <a:pt x="8" y="48"/>
                    </a:cubicBezTo>
                    <a:cubicBezTo>
                      <a:pt x="19" y="69"/>
                      <a:pt x="54" y="62"/>
                      <a:pt x="73" y="64"/>
                    </a:cubicBezTo>
                    <a:cubicBezTo>
                      <a:pt x="88" y="65"/>
                      <a:pt x="103" y="75"/>
                      <a:pt x="117" y="83"/>
                    </a:cubicBezTo>
                    <a:cubicBezTo>
                      <a:pt x="130" y="90"/>
                      <a:pt x="142" y="98"/>
                      <a:pt x="155" y="105"/>
                    </a:cubicBezTo>
                    <a:cubicBezTo>
                      <a:pt x="161" y="109"/>
                      <a:pt x="167" y="111"/>
                      <a:pt x="172" y="114"/>
                    </a:cubicBezTo>
                    <a:cubicBezTo>
                      <a:pt x="180" y="118"/>
                      <a:pt x="187" y="121"/>
                      <a:pt x="195" y="122"/>
                    </a:cubicBezTo>
                    <a:cubicBezTo>
                      <a:pt x="208" y="126"/>
                      <a:pt x="221" y="128"/>
                      <a:pt x="236" y="129"/>
                    </a:cubicBezTo>
                    <a:cubicBezTo>
                      <a:pt x="240" y="129"/>
                      <a:pt x="242" y="122"/>
                      <a:pt x="238" y="121"/>
                    </a:cubicBezTo>
                    <a:close/>
                  </a:path>
                </a:pathLst>
              </a:custGeom>
              <a:solidFill>
                <a:schemeClr val="bg1">
                  <a:lumMod val="95000"/>
                </a:schemeClr>
              </a:solidFill>
              <a:ln>
                <a:noFill/>
              </a:ln>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grpSp>
        <p:cxnSp>
          <p:nvCxnSpPr>
            <p:cNvPr id="7" name="iṡḻíḑê">
              <a:extLst>
                <a:ext uri="{FF2B5EF4-FFF2-40B4-BE49-F238E27FC236}">
                  <a16:creationId xmlns:a16="http://schemas.microsoft.com/office/drawing/2014/main" id="{36426BD0-2692-4A21-AF47-C72C1E7E7E78}"/>
                </a:ext>
              </a:extLst>
            </p:cNvPr>
            <p:cNvCxnSpPr>
              <a:stCxn id="25" idx="2"/>
            </p:cNvCxnSpPr>
            <p:nvPr/>
          </p:nvCxnSpPr>
          <p:spPr>
            <a:xfrm>
              <a:off x="2089731" y="1743912"/>
              <a:ext cx="0" cy="3253417"/>
            </a:xfrm>
            <a:prstGeom prst="line">
              <a:avLst/>
            </a:prstGeom>
            <a:ln w="12700" cap="rnd">
              <a:solidFill>
                <a:schemeClr val="bg1">
                  <a:lumMod val="75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8" name="ï$ḻïḍê">
              <a:extLst>
                <a:ext uri="{FF2B5EF4-FFF2-40B4-BE49-F238E27FC236}">
                  <a16:creationId xmlns:a16="http://schemas.microsoft.com/office/drawing/2014/main" id="{BB9968B5-2A48-44F1-A6FE-0263877F95B9}"/>
                </a:ext>
              </a:extLst>
            </p:cNvPr>
            <p:cNvSpPr/>
            <p:nvPr/>
          </p:nvSpPr>
          <p:spPr>
            <a:xfrm>
              <a:off x="1722119" y="3449126"/>
              <a:ext cx="735222" cy="735222"/>
            </a:xfrm>
            <a:prstGeom prst="ellipse">
              <a:avLst/>
            </a:prstGeom>
            <a:solidFill>
              <a:schemeClr val="accent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algn="ctr"/>
              <a:r>
                <a:rPr lang="en-US" altLang="zh-CN" sz="1400" b="1"/>
                <a:t>2</a:t>
              </a:r>
              <a:r>
                <a:rPr lang="en-US" altLang="zh-CN" sz="100" b="1"/>
                <a:t> </a:t>
              </a:r>
              <a:r>
                <a:rPr lang="en-US" altLang="zh-CN" sz="1400" b="1"/>
                <a:t>1K</a:t>
              </a:r>
              <a:endParaRPr sz="1400" b="1" dirty="0"/>
            </a:p>
          </p:txBody>
        </p:sp>
        <p:grpSp>
          <p:nvGrpSpPr>
            <p:cNvPr id="9" name="islîďé">
              <a:extLst>
                <a:ext uri="{FF2B5EF4-FFF2-40B4-BE49-F238E27FC236}">
                  <a16:creationId xmlns:a16="http://schemas.microsoft.com/office/drawing/2014/main" id="{0AEEC44F-B58A-4F20-9C1F-1EB2F8552D52}"/>
                </a:ext>
              </a:extLst>
            </p:cNvPr>
            <p:cNvGrpSpPr/>
            <p:nvPr/>
          </p:nvGrpSpPr>
          <p:grpSpPr>
            <a:xfrm>
              <a:off x="1183692" y="1360826"/>
              <a:ext cx="1812077" cy="1911663"/>
              <a:chOff x="1001287" y="1130300"/>
              <a:chExt cx="1812077" cy="1911663"/>
            </a:xfrm>
          </p:grpSpPr>
          <p:sp>
            <p:nvSpPr>
              <p:cNvPr id="25" name="ïś1iḋê">
                <a:extLst>
                  <a:ext uri="{FF2B5EF4-FFF2-40B4-BE49-F238E27FC236}">
                    <a16:creationId xmlns:a16="http://schemas.microsoft.com/office/drawing/2014/main" id="{E51DF268-1DB5-4D30-B30B-45E8D9E71055}"/>
                  </a:ext>
                </a:extLst>
              </p:cNvPr>
              <p:cNvSpPr txBox="1"/>
              <p:nvPr/>
            </p:nvSpPr>
            <p:spPr>
              <a:xfrm>
                <a:off x="1001287" y="1130300"/>
                <a:ext cx="1812077" cy="383086"/>
              </a:xfrm>
              <a:prstGeom prst="rect">
                <a:avLst/>
              </a:prstGeom>
              <a:solidFill>
                <a:schemeClr val="bg1"/>
              </a:solidFill>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1600" b="1" i="1"/>
                  <a:t>Tex</a:t>
                </a:r>
                <a:r>
                  <a:rPr lang="en-US" altLang="zh-CN" sz="100" b="1" i="1"/>
                  <a:t> </a:t>
                </a:r>
                <a:r>
                  <a:rPr lang="en-US" altLang="zh-CN" sz="1600" b="1" i="1"/>
                  <a:t>t </a:t>
                </a:r>
                <a:r>
                  <a:rPr lang="en-US" altLang="zh-CN" sz="1600" b="1" i="1" dirty="0"/>
                  <a:t>here</a:t>
                </a:r>
                <a:endParaRPr lang="zh-CN" altLang="en-US" sz="1600" b="1" i="1" dirty="0"/>
              </a:p>
            </p:txBody>
          </p:sp>
          <p:sp>
            <p:nvSpPr>
              <p:cNvPr id="26" name="ïśļiďe">
                <a:extLst>
                  <a:ext uri="{FF2B5EF4-FFF2-40B4-BE49-F238E27FC236}">
                    <a16:creationId xmlns:a16="http://schemas.microsoft.com/office/drawing/2014/main" id="{B517D68E-51E1-4D4B-A671-B14BC2FFCE3C}"/>
                  </a:ext>
                </a:extLst>
              </p:cNvPr>
              <p:cNvSpPr txBox="1"/>
              <p:nvPr/>
            </p:nvSpPr>
            <p:spPr>
              <a:xfrm>
                <a:off x="1001287" y="1707410"/>
                <a:ext cx="1812077" cy="1334553"/>
              </a:xfrm>
              <a:prstGeom prst="rect">
                <a:avLst/>
              </a:prstGeom>
              <a:solidFill>
                <a:schemeClr val="bg1"/>
              </a:solid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a:t>Supporting</a:t>
                </a:r>
                <a:r>
                  <a:rPr lang="en-US" altLang="zh-CN" sz="100"/>
                  <a:t> </a:t>
                </a:r>
                <a:r>
                  <a:rPr lang="en-US" altLang="zh-CN" sz="1100"/>
                  <a:t> </a:t>
                </a:r>
                <a:r>
                  <a:rPr lang="en-US" altLang="zh-CN" sz="1100" dirty="0"/>
                  <a:t>text here. </a:t>
                </a:r>
              </a:p>
              <a:p>
                <a:pPr algn="ctr">
                  <a:lnSpc>
                    <a:spcPct val="120000"/>
                  </a:lnSpc>
                </a:pPr>
                <a:r>
                  <a:rPr lang="en-US" altLang="zh-CN" sz="1100" dirty="0"/>
                  <a:t>……</a:t>
                </a:r>
              </a:p>
            </p:txBody>
          </p:sp>
        </p:grpSp>
        <p:cxnSp>
          <p:nvCxnSpPr>
            <p:cNvPr id="10" name="iṡļiďé">
              <a:extLst>
                <a:ext uri="{FF2B5EF4-FFF2-40B4-BE49-F238E27FC236}">
                  <a16:creationId xmlns:a16="http://schemas.microsoft.com/office/drawing/2014/main" id="{36426BD0-2692-4A21-AF47-C72C1E7E7E78}"/>
                </a:ext>
              </a:extLst>
            </p:cNvPr>
            <p:cNvCxnSpPr>
              <a:stCxn id="23" idx="2"/>
            </p:cNvCxnSpPr>
            <p:nvPr/>
          </p:nvCxnSpPr>
          <p:spPr>
            <a:xfrm>
              <a:off x="4760577" y="1743912"/>
              <a:ext cx="0" cy="3045371"/>
            </a:xfrm>
            <a:prstGeom prst="line">
              <a:avLst/>
            </a:prstGeom>
            <a:ln w="12700" cap="rnd">
              <a:solidFill>
                <a:schemeClr val="bg1">
                  <a:lumMod val="75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1" name="ïṣlíḑê">
              <a:extLst>
                <a:ext uri="{FF2B5EF4-FFF2-40B4-BE49-F238E27FC236}">
                  <a16:creationId xmlns:a16="http://schemas.microsoft.com/office/drawing/2014/main" id="{100F1E92-9807-4CD0-8C86-4C24BDC51F08}"/>
                </a:ext>
              </a:extLst>
            </p:cNvPr>
            <p:cNvSpPr/>
            <p:nvPr/>
          </p:nvSpPr>
          <p:spPr>
            <a:xfrm>
              <a:off x="4392965" y="3449126"/>
              <a:ext cx="735222" cy="735222"/>
            </a:xfrm>
            <a:prstGeom prst="ellipse">
              <a:avLst/>
            </a:prstGeom>
            <a:solidFill>
              <a:schemeClr val="accent2"/>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algn="ctr"/>
              <a:r>
                <a:rPr lang="en-US" altLang="zh-CN" sz="1400" b="1"/>
                <a:t>5</a:t>
              </a:r>
              <a:r>
                <a:rPr lang="en-US" altLang="zh-CN" sz="100" b="1"/>
                <a:t> </a:t>
              </a:r>
              <a:r>
                <a:rPr lang="en-US" altLang="zh-CN" sz="1400" b="1"/>
                <a:t>6K</a:t>
              </a:r>
              <a:endParaRPr sz="1400" b="1" dirty="0"/>
            </a:p>
          </p:txBody>
        </p:sp>
        <p:grpSp>
          <p:nvGrpSpPr>
            <p:cNvPr id="12" name="ïş1îdê">
              <a:extLst>
                <a:ext uri="{FF2B5EF4-FFF2-40B4-BE49-F238E27FC236}">
                  <a16:creationId xmlns:a16="http://schemas.microsoft.com/office/drawing/2014/main" id="{EF7366E3-FFF3-42C3-A116-B12A66C6172D}"/>
                </a:ext>
              </a:extLst>
            </p:cNvPr>
            <p:cNvGrpSpPr/>
            <p:nvPr/>
          </p:nvGrpSpPr>
          <p:grpSpPr>
            <a:xfrm>
              <a:off x="3854538" y="1360826"/>
              <a:ext cx="1812077" cy="1911663"/>
              <a:chOff x="1001287" y="1130300"/>
              <a:chExt cx="1812077" cy="1911663"/>
            </a:xfrm>
          </p:grpSpPr>
          <p:sp>
            <p:nvSpPr>
              <p:cNvPr id="23" name="íSḷïḋe">
                <a:extLst>
                  <a:ext uri="{FF2B5EF4-FFF2-40B4-BE49-F238E27FC236}">
                    <a16:creationId xmlns:a16="http://schemas.microsoft.com/office/drawing/2014/main" id="{E51DF268-1DB5-4D30-B30B-45E8D9E71055}"/>
                  </a:ext>
                </a:extLst>
              </p:cNvPr>
              <p:cNvSpPr txBox="1"/>
              <p:nvPr/>
            </p:nvSpPr>
            <p:spPr>
              <a:xfrm>
                <a:off x="1001287" y="1130300"/>
                <a:ext cx="1812077" cy="383086"/>
              </a:xfrm>
              <a:prstGeom prst="rect">
                <a:avLst/>
              </a:prstGeom>
              <a:solidFill>
                <a:schemeClr val="bg1"/>
              </a:solidFill>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1600" b="1" i="1"/>
                  <a:t>Tex</a:t>
                </a:r>
                <a:r>
                  <a:rPr lang="en-US" altLang="zh-CN" sz="100" b="1" i="1"/>
                  <a:t> </a:t>
                </a:r>
                <a:r>
                  <a:rPr lang="en-US" altLang="zh-CN" sz="1600" b="1" i="1"/>
                  <a:t>t </a:t>
                </a:r>
                <a:r>
                  <a:rPr lang="en-US" altLang="zh-CN" sz="1600" b="1" i="1" dirty="0"/>
                  <a:t>here</a:t>
                </a:r>
                <a:endParaRPr lang="zh-CN" altLang="en-US" sz="1600" b="1" i="1" dirty="0"/>
              </a:p>
            </p:txBody>
          </p:sp>
          <p:sp>
            <p:nvSpPr>
              <p:cNvPr id="24" name="ís1ïḑè">
                <a:extLst>
                  <a:ext uri="{FF2B5EF4-FFF2-40B4-BE49-F238E27FC236}">
                    <a16:creationId xmlns:a16="http://schemas.microsoft.com/office/drawing/2014/main" id="{B517D68E-51E1-4D4B-A671-B14BC2FFCE3C}"/>
                  </a:ext>
                </a:extLst>
              </p:cNvPr>
              <p:cNvSpPr txBox="1"/>
              <p:nvPr/>
            </p:nvSpPr>
            <p:spPr>
              <a:xfrm>
                <a:off x="1001287" y="1707410"/>
                <a:ext cx="1812077" cy="1334553"/>
              </a:xfrm>
              <a:prstGeom prst="rect">
                <a:avLst/>
              </a:prstGeom>
              <a:solidFill>
                <a:schemeClr val="bg1"/>
              </a:solid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a:t>Supporting</a:t>
                </a:r>
                <a:r>
                  <a:rPr lang="en-US" altLang="zh-CN" sz="100"/>
                  <a:t> </a:t>
                </a:r>
                <a:r>
                  <a:rPr lang="en-US" altLang="zh-CN" sz="1100"/>
                  <a:t> </a:t>
                </a:r>
                <a:r>
                  <a:rPr lang="en-US" altLang="zh-CN" sz="1100" dirty="0"/>
                  <a:t>text here. </a:t>
                </a:r>
              </a:p>
              <a:p>
                <a:pPr algn="ctr">
                  <a:lnSpc>
                    <a:spcPct val="120000"/>
                  </a:lnSpc>
                </a:pPr>
                <a:r>
                  <a:rPr lang="en-US" altLang="zh-CN" sz="1100" dirty="0"/>
                  <a:t>……</a:t>
                </a:r>
              </a:p>
            </p:txBody>
          </p:sp>
        </p:grpSp>
        <p:cxnSp>
          <p:nvCxnSpPr>
            <p:cNvPr id="13" name="íŝlîḓe">
              <a:extLst>
                <a:ext uri="{FF2B5EF4-FFF2-40B4-BE49-F238E27FC236}">
                  <a16:creationId xmlns:a16="http://schemas.microsoft.com/office/drawing/2014/main" id="{36426BD0-2692-4A21-AF47-C72C1E7E7E78}"/>
                </a:ext>
              </a:extLst>
            </p:cNvPr>
            <p:cNvCxnSpPr>
              <a:stCxn id="21" idx="2"/>
            </p:cNvCxnSpPr>
            <p:nvPr/>
          </p:nvCxnSpPr>
          <p:spPr>
            <a:xfrm>
              <a:off x="7431424" y="1743912"/>
              <a:ext cx="0" cy="2954837"/>
            </a:xfrm>
            <a:prstGeom prst="line">
              <a:avLst/>
            </a:prstGeom>
            <a:ln w="12700" cap="rnd">
              <a:solidFill>
                <a:schemeClr val="bg1">
                  <a:lumMod val="75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4" name="íSlîḑè">
              <a:extLst>
                <a:ext uri="{FF2B5EF4-FFF2-40B4-BE49-F238E27FC236}">
                  <a16:creationId xmlns:a16="http://schemas.microsoft.com/office/drawing/2014/main" id="{30BBC01D-C42F-467D-B4FC-E2F92E049A81}"/>
                </a:ext>
              </a:extLst>
            </p:cNvPr>
            <p:cNvSpPr/>
            <p:nvPr/>
          </p:nvSpPr>
          <p:spPr>
            <a:xfrm>
              <a:off x="7063812" y="3449126"/>
              <a:ext cx="735222" cy="735222"/>
            </a:xfrm>
            <a:prstGeom prst="ellipse">
              <a:avLst/>
            </a:prstGeom>
            <a:solidFill>
              <a:schemeClr val="accent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algn="ctr"/>
              <a:r>
                <a:rPr lang="en-US" altLang="zh-CN" sz="1400" b="1"/>
                <a:t>7</a:t>
              </a:r>
              <a:r>
                <a:rPr lang="en-US" altLang="zh-CN" sz="100" b="1"/>
                <a:t> </a:t>
              </a:r>
              <a:r>
                <a:rPr lang="en-US" altLang="zh-CN" sz="1400" b="1"/>
                <a:t>8K</a:t>
              </a:r>
              <a:endParaRPr sz="1400" b="1" dirty="0"/>
            </a:p>
          </p:txBody>
        </p:sp>
        <p:grpSp>
          <p:nvGrpSpPr>
            <p:cNvPr id="15" name="íṩḷídè">
              <a:extLst>
                <a:ext uri="{FF2B5EF4-FFF2-40B4-BE49-F238E27FC236}">
                  <a16:creationId xmlns:a16="http://schemas.microsoft.com/office/drawing/2014/main" id="{A766154A-85BC-40E0-8DDA-45730249E865}"/>
                </a:ext>
              </a:extLst>
            </p:cNvPr>
            <p:cNvGrpSpPr/>
            <p:nvPr/>
          </p:nvGrpSpPr>
          <p:grpSpPr>
            <a:xfrm>
              <a:off x="6525385" y="1360826"/>
              <a:ext cx="1812077" cy="1911663"/>
              <a:chOff x="1001287" y="1130300"/>
              <a:chExt cx="1812077" cy="1911663"/>
            </a:xfrm>
          </p:grpSpPr>
          <p:sp>
            <p:nvSpPr>
              <p:cNvPr id="21" name="ïṡlîḓê">
                <a:extLst>
                  <a:ext uri="{FF2B5EF4-FFF2-40B4-BE49-F238E27FC236}">
                    <a16:creationId xmlns:a16="http://schemas.microsoft.com/office/drawing/2014/main" id="{E51DF268-1DB5-4D30-B30B-45E8D9E71055}"/>
                  </a:ext>
                </a:extLst>
              </p:cNvPr>
              <p:cNvSpPr txBox="1"/>
              <p:nvPr/>
            </p:nvSpPr>
            <p:spPr>
              <a:xfrm>
                <a:off x="1001287" y="1130300"/>
                <a:ext cx="1812077" cy="383086"/>
              </a:xfrm>
              <a:prstGeom prst="rect">
                <a:avLst/>
              </a:prstGeom>
              <a:solidFill>
                <a:schemeClr val="bg1"/>
              </a:solidFill>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1600" b="1" i="1"/>
                  <a:t>Tex</a:t>
                </a:r>
                <a:r>
                  <a:rPr lang="en-US" altLang="zh-CN" sz="100" b="1" i="1"/>
                  <a:t> </a:t>
                </a:r>
                <a:r>
                  <a:rPr lang="en-US" altLang="zh-CN" sz="1600" b="1" i="1"/>
                  <a:t>t </a:t>
                </a:r>
                <a:r>
                  <a:rPr lang="en-US" altLang="zh-CN" sz="1600" b="1" i="1" dirty="0"/>
                  <a:t>here</a:t>
                </a:r>
                <a:endParaRPr lang="zh-CN" altLang="en-US" sz="1600" b="1" i="1" dirty="0"/>
              </a:p>
            </p:txBody>
          </p:sp>
          <p:sp>
            <p:nvSpPr>
              <p:cNvPr id="22" name="ís1íḑê">
                <a:extLst>
                  <a:ext uri="{FF2B5EF4-FFF2-40B4-BE49-F238E27FC236}">
                    <a16:creationId xmlns:a16="http://schemas.microsoft.com/office/drawing/2014/main" id="{B517D68E-51E1-4D4B-A671-B14BC2FFCE3C}"/>
                  </a:ext>
                </a:extLst>
              </p:cNvPr>
              <p:cNvSpPr txBox="1"/>
              <p:nvPr/>
            </p:nvSpPr>
            <p:spPr>
              <a:xfrm>
                <a:off x="1001287" y="1707410"/>
                <a:ext cx="1812077" cy="1334553"/>
              </a:xfrm>
              <a:prstGeom prst="rect">
                <a:avLst/>
              </a:prstGeom>
              <a:solidFill>
                <a:schemeClr val="bg1"/>
              </a:solid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a:t>Supporting</a:t>
                </a:r>
                <a:r>
                  <a:rPr lang="en-US" altLang="zh-CN" sz="100"/>
                  <a:t> </a:t>
                </a:r>
                <a:r>
                  <a:rPr lang="en-US" altLang="zh-CN" sz="1100"/>
                  <a:t> </a:t>
                </a:r>
                <a:r>
                  <a:rPr lang="en-US" altLang="zh-CN" sz="1100" dirty="0"/>
                  <a:t>text here. </a:t>
                </a:r>
              </a:p>
              <a:p>
                <a:pPr algn="ctr">
                  <a:lnSpc>
                    <a:spcPct val="120000"/>
                  </a:lnSpc>
                </a:pPr>
                <a:r>
                  <a:rPr lang="en-US" altLang="zh-CN" sz="1100" dirty="0"/>
                  <a:t>……</a:t>
                </a:r>
              </a:p>
            </p:txBody>
          </p:sp>
        </p:grpSp>
        <p:cxnSp>
          <p:nvCxnSpPr>
            <p:cNvPr id="16" name="îş1ïďê">
              <a:extLst>
                <a:ext uri="{FF2B5EF4-FFF2-40B4-BE49-F238E27FC236}">
                  <a16:creationId xmlns:a16="http://schemas.microsoft.com/office/drawing/2014/main" id="{36426BD0-2692-4A21-AF47-C72C1E7E7E78}"/>
                </a:ext>
              </a:extLst>
            </p:cNvPr>
            <p:cNvCxnSpPr>
              <a:stCxn id="19" idx="2"/>
            </p:cNvCxnSpPr>
            <p:nvPr/>
          </p:nvCxnSpPr>
          <p:spPr>
            <a:xfrm>
              <a:off x="10102270" y="1743912"/>
              <a:ext cx="0" cy="3445000"/>
            </a:xfrm>
            <a:prstGeom prst="line">
              <a:avLst/>
            </a:prstGeom>
            <a:ln w="12700" cap="rnd">
              <a:solidFill>
                <a:schemeClr val="bg1">
                  <a:lumMod val="75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7" name="îślïḋe">
              <a:extLst>
                <a:ext uri="{FF2B5EF4-FFF2-40B4-BE49-F238E27FC236}">
                  <a16:creationId xmlns:a16="http://schemas.microsoft.com/office/drawing/2014/main" id="{724FC201-0F69-4E5A-8102-EC574AE1545E}"/>
                </a:ext>
              </a:extLst>
            </p:cNvPr>
            <p:cNvSpPr/>
            <p:nvPr/>
          </p:nvSpPr>
          <p:spPr>
            <a:xfrm>
              <a:off x="9734658" y="3449126"/>
              <a:ext cx="735222" cy="735222"/>
            </a:xfrm>
            <a:prstGeom prst="ellipse">
              <a:avLst/>
            </a:prstGeom>
            <a:solidFill>
              <a:schemeClr val="accent2"/>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algn="ctr"/>
              <a:r>
                <a:rPr lang="en-US" altLang="zh-CN" sz="1400" b="1"/>
                <a:t>9</a:t>
              </a:r>
              <a:r>
                <a:rPr lang="en-US" altLang="zh-CN" sz="100" b="1"/>
                <a:t> </a:t>
              </a:r>
              <a:r>
                <a:rPr lang="en-US" altLang="zh-CN" sz="1400" b="1"/>
                <a:t>0K</a:t>
              </a:r>
              <a:endParaRPr sz="1400" b="1" dirty="0"/>
            </a:p>
          </p:txBody>
        </p:sp>
        <p:grpSp>
          <p:nvGrpSpPr>
            <p:cNvPr id="18" name="ïŝľíḍê">
              <a:extLst>
                <a:ext uri="{FF2B5EF4-FFF2-40B4-BE49-F238E27FC236}">
                  <a16:creationId xmlns:a16="http://schemas.microsoft.com/office/drawing/2014/main" id="{8D3ED899-9C65-4C96-8C5D-484F6F7723C4}"/>
                </a:ext>
              </a:extLst>
            </p:cNvPr>
            <p:cNvGrpSpPr/>
            <p:nvPr/>
          </p:nvGrpSpPr>
          <p:grpSpPr>
            <a:xfrm>
              <a:off x="9196231" y="1360826"/>
              <a:ext cx="1812077" cy="1911663"/>
              <a:chOff x="1001287" y="1130300"/>
              <a:chExt cx="1812077" cy="1911663"/>
            </a:xfrm>
          </p:grpSpPr>
          <p:sp>
            <p:nvSpPr>
              <p:cNvPr id="19" name="í$ḻîde">
                <a:extLst>
                  <a:ext uri="{FF2B5EF4-FFF2-40B4-BE49-F238E27FC236}">
                    <a16:creationId xmlns:a16="http://schemas.microsoft.com/office/drawing/2014/main" id="{E51DF268-1DB5-4D30-B30B-45E8D9E71055}"/>
                  </a:ext>
                </a:extLst>
              </p:cNvPr>
              <p:cNvSpPr txBox="1"/>
              <p:nvPr/>
            </p:nvSpPr>
            <p:spPr>
              <a:xfrm>
                <a:off x="1001287" y="1130300"/>
                <a:ext cx="1812077" cy="383086"/>
              </a:xfrm>
              <a:prstGeom prst="rect">
                <a:avLst/>
              </a:prstGeom>
              <a:solidFill>
                <a:schemeClr val="bg1"/>
              </a:solidFill>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1600" b="1" i="1"/>
                  <a:t>Tex</a:t>
                </a:r>
                <a:r>
                  <a:rPr lang="en-US" altLang="zh-CN" sz="100" b="1" i="1"/>
                  <a:t> </a:t>
                </a:r>
                <a:r>
                  <a:rPr lang="en-US" altLang="zh-CN" sz="1600" b="1" i="1"/>
                  <a:t>t </a:t>
                </a:r>
                <a:r>
                  <a:rPr lang="en-US" altLang="zh-CN" sz="1600" b="1" i="1" dirty="0"/>
                  <a:t>here</a:t>
                </a:r>
                <a:endParaRPr lang="zh-CN" altLang="en-US" sz="1600" b="1" i="1" dirty="0"/>
              </a:p>
            </p:txBody>
          </p:sp>
          <p:sp>
            <p:nvSpPr>
              <p:cNvPr id="20" name="iṧḻíḋé">
                <a:extLst>
                  <a:ext uri="{FF2B5EF4-FFF2-40B4-BE49-F238E27FC236}">
                    <a16:creationId xmlns:a16="http://schemas.microsoft.com/office/drawing/2014/main" id="{B517D68E-51E1-4D4B-A671-B14BC2FFCE3C}"/>
                  </a:ext>
                </a:extLst>
              </p:cNvPr>
              <p:cNvSpPr txBox="1"/>
              <p:nvPr/>
            </p:nvSpPr>
            <p:spPr>
              <a:xfrm>
                <a:off x="1001287" y="1707410"/>
                <a:ext cx="1812077" cy="1334553"/>
              </a:xfrm>
              <a:prstGeom prst="rect">
                <a:avLst/>
              </a:prstGeom>
              <a:solidFill>
                <a:schemeClr val="bg1"/>
              </a:solid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a:t>Supporting</a:t>
                </a:r>
                <a:r>
                  <a:rPr lang="en-US" altLang="zh-CN" sz="100"/>
                  <a:t> </a:t>
                </a:r>
                <a:r>
                  <a:rPr lang="en-US" altLang="zh-CN" sz="1100"/>
                  <a:t> </a:t>
                </a:r>
                <a:r>
                  <a:rPr lang="en-US" altLang="zh-CN" sz="1100" dirty="0"/>
                  <a:t>text here. </a:t>
                </a:r>
              </a:p>
              <a:p>
                <a:pPr algn="ctr">
                  <a:lnSpc>
                    <a:spcPct val="120000"/>
                  </a:lnSpc>
                </a:pPr>
                <a:r>
                  <a:rPr lang="en-US" altLang="zh-CN" sz="1100" dirty="0"/>
                  <a:t>……</a:t>
                </a:r>
              </a:p>
            </p:txBody>
          </p:sp>
        </p:grpSp>
      </p:grpSp>
    </p:spTree>
    <p:custDataLst>
      <p:tags r:id="rId2"/>
    </p:custDataLst>
    <p:extLst>
      <p:ext uri="{BB962C8B-B14F-4D97-AF65-F5344CB8AC3E}">
        <p14:creationId xmlns:p14="http://schemas.microsoft.com/office/powerpoint/2010/main" val="1417741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ïşľíďé"/>
        <p:cNvGrpSpPr/>
        <p:nvPr/>
      </p:nvGrpSpPr>
      <p:grpSpPr>
        <a:xfrm>
          <a:off x="0" y="0"/>
          <a:ext cx="0" cy="0"/>
          <a:chOff x="0" y="0"/>
          <a:chExt cx="0" cy="0"/>
        </a:xfrm>
      </p:grpSpPr>
      <p:sp>
        <p:nvSpPr>
          <p:cNvPr id="2" name="iṥļîḓê">
            <a:extLst>
              <a:ext uri="{FF2B5EF4-FFF2-40B4-BE49-F238E27FC236}">
                <a16:creationId xmlns:a16="http://schemas.microsoft.com/office/drawing/2014/main" id="{4E55FB21-50C4-459E-AF1F-E7A2394B52A7}"/>
              </a:ext>
            </a:extLst>
          </p:cNvPr>
          <p:cNvSpPr>
            <a:spLocks noGrp="1"/>
          </p:cNvSpPr>
          <p:nvPr>
            <p:ph type="title"/>
          </p:nvPr>
        </p:nvSpPr>
        <p:spPr/>
        <p:txBody>
          <a:bodyPr/>
          <a:lstStyle/>
          <a:p>
            <a:r>
              <a:rPr lang="en-US" altLang="zh-CN" dirty="0"/>
              <a:t>Click </a:t>
            </a:r>
            <a:r>
              <a:rPr lang="en-US" altLang="zh-CN"/>
              <a:t>to edit</a:t>
            </a:r>
            <a:r>
              <a:rPr lang="en-US" altLang="zh-CN" sz="100"/>
              <a:t> </a:t>
            </a:r>
            <a:r>
              <a:rPr lang="en-US" altLang="zh-CN"/>
              <a:t> </a:t>
            </a:r>
            <a:r>
              <a:rPr lang="en-US" altLang="zh-CN" dirty="0"/>
              <a:t>Master title style</a:t>
            </a:r>
            <a:endParaRPr lang="zh-CN" altLang="en-US" dirty="0"/>
          </a:p>
        </p:txBody>
      </p:sp>
      <p:sp>
        <p:nvSpPr>
          <p:cNvPr id="3" name="işliḓe">
            <a:extLst>
              <a:ext uri="{FF2B5EF4-FFF2-40B4-BE49-F238E27FC236}">
                <a16:creationId xmlns:a16="http://schemas.microsoft.com/office/drawing/2014/main" id="{A0936A58-28E9-4FC1-AAE3-23D4A739F83D}"/>
              </a:ext>
            </a:extLst>
          </p:cNvPr>
          <p:cNvSpPr>
            <a:spLocks noGrp="1"/>
          </p:cNvSpPr>
          <p:nvPr>
            <p:ph type="ftr" sz="quarter" idx="11"/>
          </p:nvPr>
        </p:nvSpPr>
        <p:spPr/>
        <p:txBody>
          <a:bodyPr/>
          <a:lstStyle/>
          <a:p>
            <a:r>
              <a:rPr lang="zh-CN" altLang="en-US"/>
              <a:t>请在插入菜单</a:t>
            </a:r>
            <a:r>
              <a:rPr lang="en-US" altLang="zh-CN"/>
              <a:t>—</a:t>
            </a:r>
            <a:r>
              <a:rPr lang="en-US" altLang="zh-CN" sz="100"/>
              <a:t> </a:t>
            </a:r>
            <a:r>
              <a:rPr lang="zh-CN" altLang="en-US"/>
              <a:t>页眉和页脚中修改此文本</a:t>
            </a:r>
            <a:endParaRPr lang="zh-CN" altLang="en-US" dirty="0"/>
          </a:p>
        </p:txBody>
      </p:sp>
      <p:sp>
        <p:nvSpPr>
          <p:cNvPr id="4" name="íşḷídè">
            <a:extLst>
              <a:ext uri="{FF2B5EF4-FFF2-40B4-BE49-F238E27FC236}">
                <a16:creationId xmlns:a16="http://schemas.microsoft.com/office/drawing/2014/main" id="{E78B81A2-71BD-4161-B9F8-457628D93A33}"/>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grpSp>
        <p:nvGrpSpPr>
          <p:cNvPr id="91" name="ïşḻïḓ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A0E1160-0231-420F-8B18-D49930088C42}"/>
              </a:ext>
            </a:extLst>
          </p:cNvPr>
          <p:cNvGrpSpPr>
            <a:grpSpLocks noChangeAspect="1"/>
          </p:cNvGrpSpPr>
          <p:nvPr/>
        </p:nvGrpSpPr>
        <p:grpSpPr>
          <a:xfrm>
            <a:off x="673100" y="1887583"/>
            <a:ext cx="10845800" cy="3501934"/>
            <a:chOff x="673100" y="1887583"/>
            <a:chExt cx="10845800" cy="3501934"/>
          </a:xfrm>
        </p:grpSpPr>
        <p:grpSp>
          <p:nvGrpSpPr>
            <p:cNvPr id="92" name="iś1îďe">
              <a:extLst>
                <a:ext uri="{FF2B5EF4-FFF2-40B4-BE49-F238E27FC236}">
                  <a16:creationId xmlns:a16="http://schemas.microsoft.com/office/drawing/2014/main" id="{22DC57F6-2862-42B9-8C6F-59FBA015DF71}"/>
                </a:ext>
              </a:extLst>
            </p:cNvPr>
            <p:cNvGrpSpPr/>
            <p:nvPr/>
          </p:nvGrpSpPr>
          <p:grpSpPr>
            <a:xfrm>
              <a:off x="8062830" y="1897549"/>
              <a:ext cx="3199581" cy="984430"/>
              <a:chOff x="8140822" y="1812036"/>
              <a:chExt cx="3378077" cy="984430"/>
            </a:xfrm>
          </p:grpSpPr>
          <p:sp>
            <p:nvSpPr>
              <p:cNvPr id="127" name="îṩḷîḋê">
                <a:extLst>
                  <a:ext uri="{FF2B5EF4-FFF2-40B4-BE49-F238E27FC236}">
                    <a16:creationId xmlns:a16="http://schemas.microsoft.com/office/drawing/2014/main" id="{8316902B-9F15-4AE4-BBCF-5E1CB0686F18}"/>
                  </a:ext>
                </a:extLst>
              </p:cNvPr>
              <p:cNvSpPr/>
              <p:nvPr/>
            </p:nvSpPr>
            <p:spPr bwMode="auto">
              <a:xfrm>
                <a:off x="8140822" y="2257841"/>
                <a:ext cx="3378077" cy="53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sz="1100" dirty="0"/>
                  <a:t>Copy paste fonts</a:t>
                </a:r>
                <a:r>
                  <a:rPr lang="en-US" altLang="zh-CN" sz="1100"/>
                  <a:t>. Choos</a:t>
                </a:r>
                <a:r>
                  <a:rPr lang="en-US" altLang="zh-CN" sz="100"/>
                  <a:t> </a:t>
                </a:r>
                <a:r>
                  <a:rPr lang="en-US" altLang="zh-CN" sz="1100"/>
                  <a:t>e </a:t>
                </a:r>
                <a:r>
                  <a:rPr lang="en-US" altLang="zh-CN" sz="1100" dirty="0"/>
                  <a:t>the only option to retain text……</a:t>
                </a:r>
              </a:p>
            </p:txBody>
          </p:sp>
          <p:sp>
            <p:nvSpPr>
              <p:cNvPr id="128" name="íṣļiḑe">
                <a:extLst>
                  <a:ext uri="{FF2B5EF4-FFF2-40B4-BE49-F238E27FC236}">
                    <a16:creationId xmlns:a16="http://schemas.microsoft.com/office/drawing/2014/main" id="{FCBCE448-A746-45FC-ABE2-27B64D489326}"/>
                  </a:ext>
                </a:extLst>
              </p:cNvPr>
              <p:cNvSpPr txBox="1"/>
              <p:nvPr/>
            </p:nvSpPr>
            <p:spPr bwMode="auto">
              <a:xfrm>
                <a:off x="8140822" y="1812036"/>
                <a:ext cx="3378077" cy="445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en-US" altLang="zh-CN" sz="2000" b="1"/>
                  <a:t>Tex</a:t>
                </a:r>
                <a:r>
                  <a:rPr lang="en-US" altLang="zh-CN" sz="100" b="1"/>
                  <a:t> </a:t>
                </a:r>
                <a:r>
                  <a:rPr lang="en-US" altLang="zh-CN" sz="2000" b="1"/>
                  <a:t>t </a:t>
                </a:r>
                <a:r>
                  <a:rPr lang="en-US" altLang="zh-CN" sz="2000" b="1" dirty="0"/>
                  <a:t>here</a:t>
                </a:r>
              </a:p>
            </p:txBody>
          </p:sp>
        </p:grpSp>
        <p:grpSp>
          <p:nvGrpSpPr>
            <p:cNvPr id="93" name="işḻïḓe">
              <a:extLst>
                <a:ext uri="{FF2B5EF4-FFF2-40B4-BE49-F238E27FC236}">
                  <a16:creationId xmlns:a16="http://schemas.microsoft.com/office/drawing/2014/main" id="{D6926C98-5C03-40D8-A9A2-08A0250B18ED}"/>
                </a:ext>
              </a:extLst>
            </p:cNvPr>
            <p:cNvGrpSpPr/>
            <p:nvPr/>
          </p:nvGrpSpPr>
          <p:grpSpPr>
            <a:xfrm>
              <a:off x="8319319" y="3148461"/>
              <a:ext cx="3199581" cy="984430"/>
              <a:chOff x="8140822" y="1812036"/>
              <a:chExt cx="3378077" cy="984430"/>
            </a:xfrm>
          </p:grpSpPr>
          <p:sp>
            <p:nvSpPr>
              <p:cNvPr id="125" name="ïŝḻiḍê">
                <a:extLst>
                  <a:ext uri="{FF2B5EF4-FFF2-40B4-BE49-F238E27FC236}">
                    <a16:creationId xmlns:a16="http://schemas.microsoft.com/office/drawing/2014/main" id="{8316902B-9F15-4AE4-BBCF-5E1CB0686F18}"/>
                  </a:ext>
                </a:extLst>
              </p:cNvPr>
              <p:cNvSpPr/>
              <p:nvPr/>
            </p:nvSpPr>
            <p:spPr bwMode="auto">
              <a:xfrm>
                <a:off x="8140822" y="2257841"/>
                <a:ext cx="3378077" cy="53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sz="1100" dirty="0"/>
                  <a:t>Copy paste fonts</a:t>
                </a:r>
                <a:r>
                  <a:rPr lang="en-US" altLang="zh-CN" sz="1100"/>
                  <a:t>. Choos</a:t>
                </a:r>
                <a:r>
                  <a:rPr lang="en-US" altLang="zh-CN" sz="100"/>
                  <a:t> </a:t>
                </a:r>
                <a:r>
                  <a:rPr lang="en-US" altLang="zh-CN" sz="1100"/>
                  <a:t>e </a:t>
                </a:r>
                <a:r>
                  <a:rPr lang="en-US" altLang="zh-CN" sz="1100" dirty="0"/>
                  <a:t>the only option to retain text……</a:t>
                </a:r>
              </a:p>
            </p:txBody>
          </p:sp>
          <p:sp>
            <p:nvSpPr>
              <p:cNvPr id="126" name="ïṡḷíḓè">
                <a:extLst>
                  <a:ext uri="{FF2B5EF4-FFF2-40B4-BE49-F238E27FC236}">
                    <a16:creationId xmlns:a16="http://schemas.microsoft.com/office/drawing/2014/main" id="{FCBCE448-A746-45FC-ABE2-27B64D489326}"/>
                  </a:ext>
                </a:extLst>
              </p:cNvPr>
              <p:cNvSpPr txBox="1"/>
              <p:nvPr/>
            </p:nvSpPr>
            <p:spPr bwMode="auto">
              <a:xfrm>
                <a:off x="8140822" y="1812036"/>
                <a:ext cx="3378077" cy="445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en-US" altLang="zh-CN" sz="2000" b="1"/>
                  <a:t>Tex</a:t>
                </a:r>
                <a:r>
                  <a:rPr lang="en-US" altLang="zh-CN" sz="100" b="1"/>
                  <a:t> </a:t>
                </a:r>
                <a:r>
                  <a:rPr lang="en-US" altLang="zh-CN" sz="2000" b="1"/>
                  <a:t>t </a:t>
                </a:r>
                <a:r>
                  <a:rPr lang="en-US" altLang="zh-CN" sz="2000" b="1" dirty="0"/>
                  <a:t>here</a:t>
                </a:r>
              </a:p>
            </p:txBody>
          </p:sp>
        </p:grpSp>
        <p:grpSp>
          <p:nvGrpSpPr>
            <p:cNvPr id="94" name="ïṩḻïḑè">
              <a:extLst>
                <a:ext uri="{FF2B5EF4-FFF2-40B4-BE49-F238E27FC236}">
                  <a16:creationId xmlns:a16="http://schemas.microsoft.com/office/drawing/2014/main" id="{5E477E25-C9ED-4927-8588-56CD27F7F440}"/>
                </a:ext>
              </a:extLst>
            </p:cNvPr>
            <p:cNvGrpSpPr/>
            <p:nvPr/>
          </p:nvGrpSpPr>
          <p:grpSpPr>
            <a:xfrm>
              <a:off x="8062830" y="4399372"/>
              <a:ext cx="3199581" cy="984430"/>
              <a:chOff x="8140822" y="1812036"/>
              <a:chExt cx="3378077" cy="984430"/>
            </a:xfrm>
          </p:grpSpPr>
          <p:sp>
            <p:nvSpPr>
              <p:cNvPr id="123" name="íŝḷîdè">
                <a:extLst>
                  <a:ext uri="{FF2B5EF4-FFF2-40B4-BE49-F238E27FC236}">
                    <a16:creationId xmlns:a16="http://schemas.microsoft.com/office/drawing/2014/main" id="{8316902B-9F15-4AE4-BBCF-5E1CB0686F18}"/>
                  </a:ext>
                </a:extLst>
              </p:cNvPr>
              <p:cNvSpPr/>
              <p:nvPr/>
            </p:nvSpPr>
            <p:spPr bwMode="auto">
              <a:xfrm>
                <a:off x="8140822" y="2257841"/>
                <a:ext cx="3378077" cy="53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sz="1100" dirty="0"/>
                  <a:t>Copy paste fonts</a:t>
                </a:r>
                <a:r>
                  <a:rPr lang="en-US" altLang="zh-CN" sz="1100"/>
                  <a:t>. Choos</a:t>
                </a:r>
                <a:r>
                  <a:rPr lang="en-US" altLang="zh-CN" sz="100"/>
                  <a:t> </a:t>
                </a:r>
                <a:r>
                  <a:rPr lang="en-US" altLang="zh-CN" sz="1100"/>
                  <a:t>e </a:t>
                </a:r>
                <a:r>
                  <a:rPr lang="en-US" altLang="zh-CN" sz="1100" dirty="0"/>
                  <a:t>the only option to retain text……</a:t>
                </a:r>
              </a:p>
            </p:txBody>
          </p:sp>
          <p:sp>
            <p:nvSpPr>
              <p:cNvPr id="124" name="ïṧľïďê">
                <a:extLst>
                  <a:ext uri="{FF2B5EF4-FFF2-40B4-BE49-F238E27FC236}">
                    <a16:creationId xmlns:a16="http://schemas.microsoft.com/office/drawing/2014/main" id="{FCBCE448-A746-45FC-ABE2-27B64D489326}"/>
                  </a:ext>
                </a:extLst>
              </p:cNvPr>
              <p:cNvSpPr txBox="1"/>
              <p:nvPr/>
            </p:nvSpPr>
            <p:spPr bwMode="auto">
              <a:xfrm>
                <a:off x="8140822" y="1812036"/>
                <a:ext cx="3378077" cy="445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en-US" altLang="zh-CN" sz="2000" b="1"/>
                  <a:t>Tex</a:t>
                </a:r>
                <a:r>
                  <a:rPr lang="en-US" altLang="zh-CN" sz="100" b="1"/>
                  <a:t> </a:t>
                </a:r>
                <a:r>
                  <a:rPr lang="en-US" altLang="zh-CN" sz="2000" b="1"/>
                  <a:t>t </a:t>
                </a:r>
                <a:r>
                  <a:rPr lang="en-US" altLang="zh-CN" sz="2000" b="1" dirty="0"/>
                  <a:t>here</a:t>
                </a:r>
              </a:p>
            </p:txBody>
          </p:sp>
        </p:grpSp>
        <p:cxnSp>
          <p:nvCxnSpPr>
            <p:cNvPr id="95" name="í$ľïḓè">
              <a:extLst>
                <a:ext uri="{FF2B5EF4-FFF2-40B4-BE49-F238E27FC236}">
                  <a16:creationId xmlns:a16="http://schemas.microsoft.com/office/drawing/2014/main" id="{7E589108-AAAD-40F6-84F6-68CD326AE874}"/>
                </a:ext>
              </a:extLst>
            </p:cNvPr>
            <p:cNvCxnSpPr/>
            <p:nvPr/>
          </p:nvCxnSpPr>
          <p:spPr>
            <a:xfrm>
              <a:off x="8319319" y="3015220"/>
              <a:ext cx="3199581"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96" name="íṥ1ïďê">
              <a:extLst>
                <a:ext uri="{FF2B5EF4-FFF2-40B4-BE49-F238E27FC236}">
                  <a16:creationId xmlns:a16="http://schemas.microsoft.com/office/drawing/2014/main" id="{52B1E26D-13ED-4B48-8761-26A54FA71039}"/>
                </a:ext>
              </a:extLst>
            </p:cNvPr>
            <p:cNvCxnSpPr/>
            <p:nvPr/>
          </p:nvCxnSpPr>
          <p:spPr>
            <a:xfrm>
              <a:off x="8319319" y="4266132"/>
              <a:ext cx="3199581"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97" name="íşḻiḋe">
              <a:extLst>
                <a:ext uri="{FF2B5EF4-FFF2-40B4-BE49-F238E27FC236}">
                  <a16:creationId xmlns:a16="http://schemas.microsoft.com/office/drawing/2014/main" id="{618F31CC-E721-42DF-88AD-1871092C2FFF}"/>
                </a:ext>
              </a:extLst>
            </p:cNvPr>
            <p:cNvGrpSpPr/>
            <p:nvPr/>
          </p:nvGrpSpPr>
          <p:grpSpPr>
            <a:xfrm flipH="1">
              <a:off x="930297" y="1897549"/>
              <a:ext cx="3199581" cy="984430"/>
              <a:chOff x="8140822" y="1812036"/>
              <a:chExt cx="3378077" cy="984430"/>
            </a:xfrm>
          </p:grpSpPr>
          <p:sp>
            <p:nvSpPr>
              <p:cNvPr id="121" name="iSľîḑe">
                <a:extLst>
                  <a:ext uri="{FF2B5EF4-FFF2-40B4-BE49-F238E27FC236}">
                    <a16:creationId xmlns:a16="http://schemas.microsoft.com/office/drawing/2014/main" id="{8316902B-9F15-4AE4-BBCF-5E1CB0686F18}"/>
                  </a:ext>
                </a:extLst>
              </p:cNvPr>
              <p:cNvSpPr/>
              <p:nvPr/>
            </p:nvSpPr>
            <p:spPr bwMode="auto">
              <a:xfrm>
                <a:off x="8140822" y="2257841"/>
                <a:ext cx="3378077" cy="53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30000"/>
                  </a:lnSpc>
                </a:pPr>
                <a:r>
                  <a:rPr lang="en-US" altLang="zh-CN" sz="1100" dirty="0"/>
                  <a:t>Copy paste fonts</a:t>
                </a:r>
                <a:r>
                  <a:rPr lang="en-US" altLang="zh-CN" sz="1100"/>
                  <a:t>. Choos</a:t>
                </a:r>
                <a:r>
                  <a:rPr lang="en-US" altLang="zh-CN" sz="100"/>
                  <a:t> </a:t>
                </a:r>
                <a:r>
                  <a:rPr lang="en-US" altLang="zh-CN" sz="1100"/>
                  <a:t>e </a:t>
                </a:r>
                <a:r>
                  <a:rPr lang="en-US" altLang="zh-CN" sz="1100" dirty="0"/>
                  <a:t>the only option to retain text……</a:t>
                </a:r>
              </a:p>
            </p:txBody>
          </p:sp>
          <p:sp>
            <p:nvSpPr>
              <p:cNvPr id="122" name="í$ḷíḋé">
                <a:extLst>
                  <a:ext uri="{FF2B5EF4-FFF2-40B4-BE49-F238E27FC236}">
                    <a16:creationId xmlns:a16="http://schemas.microsoft.com/office/drawing/2014/main" id="{FCBCE448-A746-45FC-ABE2-27B64D489326}"/>
                  </a:ext>
                </a:extLst>
              </p:cNvPr>
              <p:cNvSpPr txBox="1"/>
              <p:nvPr/>
            </p:nvSpPr>
            <p:spPr bwMode="auto">
              <a:xfrm>
                <a:off x="8140822" y="1812036"/>
                <a:ext cx="3378077" cy="445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ct val="0"/>
                  </a:spcBef>
                </a:pPr>
                <a:r>
                  <a:rPr lang="en-US" altLang="zh-CN" sz="2000" b="1"/>
                  <a:t>Tex</a:t>
                </a:r>
                <a:r>
                  <a:rPr lang="en-US" altLang="zh-CN" sz="100" b="1"/>
                  <a:t> </a:t>
                </a:r>
                <a:r>
                  <a:rPr lang="en-US" altLang="zh-CN" sz="2000" b="1"/>
                  <a:t>t </a:t>
                </a:r>
                <a:r>
                  <a:rPr lang="en-US" altLang="zh-CN" sz="2000" b="1" dirty="0"/>
                  <a:t>here</a:t>
                </a:r>
              </a:p>
            </p:txBody>
          </p:sp>
        </p:grpSp>
        <p:grpSp>
          <p:nvGrpSpPr>
            <p:cNvPr id="98" name="îšľïdé">
              <a:extLst>
                <a:ext uri="{FF2B5EF4-FFF2-40B4-BE49-F238E27FC236}">
                  <a16:creationId xmlns:a16="http://schemas.microsoft.com/office/drawing/2014/main" id="{024B5FDB-2802-45C6-ACCD-37C53F37DA67}"/>
                </a:ext>
              </a:extLst>
            </p:cNvPr>
            <p:cNvGrpSpPr/>
            <p:nvPr/>
          </p:nvGrpSpPr>
          <p:grpSpPr>
            <a:xfrm flipH="1">
              <a:off x="673100" y="3148461"/>
              <a:ext cx="3199581" cy="984430"/>
              <a:chOff x="8140822" y="1812036"/>
              <a:chExt cx="3378077" cy="984430"/>
            </a:xfrm>
          </p:grpSpPr>
          <p:sp>
            <p:nvSpPr>
              <p:cNvPr id="119" name="ïšḷîḑê">
                <a:extLst>
                  <a:ext uri="{FF2B5EF4-FFF2-40B4-BE49-F238E27FC236}">
                    <a16:creationId xmlns:a16="http://schemas.microsoft.com/office/drawing/2014/main" id="{8316902B-9F15-4AE4-BBCF-5E1CB0686F18}"/>
                  </a:ext>
                </a:extLst>
              </p:cNvPr>
              <p:cNvSpPr/>
              <p:nvPr/>
            </p:nvSpPr>
            <p:spPr bwMode="auto">
              <a:xfrm>
                <a:off x="8140822" y="2257841"/>
                <a:ext cx="3378077" cy="53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30000"/>
                  </a:lnSpc>
                </a:pPr>
                <a:r>
                  <a:rPr lang="en-US" altLang="zh-CN" sz="1100" dirty="0"/>
                  <a:t>Copy paste fonts</a:t>
                </a:r>
                <a:r>
                  <a:rPr lang="en-US" altLang="zh-CN" sz="1100"/>
                  <a:t>. Choos</a:t>
                </a:r>
                <a:r>
                  <a:rPr lang="en-US" altLang="zh-CN" sz="100"/>
                  <a:t> </a:t>
                </a:r>
                <a:r>
                  <a:rPr lang="en-US" altLang="zh-CN" sz="1100"/>
                  <a:t>e </a:t>
                </a:r>
                <a:r>
                  <a:rPr lang="en-US" altLang="zh-CN" sz="1100" dirty="0"/>
                  <a:t>the only option to retain text……</a:t>
                </a:r>
              </a:p>
            </p:txBody>
          </p:sp>
          <p:sp>
            <p:nvSpPr>
              <p:cNvPr id="120" name="iṩḷïḍe">
                <a:extLst>
                  <a:ext uri="{FF2B5EF4-FFF2-40B4-BE49-F238E27FC236}">
                    <a16:creationId xmlns:a16="http://schemas.microsoft.com/office/drawing/2014/main" id="{FCBCE448-A746-45FC-ABE2-27B64D489326}"/>
                  </a:ext>
                </a:extLst>
              </p:cNvPr>
              <p:cNvSpPr txBox="1"/>
              <p:nvPr/>
            </p:nvSpPr>
            <p:spPr bwMode="auto">
              <a:xfrm>
                <a:off x="8140822" y="1812036"/>
                <a:ext cx="3378077" cy="445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ct val="0"/>
                  </a:spcBef>
                </a:pPr>
                <a:r>
                  <a:rPr lang="en-US" altLang="zh-CN" sz="2000" b="1"/>
                  <a:t>Tex</a:t>
                </a:r>
                <a:r>
                  <a:rPr lang="en-US" altLang="zh-CN" sz="100" b="1"/>
                  <a:t> </a:t>
                </a:r>
                <a:r>
                  <a:rPr lang="en-US" altLang="zh-CN" sz="2000" b="1"/>
                  <a:t>t </a:t>
                </a:r>
                <a:r>
                  <a:rPr lang="en-US" altLang="zh-CN" sz="2000" b="1" dirty="0"/>
                  <a:t>here</a:t>
                </a:r>
              </a:p>
            </p:txBody>
          </p:sp>
        </p:grpSp>
        <p:grpSp>
          <p:nvGrpSpPr>
            <p:cNvPr id="99" name="íŝľíḓê">
              <a:extLst>
                <a:ext uri="{FF2B5EF4-FFF2-40B4-BE49-F238E27FC236}">
                  <a16:creationId xmlns:a16="http://schemas.microsoft.com/office/drawing/2014/main" id="{E3D092EC-21FF-43C3-9037-14AC96D3E753}"/>
                </a:ext>
              </a:extLst>
            </p:cNvPr>
            <p:cNvGrpSpPr/>
            <p:nvPr/>
          </p:nvGrpSpPr>
          <p:grpSpPr>
            <a:xfrm flipH="1">
              <a:off x="934548" y="4399372"/>
              <a:ext cx="3199581" cy="984430"/>
              <a:chOff x="8140822" y="1812036"/>
              <a:chExt cx="3378077" cy="984430"/>
            </a:xfrm>
          </p:grpSpPr>
          <p:sp>
            <p:nvSpPr>
              <p:cNvPr id="117" name="íṣļíḍé">
                <a:extLst>
                  <a:ext uri="{FF2B5EF4-FFF2-40B4-BE49-F238E27FC236}">
                    <a16:creationId xmlns:a16="http://schemas.microsoft.com/office/drawing/2014/main" id="{8316902B-9F15-4AE4-BBCF-5E1CB0686F18}"/>
                  </a:ext>
                </a:extLst>
              </p:cNvPr>
              <p:cNvSpPr/>
              <p:nvPr/>
            </p:nvSpPr>
            <p:spPr bwMode="auto">
              <a:xfrm>
                <a:off x="8140822" y="2257841"/>
                <a:ext cx="3378077" cy="53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30000"/>
                  </a:lnSpc>
                </a:pPr>
                <a:r>
                  <a:rPr lang="en-US" altLang="zh-CN" sz="1100" dirty="0"/>
                  <a:t>Copy paste fonts</a:t>
                </a:r>
                <a:r>
                  <a:rPr lang="en-US" altLang="zh-CN" sz="1100"/>
                  <a:t>. Choos</a:t>
                </a:r>
                <a:r>
                  <a:rPr lang="en-US" altLang="zh-CN" sz="100"/>
                  <a:t> </a:t>
                </a:r>
                <a:r>
                  <a:rPr lang="en-US" altLang="zh-CN" sz="1100"/>
                  <a:t>e </a:t>
                </a:r>
                <a:r>
                  <a:rPr lang="en-US" altLang="zh-CN" sz="1100" dirty="0"/>
                  <a:t>the only option to retain text……</a:t>
                </a:r>
              </a:p>
            </p:txBody>
          </p:sp>
          <p:sp>
            <p:nvSpPr>
              <p:cNvPr id="118" name="îšľîḋe">
                <a:extLst>
                  <a:ext uri="{FF2B5EF4-FFF2-40B4-BE49-F238E27FC236}">
                    <a16:creationId xmlns:a16="http://schemas.microsoft.com/office/drawing/2014/main" id="{FCBCE448-A746-45FC-ABE2-27B64D489326}"/>
                  </a:ext>
                </a:extLst>
              </p:cNvPr>
              <p:cNvSpPr txBox="1"/>
              <p:nvPr/>
            </p:nvSpPr>
            <p:spPr bwMode="auto">
              <a:xfrm>
                <a:off x="8140822" y="1812036"/>
                <a:ext cx="3378077" cy="445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ct val="0"/>
                  </a:spcBef>
                </a:pPr>
                <a:r>
                  <a:rPr lang="en-US" altLang="zh-CN" sz="2000" b="1"/>
                  <a:t>Tex</a:t>
                </a:r>
                <a:r>
                  <a:rPr lang="en-US" altLang="zh-CN" sz="100" b="1"/>
                  <a:t> </a:t>
                </a:r>
                <a:r>
                  <a:rPr lang="en-US" altLang="zh-CN" sz="2000" b="1"/>
                  <a:t>t </a:t>
                </a:r>
                <a:r>
                  <a:rPr lang="en-US" altLang="zh-CN" sz="2000" b="1" dirty="0"/>
                  <a:t>here</a:t>
                </a:r>
              </a:p>
            </p:txBody>
          </p:sp>
        </p:grpSp>
        <p:cxnSp>
          <p:nvCxnSpPr>
            <p:cNvPr id="100" name="íṩḻíḋè">
              <a:extLst>
                <a:ext uri="{FF2B5EF4-FFF2-40B4-BE49-F238E27FC236}">
                  <a16:creationId xmlns:a16="http://schemas.microsoft.com/office/drawing/2014/main" id="{A6E5BF8C-0BD0-4E4D-B2FE-50CAD126EF03}"/>
                </a:ext>
              </a:extLst>
            </p:cNvPr>
            <p:cNvCxnSpPr/>
            <p:nvPr/>
          </p:nvCxnSpPr>
          <p:spPr>
            <a:xfrm flipH="1">
              <a:off x="673100" y="3015220"/>
              <a:ext cx="3199581"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01" name="íṡľíḍe">
              <a:extLst>
                <a:ext uri="{FF2B5EF4-FFF2-40B4-BE49-F238E27FC236}">
                  <a16:creationId xmlns:a16="http://schemas.microsoft.com/office/drawing/2014/main" id="{F4B366C6-0514-4EBB-921B-DB8AEE8AC569}"/>
                </a:ext>
              </a:extLst>
            </p:cNvPr>
            <p:cNvCxnSpPr/>
            <p:nvPr/>
          </p:nvCxnSpPr>
          <p:spPr>
            <a:xfrm flipH="1">
              <a:off x="673100" y="4266132"/>
              <a:ext cx="3199581"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02" name="íṣḷîďé">
              <a:extLst>
                <a:ext uri="{FF2B5EF4-FFF2-40B4-BE49-F238E27FC236}">
                  <a16:creationId xmlns:a16="http://schemas.microsoft.com/office/drawing/2014/main" id="{7E8F5992-F867-4D1A-9C52-4CEF1C157BBD}"/>
                </a:ext>
              </a:extLst>
            </p:cNvPr>
            <p:cNvSpPr/>
            <p:nvPr/>
          </p:nvSpPr>
          <p:spPr bwMode="auto">
            <a:xfrm>
              <a:off x="5346018" y="2781195"/>
              <a:ext cx="739925" cy="481141"/>
            </a:xfrm>
            <a:custGeom>
              <a:avLst/>
              <a:gdLst>
                <a:gd name="T0" fmla="*/ 70 w 188"/>
                <a:gd name="T1" fmla="*/ 13 h 124"/>
                <a:gd name="T2" fmla="*/ 63 w 188"/>
                <a:gd name="T3" fmla="*/ 41 h 124"/>
                <a:gd name="T4" fmla="*/ 0 w 188"/>
                <a:gd name="T5" fmla="*/ 108 h 124"/>
                <a:gd name="T6" fmla="*/ 27 w 188"/>
                <a:gd name="T7" fmla="*/ 124 h 124"/>
                <a:gd name="T8" fmla="*/ 188 w 188"/>
                <a:gd name="T9" fmla="*/ 31 h 124"/>
                <a:gd name="T10" fmla="*/ 188 w 188"/>
                <a:gd name="T11" fmla="*/ 0 h 124"/>
                <a:gd name="T12" fmla="*/ 98 w 188"/>
                <a:gd name="T13" fmla="*/ 20 h 124"/>
                <a:gd name="T14" fmla="*/ 70 w 188"/>
                <a:gd name="T15" fmla="*/ 13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24">
                  <a:moveTo>
                    <a:pt x="70" y="13"/>
                  </a:moveTo>
                  <a:cubicBezTo>
                    <a:pt x="63" y="41"/>
                    <a:pt x="63" y="41"/>
                    <a:pt x="63" y="41"/>
                  </a:cubicBezTo>
                  <a:cubicBezTo>
                    <a:pt x="37" y="59"/>
                    <a:pt x="16" y="82"/>
                    <a:pt x="0" y="108"/>
                  </a:cubicBezTo>
                  <a:cubicBezTo>
                    <a:pt x="27" y="124"/>
                    <a:pt x="27" y="124"/>
                    <a:pt x="27" y="124"/>
                  </a:cubicBezTo>
                  <a:cubicBezTo>
                    <a:pt x="60" y="69"/>
                    <a:pt x="120" y="33"/>
                    <a:pt x="188" y="31"/>
                  </a:cubicBezTo>
                  <a:cubicBezTo>
                    <a:pt x="188" y="0"/>
                    <a:pt x="188" y="0"/>
                    <a:pt x="188" y="0"/>
                  </a:cubicBezTo>
                  <a:cubicBezTo>
                    <a:pt x="156" y="1"/>
                    <a:pt x="125" y="8"/>
                    <a:pt x="98" y="20"/>
                  </a:cubicBezTo>
                  <a:lnTo>
                    <a:pt x="70" y="13"/>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3" name="iś1îḋè">
              <a:extLst>
                <a:ext uri="{FF2B5EF4-FFF2-40B4-BE49-F238E27FC236}">
                  <a16:creationId xmlns:a16="http://schemas.microsoft.com/office/drawing/2014/main" id="{6D6E16B5-2EF4-4C6A-89B2-F77F5102956D}"/>
                </a:ext>
              </a:extLst>
            </p:cNvPr>
            <p:cNvSpPr/>
            <p:nvPr/>
          </p:nvSpPr>
          <p:spPr bwMode="auto">
            <a:xfrm>
              <a:off x="6105515" y="2781195"/>
              <a:ext cx="740468" cy="481141"/>
            </a:xfrm>
            <a:custGeom>
              <a:avLst/>
              <a:gdLst>
                <a:gd name="T0" fmla="*/ 161 w 188"/>
                <a:gd name="T1" fmla="*/ 124 h 124"/>
                <a:gd name="T2" fmla="*/ 188 w 188"/>
                <a:gd name="T3" fmla="*/ 108 h 124"/>
                <a:gd name="T4" fmla="*/ 125 w 188"/>
                <a:gd name="T5" fmla="*/ 41 h 124"/>
                <a:gd name="T6" fmla="*/ 118 w 188"/>
                <a:gd name="T7" fmla="*/ 13 h 124"/>
                <a:gd name="T8" fmla="*/ 90 w 188"/>
                <a:gd name="T9" fmla="*/ 20 h 124"/>
                <a:gd name="T10" fmla="*/ 0 w 188"/>
                <a:gd name="T11" fmla="*/ 0 h 124"/>
                <a:gd name="T12" fmla="*/ 0 w 188"/>
                <a:gd name="T13" fmla="*/ 31 h 124"/>
                <a:gd name="T14" fmla="*/ 161 w 188"/>
                <a:gd name="T15" fmla="*/ 124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24">
                  <a:moveTo>
                    <a:pt x="161" y="124"/>
                  </a:moveTo>
                  <a:cubicBezTo>
                    <a:pt x="188" y="108"/>
                    <a:pt x="188" y="108"/>
                    <a:pt x="188" y="108"/>
                  </a:cubicBezTo>
                  <a:cubicBezTo>
                    <a:pt x="172" y="82"/>
                    <a:pt x="150" y="58"/>
                    <a:pt x="125" y="41"/>
                  </a:cubicBezTo>
                  <a:cubicBezTo>
                    <a:pt x="118" y="13"/>
                    <a:pt x="118" y="13"/>
                    <a:pt x="118" y="13"/>
                  </a:cubicBezTo>
                  <a:cubicBezTo>
                    <a:pt x="90" y="20"/>
                    <a:pt x="90" y="20"/>
                    <a:pt x="90" y="20"/>
                  </a:cubicBezTo>
                  <a:cubicBezTo>
                    <a:pt x="63" y="8"/>
                    <a:pt x="32" y="1"/>
                    <a:pt x="0" y="0"/>
                  </a:cubicBezTo>
                  <a:cubicBezTo>
                    <a:pt x="0" y="31"/>
                    <a:pt x="0" y="31"/>
                    <a:pt x="0" y="31"/>
                  </a:cubicBezTo>
                  <a:cubicBezTo>
                    <a:pt x="68" y="32"/>
                    <a:pt x="128" y="69"/>
                    <a:pt x="161" y="12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4" name="ïṩľidê">
              <a:extLst>
                <a:ext uri="{FF2B5EF4-FFF2-40B4-BE49-F238E27FC236}">
                  <a16:creationId xmlns:a16="http://schemas.microsoft.com/office/drawing/2014/main" id="{E8A6DF3F-0992-4154-B407-83A8C140E76A}"/>
                </a:ext>
              </a:extLst>
            </p:cNvPr>
            <p:cNvSpPr/>
            <p:nvPr/>
          </p:nvSpPr>
          <p:spPr bwMode="auto">
            <a:xfrm>
              <a:off x="6747580" y="3219387"/>
              <a:ext cx="295209" cy="842132"/>
            </a:xfrm>
            <a:custGeom>
              <a:avLst/>
              <a:gdLst>
                <a:gd name="T0" fmla="*/ 55 w 75"/>
                <a:gd name="T1" fmla="*/ 128 h 217"/>
                <a:gd name="T2" fmla="*/ 75 w 75"/>
                <a:gd name="T3" fmla="*/ 108 h 217"/>
                <a:gd name="T4" fmla="*/ 55 w 75"/>
                <a:gd name="T5" fmla="*/ 88 h 217"/>
                <a:gd name="T6" fmla="*/ 27 w 75"/>
                <a:gd name="T7" fmla="*/ 0 h 217"/>
                <a:gd name="T8" fmla="*/ 0 w 75"/>
                <a:gd name="T9" fmla="*/ 16 h 217"/>
                <a:gd name="T10" fmla="*/ 24 w 75"/>
                <a:gd name="T11" fmla="*/ 108 h 217"/>
                <a:gd name="T12" fmla="*/ 0 w 75"/>
                <a:gd name="T13" fmla="*/ 201 h 217"/>
                <a:gd name="T14" fmla="*/ 27 w 75"/>
                <a:gd name="T15" fmla="*/ 217 h 217"/>
                <a:gd name="T16" fmla="*/ 55 w 75"/>
                <a:gd name="T17" fmla="*/ 12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217">
                  <a:moveTo>
                    <a:pt x="55" y="128"/>
                  </a:moveTo>
                  <a:cubicBezTo>
                    <a:pt x="75" y="108"/>
                    <a:pt x="75" y="108"/>
                    <a:pt x="75" y="108"/>
                  </a:cubicBezTo>
                  <a:cubicBezTo>
                    <a:pt x="55" y="88"/>
                    <a:pt x="55" y="88"/>
                    <a:pt x="55" y="88"/>
                  </a:cubicBezTo>
                  <a:cubicBezTo>
                    <a:pt x="52" y="56"/>
                    <a:pt x="42" y="27"/>
                    <a:pt x="27" y="0"/>
                  </a:cubicBezTo>
                  <a:cubicBezTo>
                    <a:pt x="0" y="16"/>
                    <a:pt x="0" y="16"/>
                    <a:pt x="0" y="16"/>
                  </a:cubicBezTo>
                  <a:cubicBezTo>
                    <a:pt x="16" y="43"/>
                    <a:pt x="24" y="75"/>
                    <a:pt x="24" y="108"/>
                  </a:cubicBezTo>
                  <a:cubicBezTo>
                    <a:pt x="24" y="142"/>
                    <a:pt x="16" y="174"/>
                    <a:pt x="0" y="201"/>
                  </a:cubicBezTo>
                  <a:cubicBezTo>
                    <a:pt x="27" y="217"/>
                    <a:pt x="27" y="217"/>
                    <a:pt x="27" y="217"/>
                  </a:cubicBezTo>
                  <a:cubicBezTo>
                    <a:pt x="42" y="190"/>
                    <a:pt x="52" y="160"/>
                    <a:pt x="55" y="128"/>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5" name="îŝlîḍê">
              <a:extLst>
                <a:ext uri="{FF2B5EF4-FFF2-40B4-BE49-F238E27FC236}">
                  <a16:creationId xmlns:a16="http://schemas.microsoft.com/office/drawing/2014/main" id="{F7A94F6E-A7A6-4956-955B-FAE7C327AAE8}"/>
                </a:ext>
              </a:extLst>
            </p:cNvPr>
            <p:cNvSpPr/>
            <p:nvPr/>
          </p:nvSpPr>
          <p:spPr bwMode="auto">
            <a:xfrm>
              <a:off x="6105515" y="4018570"/>
              <a:ext cx="740468" cy="477335"/>
            </a:xfrm>
            <a:custGeom>
              <a:avLst/>
              <a:gdLst>
                <a:gd name="T0" fmla="*/ 0 w 188"/>
                <a:gd name="T1" fmla="*/ 123 h 123"/>
                <a:gd name="T2" fmla="*/ 90 w 188"/>
                <a:gd name="T3" fmla="*/ 103 h 123"/>
                <a:gd name="T4" fmla="*/ 118 w 188"/>
                <a:gd name="T5" fmla="*/ 111 h 123"/>
                <a:gd name="T6" fmla="*/ 125 w 188"/>
                <a:gd name="T7" fmla="*/ 83 h 123"/>
                <a:gd name="T8" fmla="*/ 188 w 188"/>
                <a:gd name="T9" fmla="*/ 15 h 123"/>
                <a:gd name="T10" fmla="*/ 161 w 188"/>
                <a:gd name="T11" fmla="*/ 0 h 123"/>
                <a:gd name="T12" fmla="*/ 0 w 188"/>
                <a:gd name="T13" fmla="*/ 92 h 123"/>
                <a:gd name="T14" fmla="*/ 0 w 188"/>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23">
                  <a:moveTo>
                    <a:pt x="0" y="123"/>
                  </a:moveTo>
                  <a:cubicBezTo>
                    <a:pt x="32" y="123"/>
                    <a:pt x="63" y="116"/>
                    <a:pt x="90" y="103"/>
                  </a:cubicBezTo>
                  <a:cubicBezTo>
                    <a:pt x="118" y="111"/>
                    <a:pt x="118" y="111"/>
                    <a:pt x="118" y="111"/>
                  </a:cubicBezTo>
                  <a:cubicBezTo>
                    <a:pt x="125" y="83"/>
                    <a:pt x="125" y="83"/>
                    <a:pt x="125" y="83"/>
                  </a:cubicBezTo>
                  <a:cubicBezTo>
                    <a:pt x="150" y="65"/>
                    <a:pt x="172" y="42"/>
                    <a:pt x="188" y="15"/>
                  </a:cubicBezTo>
                  <a:cubicBezTo>
                    <a:pt x="161" y="0"/>
                    <a:pt x="161" y="0"/>
                    <a:pt x="161" y="0"/>
                  </a:cubicBezTo>
                  <a:cubicBezTo>
                    <a:pt x="128" y="54"/>
                    <a:pt x="68" y="91"/>
                    <a:pt x="0" y="92"/>
                  </a:cubicBezTo>
                  <a:lnTo>
                    <a:pt x="0" y="12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6" name="iSľiďè">
              <a:extLst>
                <a:ext uri="{FF2B5EF4-FFF2-40B4-BE49-F238E27FC236}">
                  <a16:creationId xmlns:a16="http://schemas.microsoft.com/office/drawing/2014/main" id="{E6D46E33-FB72-4436-B942-2A8659F7CB76}"/>
                </a:ext>
              </a:extLst>
            </p:cNvPr>
            <p:cNvSpPr/>
            <p:nvPr/>
          </p:nvSpPr>
          <p:spPr bwMode="auto">
            <a:xfrm>
              <a:off x="5346019" y="4018570"/>
              <a:ext cx="739925" cy="477335"/>
            </a:xfrm>
            <a:custGeom>
              <a:avLst/>
              <a:gdLst>
                <a:gd name="T0" fmla="*/ 27 w 188"/>
                <a:gd name="T1" fmla="*/ 0 h 123"/>
                <a:gd name="T2" fmla="*/ 0 w 188"/>
                <a:gd name="T3" fmla="*/ 15 h 123"/>
                <a:gd name="T4" fmla="*/ 63 w 188"/>
                <a:gd name="T5" fmla="*/ 83 h 123"/>
                <a:gd name="T6" fmla="*/ 70 w 188"/>
                <a:gd name="T7" fmla="*/ 111 h 123"/>
                <a:gd name="T8" fmla="*/ 98 w 188"/>
                <a:gd name="T9" fmla="*/ 103 h 123"/>
                <a:gd name="T10" fmla="*/ 188 w 188"/>
                <a:gd name="T11" fmla="*/ 123 h 123"/>
                <a:gd name="T12" fmla="*/ 188 w 188"/>
                <a:gd name="T13" fmla="*/ 92 h 123"/>
                <a:gd name="T14" fmla="*/ 27 w 188"/>
                <a:gd name="T15" fmla="*/ 0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123">
                  <a:moveTo>
                    <a:pt x="27" y="0"/>
                  </a:moveTo>
                  <a:cubicBezTo>
                    <a:pt x="0" y="15"/>
                    <a:pt x="0" y="15"/>
                    <a:pt x="0" y="15"/>
                  </a:cubicBezTo>
                  <a:cubicBezTo>
                    <a:pt x="16" y="42"/>
                    <a:pt x="37" y="65"/>
                    <a:pt x="63" y="83"/>
                  </a:cubicBezTo>
                  <a:cubicBezTo>
                    <a:pt x="70" y="111"/>
                    <a:pt x="70" y="111"/>
                    <a:pt x="70" y="111"/>
                  </a:cubicBezTo>
                  <a:cubicBezTo>
                    <a:pt x="98" y="103"/>
                    <a:pt x="98" y="103"/>
                    <a:pt x="98" y="103"/>
                  </a:cubicBezTo>
                  <a:cubicBezTo>
                    <a:pt x="125" y="116"/>
                    <a:pt x="156" y="123"/>
                    <a:pt x="188" y="123"/>
                  </a:cubicBezTo>
                  <a:cubicBezTo>
                    <a:pt x="188" y="92"/>
                    <a:pt x="188" y="92"/>
                    <a:pt x="188" y="92"/>
                  </a:cubicBezTo>
                  <a:cubicBezTo>
                    <a:pt x="120" y="91"/>
                    <a:pt x="60" y="54"/>
                    <a:pt x="27"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7" name="íSlîdê">
              <a:extLst>
                <a:ext uri="{FF2B5EF4-FFF2-40B4-BE49-F238E27FC236}">
                  <a16:creationId xmlns:a16="http://schemas.microsoft.com/office/drawing/2014/main" id="{5BA2A33E-CE33-47E1-9DC0-78228782896B}"/>
                </a:ext>
              </a:extLst>
            </p:cNvPr>
            <p:cNvSpPr/>
            <p:nvPr/>
          </p:nvSpPr>
          <p:spPr bwMode="auto">
            <a:xfrm>
              <a:off x="5149212" y="3219387"/>
              <a:ext cx="295209" cy="837783"/>
            </a:xfrm>
            <a:custGeom>
              <a:avLst/>
              <a:gdLst>
                <a:gd name="T0" fmla="*/ 48 w 75"/>
                <a:gd name="T1" fmla="*/ 0 h 216"/>
                <a:gd name="T2" fmla="*/ 20 w 75"/>
                <a:gd name="T3" fmla="*/ 88 h 216"/>
                <a:gd name="T4" fmla="*/ 0 w 75"/>
                <a:gd name="T5" fmla="*/ 108 h 216"/>
                <a:gd name="T6" fmla="*/ 20 w 75"/>
                <a:gd name="T7" fmla="*/ 129 h 216"/>
                <a:gd name="T8" fmla="*/ 48 w 75"/>
                <a:gd name="T9" fmla="*/ 216 h 216"/>
                <a:gd name="T10" fmla="*/ 75 w 75"/>
                <a:gd name="T11" fmla="*/ 201 h 216"/>
                <a:gd name="T12" fmla="*/ 51 w 75"/>
                <a:gd name="T13" fmla="*/ 108 h 216"/>
                <a:gd name="T14" fmla="*/ 75 w 75"/>
                <a:gd name="T15" fmla="*/ 16 h 216"/>
                <a:gd name="T16" fmla="*/ 48 w 75"/>
                <a:gd name="T17"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216">
                  <a:moveTo>
                    <a:pt x="48" y="0"/>
                  </a:moveTo>
                  <a:cubicBezTo>
                    <a:pt x="33" y="27"/>
                    <a:pt x="23" y="56"/>
                    <a:pt x="20" y="88"/>
                  </a:cubicBezTo>
                  <a:cubicBezTo>
                    <a:pt x="0" y="108"/>
                    <a:pt x="0" y="108"/>
                    <a:pt x="0" y="108"/>
                  </a:cubicBezTo>
                  <a:cubicBezTo>
                    <a:pt x="20" y="129"/>
                    <a:pt x="20" y="129"/>
                    <a:pt x="20" y="129"/>
                  </a:cubicBezTo>
                  <a:cubicBezTo>
                    <a:pt x="23" y="160"/>
                    <a:pt x="33" y="190"/>
                    <a:pt x="48" y="216"/>
                  </a:cubicBezTo>
                  <a:cubicBezTo>
                    <a:pt x="75" y="201"/>
                    <a:pt x="75" y="201"/>
                    <a:pt x="75" y="201"/>
                  </a:cubicBezTo>
                  <a:cubicBezTo>
                    <a:pt x="59" y="173"/>
                    <a:pt x="51" y="142"/>
                    <a:pt x="51" y="108"/>
                  </a:cubicBezTo>
                  <a:cubicBezTo>
                    <a:pt x="51" y="75"/>
                    <a:pt x="59" y="43"/>
                    <a:pt x="75" y="16"/>
                  </a:cubicBezTo>
                  <a:lnTo>
                    <a:pt x="4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8" name="îşḻïḍê">
              <a:extLst>
                <a:ext uri="{FF2B5EF4-FFF2-40B4-BE49-F238E27FC236}">
                  <a16:creationId xmlns:a16="http://schemas.microsoft.com/office/drawing/2014/main" id="{F2B35C83-6909-4E0E-AF72-7D75A86C1ACE}"/>
                </a:ext>
              </a:extLst>
            </p:cNvPr>
            <p:cNvSpPr/>
            <p:nvPr/>
          </p:nvSpPr>
          <p:spPr bwMode="auto">
            <a:xfrm>
              <a:off x="5727331" y="3242098"/>
              <a:ext cx="737338" cy="792904"/>
            </a:xfrm>
            <a:custGeom>
              <a:avLst/>
              <a:gdLst>
                <a:gd name="connsiteX0" fmla="*/ 8038 w 487162"/>
                <a:gd name="connsiteY0" fmla="*/ 513398 h 523875"/>
                <a:gd name="connsiteX1" fmla="*/ 7467 w 487162"/>
                <a:gd name="connsiteY1" fmla="*/ 512731 h 523875"/>
                <a:gd name="connsiteX2" fmla="*/ 7467 w 487162"/>
                <a:gd name="connsiteY2" fmla="*/ 512731 h 523875"/>
                <a:gd name="connsiteX3" fmla="*/ 6991 w 487162"/>
                <a:gd name="connsiteY3" fmla="*/ 512064 h 523875"/>
                <a:gd name="connsiteX4" fmla="*/ 4990 w 487162"/>
                <a:gd name="connsiteY4" fmla="*/ 509016 h 523875"/>
                <a:gd name="connsiteX5" fmla="*/ 4990 w 487162"/>
                <a:gd name="connsiteY5" fmla="*/ 509016 h 523875"/>
                <a:gd name="connsiteX6" fmla="*/ 4514 w 487162"/>
                <a:gd name="connsiteY6" fmla="*/ 508254 h 523875"/>
                <a:gd name="connsiteX7" fmla="*/ 3752 w 487162"/>
                <a:gd name="connsiteY7" fmla="*/ 506730 h 523875"/>
                <a:gd name="connsiteX8" fmla="*/ 3085 w 487162"/>
                <a:gd name="connsiteY8" fmla="*/ 505111 h 523875"/>
                <a:gd name="connsiteX9" fmla="*/ 2990 w 487162"/>
                <a:gd name="connsiteY9" fmla="*/ 504920 h 523875"/>
                <a:gd name="connsiteX10" fmla="*/ 2895 w 487162"/>
                <a:gd name="connsiteY10" fmla="*/ 504635 h 523875"/>
                <a:gd name="connsiteX11" fmla="*/ 2895 w 487162"/>
                <a:gd name="connsiteY11" fmla="*/ 504444 h 523875"/>
                <a:gd name="connsiteX12" fmla="*/ 2228 w 487162"/>
                <a:gd name="connsiteY12" fmla="*/ 502444 h 523875"/>
                <a:gd name="connsiteX13" fmla="*/ 1847 w 487162"/>
                <a:gd name="connsiteY13" fmla="*/ 501110 h 523875"/>
                <a:gd name="connsiteX14" fmla="*/ 1371 w 487162"/>
                <a:gd name="connsiteY14" fmla="*/ 499205 h 523875"/>
                <a:gd name="connsiteX15" fmla="*/ 514 w 487162"/>
                <a:gd name="connsiteY15" fmla="*/ 494919 h 523875"/>
                <a:gd name="connsiteX16" fmla="*/ 228 w 487162"/>
                <a:gd name="connsiteY16" fmla="*/ 492443 h 523875"/>
                <a:gd name="connsiteX17" fmla="*/ 37 w 487162"/>
                <a:gd name="connsiteY17" fmla="*/ 485870 h 523875"/>
                <a:gd name="connsiteX18" fmla="*/ 4609 w 487162"/>
                <a:gd name="connsiteY18" fmla="*/ 467582 h 523875"/>
                <a:gd name="connsiteX19" fmla="*/ 154247 w 487162"/>
                <a:gd name="connsiteY19" fmla="*/ 150876 h 523875"/>
                <a:gd name="connsiteX20" fmla="*/ 157867 w 487162"/>
                <a:gd name="connsiteY20" fmla="*/ 134588 h 523875"/>
                <a:gd name="connsiteX21" fmla="*/ 157867 w 487162"/>
                <a:gd name="connsiteY21" fmla="*/ 19050 h 523875"/>
                <a:gd name="connsiteX22" fmla="*/ 119767 w 487162"/>
                <a:gd name="connsiteY22" fmla="*/ 19050 h 523875"/>
                <a:gd name="connsiteX23" fmla="*/ 119767 w 487162"/>
                <a:gd name="connsiteY23" fmla="*/ 0 h 523875"/>
                <a:gd name="connsiteX24" fmla="*/ 367417 w 487162"/>
                <a:gd name="connsiteY24" fmla="*/ 0 h 523875"/>
                <a:gd name="connsiteX25" fmla="*/ 367417 w 487162"/>
                <a:gd name="connsiteY25" fmla="*/ 19050 h 523875"/>
                <a:gd name="connsiteX26" fmla="*/ 329317 w 487162"/>
                <a:gd name="connsiteY26" fmla="*/ 19050 h 523875"/>
                <a:gd name="connsiteX27" fmla="*/ 329317 w 487162"/>
                <a:gd name="connsiteY27" fmla="*/ 134684 h 523875"/>
                <a:gd name="connsiteX28" fmla="*/ 332936 w 487162"/>
                <a:gd name="connsiteY28" fmla="*/ 150971 h 523875"/>
                <a:gd name="connsiteX29" fmla="*/ 482574 w 487162"/>
                <a:gd name="connsiteY29" fmla="*/ 467678 h 523875"/>
                <a:gd name="connsiteX30" fmla="*/ 484098 w 487162"/>
                <a:gd name="connsiteY30" fmla="*/ 504920 h 523875"/>
                <a:gd name="connsiteX31" fmla="*/ 484003 w 487162"/>
                <a:gd name="connsiteY31" fmla="*/ 505111 h 523875"/>
                <a:gd name="connsiteX32" fmla="*/ 483431 w 487162"/>
                <a:gd name="connsiteY32" fmla="*/ 506540 h 523875"/>
                <a:gd name="connsiteX33" fmla="*/ 458571 w 487162"/>
                <a:gd name="connsiteY33" fmla="*/ 523780 h 523875"/>
                <a:gd name="connsiteX34" fmla="*/ 456666 w 487162"/>
                <a:gd name="connsiteY34" fmla="*/ 523875 h 523875"/>
                <a:gd name="connsiteX35" fmla="*/ 30422 w 487162"/>
                <a:gd name="connsiteY35" fmla="*/ 523875 h 523875"/>
                <a:gd name="connsiteX36" fmla="*/ 28612 w 487162"/>
                <a:gd name="connsiteY36" fmla="*/ 523780 h 523875"/>
                <a:gd name="connsiteX37" fmla="*/ 26136 w 487162"/>
                <a:gd name="connsiteY37" fmla="*/ 523494 h 523875"/>
                <a:gd name="connsiteX38" fmla="*/ 22326 w 487162"/>
                <a:gd name="connsiteY38" fmla="*/ 522637 h 523875"/>
                <a:gd name="connsiteX39" fmla="*/ 22326 w 487162"/>
                <a:gd name="connsiteY39" fmla="*/ 522637 h 523875"/>
                <a:gd name="connsiteX40" fmla="*/ 16801 w 487162"/>
                <a:gd name="connsiteY40" fmla="*/ 520351 h 523875"/>
                <a:gd name="connsiteX41" fmla="*/ 15373 w 487162"/>
                <a:gd name="connsiteY41" fmla="*/ 519589 h 523875"/>
                <a:gd name="connsiteX42" fmla="*/ 14420 w 487162"/>
                <a:gd name="connsiteY42" fmla="*/ 519017 h 523875"/>
                <a:gd name="connsiteX43" fmla="*/ 9467 w 487162"/>
                <a:gd name="connsiteY43" fmla="*/ 514922 h 523875"/>
                <a:gd name="connsiteX44" fmla="*/ 8038 w 487162"/>
                <a:gd name="connsiteY44" fmla="*/ 513398 h 523875"/>
                <a:gd name="connsiteX45" fmla="*/ 8038 w 487162"/>
                <a:gd name="connsiteY45" fmla="*/ 513398 h 523875"/>
                <a:gd name="connsiteX46" fmla="*/ 254641 w 487162"/>
                <a:gd name="connsiteY46" fmla="*/ 404146 h 523875"/>
                <a:gd name="connsiteX47" fmla="*/ 251783 w 487162"/>
                <a:gd name="connsiteY47" fmla="*/ 405956 h 523875"/>
                <a:gd name="connsiteX48" fmla="*/ 246259 w 487162"/>
                <a:gd name="connsiteY48" fmla="*/ 409670 h 523875"/>
                <a:gd name="connsiteX49" fmla="*/ 54425 w 487162"/>
                <a:gd name="connsiteY49" fmla="*/ 416243 h 523875"/>
                <a:gd name="connsiteX50" fmla="*/ 50615 w 487162"/>
                <a:gd name="connsiteY50" fmla="*/ 414719 h 523875"/>
                <a:gd name="connsiteX51" fmla="*/ 21754 w 487162"/>
                <a:gd name="connsiteY51" fmla="*/ 475774 h 523875"/>
                <a:gd name="connsiteX52" fmla="*/ 20897 w 487162"/>
                <a:gd name="connsiteY52" fmla="*/ 477679 h 523875"/>
                <a:gd name="connsiteX53" fmla="*/ 20802 w 487162"/>
                <a:gd name="connsiteY53" fmla="*/ 498158 h 523875"/>
                <a:gd name="connsiteX54" fmla="*/ 27945 w 487162"/>
                <a:gd name="connsiteY54" fmla="*/ 504444 h 523875"/>
                <a:gd name="connsiteX55" fmla="*/ 29184 w 487162"/>
                <a:gd name="connsiteY55" fmla="*/ 504635 h 523875"/>
                <a:gd name="connsiteX56" fmla="*/ 30327 w 487162"/>
                <a:gd name="connsiteY56" fmla="*/ 504730 h 523875"/>
                <a:gd name="connsiteX57" fmla="*/ 456570 w 487162"/>
                <a:gd name="connsiteY57" fmla="*/ 504730 h 523875"/>
                <a:gd name="connsiteX58" fmla="*/ 457714 w 487162"/>
                <a:gd name="connsiteY58" fmla="*/ 504635 h 523875"/>
                <a:gd name="connsiteX59" fmla="*/ 466095 w 487162"/>
                <a:gd name="connsiteY59" fmla="*/ 498062 h 523875"/>
                <a:gd name="connsiteX60" fmla="*/ 466667 w 487162"/>
                <a:gd name="connsiteY60" fmla="*/ 479584 h 523875"/>
                <a:gd name="connsiteX61" fmla="*/ 466000 w 487162"/>
                <a:gd name="connsiteY61" fmla="*/ 477584 h 523875"/>
                <a:gd name="connsiteX62" fmla="*/ 465143 w 487162"/>
                <a:gd name="connsiteY62" fmla="*/ 475679 h 523875"/>
                <a:gd name="connsiteX63" fmla="*/ 423519 w 487162"/>
                <a:gd name="connsiteY63" fmla="*/ 387477 h 523875"/>
                <a:gd name="connsiteX64" fmla="*/ 254641 w 487162"/>
                <a:gd name="connsiteY64" fmla="*/ 404146 h 523875"/>
                <a:gd name="connsiteX65" fmla="*/ 305504 w 487162"/>
                <a:gd name="connsiteY65" fmla="*/ 257175 h 523875"/>
                <a:gd name="connsiteX66" fmla="*/ 272167 w 487162"/>
                <a:gd name="connsiteY66" fmla="*/ 290513 h 523875"/>
                <a:gd name="connsiteX67" fmla="*/ 305504 w 487162"/>
                <a:gd name="connsiteY67" fmla="*/ 323850 h 523875"/>
                <a:gd name="connsiteX68" fmla="*/ 338842 w 487162"/>
                <a:gd name="connsiteY68" fmla="*/ 290513 h 523875"/>
                <a:gd name="connsiteX69" fmla="*/ 305504 w 487162"/>
                <a:gd name="connsiteY69" fmla="*/ 2571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038" y="513398"/>
                  </a:moveTo>
                  <a:lnTo>
                    <a:pt x="7467" y="512731"/>
                  </a:lnTo>
                  <a:lnTo>
                    <a:pt x="7467" y="512731"/>
                  </a:lnTo>
                  <a:lnTo>
                    <a:pt x="6991" y="512064"/>
                  </a:lnTo>
                  <a:cubicBezTo>
                    <a:pt x="6228" y="511112"/>
                    <a:pt x="5657" y="510064"/>
                    <a:pt x="4990" y="509016"/>
                  </a:cubicBezTo>
                  <a:lnTo>
                    <a:pt x="4990" y="509016"/>
                  </a:lnTo>
                  <a:lnTo>
                    <a:pt x="4514" y="508254"/>
                  </a:lnTo>
                  <a:lnTo>
                    <a:pt x="3752" y="506730"/>
                  </a:lnTo>
                  <a:lnTo>
                    <a:pt x="3085" y="505111"/>
                  </a:lnTo>
                  <a:lnTo>
                    <a:pt x="2990" y="504920"/>
                  </a:lnTo>
                  <a:lnTo>
                    <a:pt x="2895" y="504635"/>
                  </a:lnTo>
                  <a:lnTo>
                    <a:pt x="2895" y="504444"/>
                  </a:lnTo>
                  <a:lnTo>
                    <a:pt x="2228" y="502444"/>
                  </a:lnTo>
                  <a:cubicBezTo>
                    <a:pt x="2133" y="501968"/>
                    <a:pt x="1942" y="501587"/>
                    <a:pt x="1847" y="501110"/>
                  </a:cubicBezTo>
                  <a:cubicBezTo>
                    <a:pt x="1657" y="500444"/>
                    <a:pt x="1466" y="499872"/>
                    <a:pt x="1371" y="499205"/>
                  </a:cubicBezTo>
                  <a:cubicBezTo>
                    <a:pt x="990" y="497776"/>
                    <a:pt x="799" y="496348"/>
                    <a:pt x="514" y="494919"/>
                  </a:cubicBezTo>
                  <a:lnTo>
                    <a:pt x="228" y="492443"/>
                  </a:lnTo>
                  <a:cubicBezTo>
                    <a:pt x="37" y="490252"/>
                    <a:pt x="-58" y="488061"/>
                    <a:pt x="37" y="485870"/>
                  </a:cubicBezTo>
                  <a:cubicBezTo>
                    <a:pt x="323" y="479584"/>
                    <a:pt x="1847" y="473393"/>
                    <a:pt x="4609" y="467582"/>
                  </a:cubicBezTo>
                  <a:lnTo>
                    <a:pt x="154247" y="150876"/>
                  </a:lnTo>
                  <a:cubicBezTo>
                    <a:pt x="156628" y="145828"/>
                    <a:pt x="157867" y="140208"/>
                    <a:pt x="157867" y="134588"/>
                  </a:cubicBezTo>
                  <a:lnTo>
                    <a:pt x="157867" y="19050"/>
                  </a:lnTo>
                  <a:lnTo>
                    <a:pt x="119767" y="19050"/>
                  </a:lnTo>
                  <a:lnTo>
                    <a:pt x="119767" y="0"/>
                  </a:lnTo>
                  <a:lnTo>
                    <a:pt x="367417" y="0"/>
                  </a:lnTo>
                  <a:lnTo>
                    <a:pt x="367417" y="19050"/>
                  </a:lnTo>
                  <a:lnTo>
                    <a:pt x="329317" y="19050"/>
                  </a:lnTo>
                  <a:lnTo>
                    <a:pt x="329317" y="134684"/>
                  </a:lnTo>
                  <a:cubicBezTo>
                    <a:pt x="329317" y="140303"/>
                    <a:pt x="330555" y="145828"/>
                    <a:pt x="332936" y="150971"/>
                  </a:cubicBezTo>
                  <a:lnTo>
                    <a:pt x="482574" y="467678"/>
                  </a:lnTo>
                  <a:cubicBezTo>
                    <a:pt x="488098" y="479393"/>
                    <a:pt x="488670" y="492824"/>
                    <a:pt x="484098" y="504920"/>
                  </a:cubicBezTo>
                  <a:lnTo>
                    <a:pt x="484003" y="505111"/>
                  </a:lnTo>
                  <a:lnTo>
                    <a:pt x="483431" y="506540"/>
                  </a:lnTo>
                  <a:cubicBezTo>
                    <a:pt x="478954" y="516446"/>
                    <a:pt x="469429" y="523113"/>
                    <a:pt x="458571" y="523780"/>
                  </a:cubicBezTo>
                  <a:lnTo>
                    <a:pt x="456666" y="523875"/>
                  </a:lnTo>
                  <a:lnTo>
                    <a:pt x="30422" y="523875"/>
                  </a:lnTo>
                  <a:lnTo>
                    <a:pt x="28612" y="523780"/>
                  </a:lnTo>
                  <a:cubicBezTo>
                    <a:pt x="27755" y="523685"/>
                    <a:pt x="26993" y="523685"/>
                    <a:pt x="26136" y="523494"/>
                  </a:cubicBezTo>
                  <a:cubicBezTo>
                    <a:pt x="24802" y="523304"/>
                    <a:pt x="23564" y="523018"/>
                    <a:pt x="22326" y="522637"/>
                  </a:cubicBezTo>
                  <a:lnTo>
                    <a:pt x="22326" y="522637"/>
                  </a:lnTo>
                  <a:cubicBezTo>
                    <a:pt x="20421" y="522065"/>
                    <a:pt x="18516" y="521303"/>
                    <a:pt x="16801" y="520351"/>
                  </a:cubicBezTo>
                  <a:lnTo>
                    <a:pt x="15373" y="519589"/>
                  </a:lnTo>
                  <a:cubicBezTo>
                    <a:pt x="15087" y="519398"/>
                    <a:pt x="14801" y="519208"/>
                    <a:pt x="14420" y="519017"/>
                  </a:cubicBezTo>
                  <a:cubicBezTo>
                    <a:pt x="12610" y="517874"/>
                    <a:pt x="10896" y="516446"/>
                    <a:pt x="9467" y="514922"/>
                  </a:cubicBezTo>
                  <a:lnTo>
                    <a:pt x="8038" y="513398"/>
                  </a:lnTo>
                  <a:lnTo>
                    <a:pt x="8038" y="513398"/>
                  </a:lnTo>
                  <a:close/>
                  <a:moveTo>
                    <a:pt x="254641" y="404146"/>
                  </a:moveTo>
                  <a:lnTo>
                    <a:pt x="251783" y="405956"/>
                  </a:lnTo>
                  <a:lnTo>
                    <a:pt x="246259" y="409670"/>
                  </a:lnTo>
                  <a:cubicBezTo>
                    <a:pt x="199015" y="441008"/>
                    <a:pt x="119481" y="441960"/>
                    <a:pt x="54425" y="416243"/>
                  </a:cubicBezTo>
                  <a:lnTo>
                    <a:pt x="50615" y="414719"/>
                  </a:lnTo>
                  <a:lnTo>
                    <a:pt x="21754" y="475774"/>
                  </a:lnTo>
                  <a:lnTo>
                    <a:pt x="20897" y="477679"/>
                  </a:lnTo>
                  <a:cubicBezTo>
                    <a:pt x="18420" y="484251"/>
                    <a:pt x="18325" y="491490"/>
                    <a:pt x="20802" y="498158"/>
                  </a:cubicBezTo>
                  <a:cubicBezTo>
                    <a:pt x="22040" y="501396"/>
                    <a:pt x="24707" y="503682"/>
                    <a:pt x="27945" y="504444"/>
                  </a:cubicBezTo>
                  <a:lnTo>
                    <a:pt x="29184" y="504635"/>
                  </a:lnTo>
                  <a:lnTo>
                    <a:pt x="30327" y="504730"/>
                  </a:lnTo>
                  <a:lnTo>
                    <a:pt x="456570" y="504730"/>
                  </a:lnTo>
                  <a:lnTo>
                    <a:pt x="457714" y="504635"/>
                  </a:lnTo>
                  <a:cubicBezTo>
                    <a:pt x="461524" y="504254"/>
                    <a:pt x="464762" y="501682"/>
                    <a:pt x="466095" y="498062"/>
                  </a:cubicBezTo>
                  <a:cubicBezTo>
                    <a:pt x="468382" y="492157"/>
                    <a:pt x="468572" y="485585"/>
                    <a:pt x="466667" y="479584"/>
                  </a:cubicBezTo>
                  <a:lnTo>
                    <a:pt x="466000" y="477584"/>
                  </a:lnTo>
                  <a:lnTo>
                    <a:pt x="465143" y="475679"/>
                  </a:lnTo>
                  <a:lnTo>
                    <a:pt x="423519" y="387477"/>
                  </a:lnTo>
                  <a:cubicBezTo>
                    <a:pt x="365416" y="373190"/>
                    <a:pt x="295979" y="378714"/>
                    <a:pt x="254641" y="404146"/>
                  </a:cubicBezTo>
                  <a:close/>
                  <a:moveTo>
                    <a:pt x="305504" y="257175"/>
                  </a:moveTo>
                  <a:cubicBezTo>
                    <a:pt x="287121" y="257175"/>
                    <a:pt x="272167" y="272129"/>
                    <a:pt x="272167" y="290513"/>
                  </a:cubicBezTo>
                  <a:cubicBezTo>
                    <a:pt x="272167" y="308896"/>
                    <a:pt x="287121" y="323850"/>
                    <a:pt x="305504" y="323850"/>
                  </a:cubicBezTo>
                  <a:cubicBezTo>
                    <a:pt x="323887" y="323850"/>
                    <a:pt x="338842" y="308896"/>
                    <a:pt x="338842" y="290513"/>
                  </a:cubicBezTo>
                  <a:cubicBezTo>
                    <a:pt x="338842" y="272129"/>
                    <a:pt x="323887" y="257175"/>
                    <a:pt x="305504" y="257175"/>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9" name="ïŝ1îḑê">
              <a:extLst>
                <a:ext uri="{FF2B5EF4-FFF2-40B4-BE49-F238E27FC236}">
                  <a16:creationId xmlns:a16="http://schemas.microsoft.com/office/drawing/2014/main" id="{9B7FA4E2-81E4-48A0-9B26-CC2625CCAA89}"/>
                </a:ext>
              </a:extLst>
            </p:cNvPr>
            <p:cNvSpPr/>
            <p:nvPr/>
          </p:nvSpPr>
          <p:spPr bwMode="auto">
            <a:xfrm>
              <a:off x="4317507" y="2775151"/>
              <a:ext cx="704952" cy="1730825"/>
            </a:xfrm>
            <a:custGeom>
              <a:avLst/>
              <a:gdLst>
                <a:gd name="T0" fmla="*/ 129 w 168"/>
                <a:gd name="T1" fmla="*/ 209 h 419"/>
                <a:gd name="T2" fmla="*/ 167 w 168"/>
                <a:gd name="T3" fmla="*/ 65 h 419"/>
                <a:gd name="T4" fmla="*/ 55 w 168"/>
                <a:gd name="T5" fmla="*/ 0 h 419"/>
                <a:gd name="T6" fmla="*/ 0 w 168"/>
                <a:gd name="T7" fmla="*/ 209 h 419"/>
                <a:gd name="T8" fmla="*/ 56 w 168"/>
                <a:gd name="T9" fmla="*/ 419 h 419"/>
                <a:gd name="T10" fmla="*/ 168 w 168"/>
                <a:gd name="T11" fmla="*/ 355 h 419"/>
                <a:gd name="T12" fmla="*/ 129 w 168"/>
                <a:gd name="T13" fmla="*/ 209 h 419"/>
              </a:gdLst>
              <a:ahLst/>
              <a:cxnLst>
                <a:cxn ang="0">
                  <a:pos x="T0" y="T1"/>
                </a:cxn>
                <a:cxn ang="0">
                  <a:pos x="T2" y="T3"/>
                </a:cxn>
                <a:cxn ang="0">
                  <a:pos x="T4" y="T5"/>
                </a:cxn>
                <a:cxn ang="0">
                  <a:pos x="T6" y="T7"/>
                </a:cxn>
                <a:cxn ang="0">
                  <a:pos x="T8" y="T9"/>
                </a:cxn>
                <a:cxn ang="0">
                  <a:pos x="T10" y="T11"/>
                </a:cxn>
                <a:cxn ang="0">
                  <a:pos x="T12" y="T13"/>
                </a:cxn>
              </a:cxnLst>
              <a:rect l="0" t="0" r="r" b="b"/>
              <a:pathLst>
                <a:path w="168" h="419">
                  <a:moveTo>
                    <a:pt x="129" y="209"/>
                  </a:moveTo>
                  <a:cubicBezTo>
                    <a:pt x="129" y="157"/>
                    <a:pt x="143" y="108"/>
                    <a:pt x="167" y="65"/>
                  </a:cubicBezTo>
                  <a:cubicBezTo>
                    <a:pt x="55" y="0"/>
                    <a:pt x="55" y="0"/>
                    <a:pt x="55" y="0"/>
                  </a:cubicBezTo>
                  <a:cubicBezTo>
                    <a:pt x="20" y="62"/>
                    <a:pt x="0" y="133"/>
                    <a:pt x="0" y="209"/>
                  </a:cubicBezTo>
                  <a:cubicBezTo>
                    <a:pt x="0" y="286"/>
                    <a:pt x="21" y="357"/>
                    <a:pt x="56" y="419"/>
                  </a:cubicBezTo>
                  <a:cubicBezTo>
                    <a:pt x="168" y="355"/>
                    <a:pt x="168" y="355"/>
                    <a:pt x="168" y="355"/>
                  </a:cubicBezTo>
                  <a:cubicBezTo>
                    <a:pt x="143" y="312"/>
                    <a:pt x="129" y="262"/>
                    <a:pt x="129" y="20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10" name="ï$lîḓé">
              <a:extLst>
                <a:ext uri="{FF2B5EF4-FFF2-40B4-BE49-F238E27FC236}">
                  <a16:creationId xmlns:a16="http://schemas.microsoft.com/office/drawing/2014/main" id="{B801662F-0666-4DD4-95A7-52DF04A4C420}"/>
                </a:ext>
              </a:extLst>
            </p:cNvPr>
            <p:cNvSpPr/>
            <p:nvPr/>
          </p:nvSpPr>
          <p:spPr bwMode="auto">
            <a:xfrm>
              <a:off x="4565247" y="4262265"/>
              <a:ext cx="1517996" cy="1127252"/>
            </a:xfrm>
            <a:custGeom>
              <a:avLst/>
              <a:gdLst>
                <a:gd name="T0" fmla="*/ 112 w 362"/>
                <a:gd name="T1" fmla="*/ 0 h 273"/>
                <a:gd name="T2" fmla="*/ 0 w 362"/>
                <a:gd name="T3" fmla="*/ 64 h 273"/>
                <a:gd name="T4" fmla="*/ 362 w 362"/>
                <a:gd name="T5" fmla="*/ 273 h 273"/>
                <a:gd name="T6" fmla="*/ 362 w 362"/>
                <a:gd name="T7" fmla="*/ 144 h 273"/>
                <a:gd name="T8" fmla="*/ 112 w 362"/>
                <a:gd name="T9" fmla="*/ 0 h 273"/>
              </a:gdLst>
              <a:ahLst/>
              <a:cxnLst>
                <a:cxn ang="0">
                  <a:pos x="T0" y="T1"/>
                </a:cxn>
                <a:cxn ang="0">
                  <a:pos x="T2" y="T3"/>
                </a:cxn>
                <a:cxn ang="0">
                  <a:pos x="T4" y="T5"/>
                </a:cxn>
                <a:cxn ang="0">
                  <a:pos x="T6" y="T7"/>
                </a:cxn>
                <a:cxn ang="0">
                  <a:pos x="T8" y="T9"/>
                </a:cxn>
              </a:cxnLst>
              <a:rect l="0" t="0" r="r" b="b"/>
              <a:pathLst>
                <a:path w="362" h="273">
                  <a:moveTo>
                    <a:pt x="112" y="0"/>
                  </a:moveTo>
                  <a:cubicBezTo>
                    <a:pt x="0" y="64"/>
                    <a:pt x="0" y="64"/>
                    <a:pt x="0" y="64"/>
                  </a:cubicBezTo>
                  <a:cubicBezTo>
                    <a:pt x="73" y="189"/>
                    <a:pt x="208" y="272"/>
                    <a:pt x="362" y="273"/>
                  </a:cubicBezTo>
                  <a:cubicBezTo>
                    <a:pt x="362" y="144"/>
                    <a:pt x="362" y="144"/>
                    <a:pt x="362" y="144"/>
                  </a:cubicBezTo>
                  <a:cubicBezTo>
                    <a:pt x="256" y="143"/>
                    <a:pt x="163" y="85"/>
                    <a:pt x="11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11" name="ïṣlïḑê">
              <a:extLst>
                <a:ext uri="{FF2B5EF4-FFF2-40B4-BE49-F238E27FC236}">
                  <a16:creationId xmlns:a16="http://schemas.microsoft.com/office/drawing/2014/main" id="{C8284443-5288-409C-A89A-F2E7570431A2}"/>
                </a:ext>
              </a:extLst>
            </p:cNvPr>
            <p:cNvSpPr/>
            <p:nvPr/>
          </p:nvSpPr>
          <p:spPr bwMode="auto">
            <a:xfrm>
              <a:off x="6108756" y="4262265"/>
              <a:ext cx="1522696" cy="1127252"/>
            </a:xfrm>
            <a:custGeom>
              <a:avLst/>
              <a:gdLst>
                <a:gd name="T0" fmla="*/ 0 w 363"/>
                <a:gd name="T1" fmla="*/ 144 h 273"/>
                <a:gd name="T2" fmla="*/ 0 w 363"/>
                <a:gd name="T3" fmla="*/ 273 h 273"/>
                <a:gd name="T4" fmla="*/ 363 w 363"/>
                <a:gd name="T5" fmla="*/ 64 h 273"/>
                <a:gd name="T6" fmla="*/ 251 w 363"/>
                <a:gd name="T7" fmla="*/ 0 h 273"/>
                <a:gd name="T8" fmla="*/ 0 w 363"/>
                <a:gd name="T9" fmla="*/ 144 h 273"/>
              </a:gdLst>
              <a:ahLst/>
              <a:cxnLst>
                <a:cxn ang="0">
                  <a:pos x="T0" y="T1"/>
                </a:cxn>
                <a:cxn ang="0">
                  <a:pos x="T2" y="T3"/>
                </a:cxn>
                <a:cxn ang="0">
                  <a:pos x="T4" y="T5"/>
                </a:cxn>
                <a:cxn ang="0">
                  <a:pos x="T6" y="T7"/>
                </a:cxn>
                <a:cxn ang="0">
                  <a:pos x="T8" y="T9"/>
                </a:cxn>
              </a:cxnLst>
              <a:rect l="0" t="0" r="r" b="b"/>
              <a:pathLst>
                <a:path w="363" h="273">
                  <a:moveTo>
                    <a:pt x="0" y="144"/>
                  </a:moveTo>
                  <a:cubicBezTo>
                    <a:pt x="0" y="273"/>
                    <a:pt x="0" y="273"/>
                    <a:pt x="0" y="273"/>
                  </a:cubicBezTo>
                  <a:cubicBezTo>
                    <a:pt x="155" y="272"/>
                    <a:pt x="289" y="189"/>
                    <a:pt x="363" y="64"/>
                  </a:cubicBezTo>
                  <a:cubicBezTo>
                    <a:pt x="251" y="0"/>
                    <a:pt x="251" y="0"/>
                    <a:pt x="251" y="0"/>
                  </a:cubicBezTo>
                  <a:cubicBezTo>
                    <a:pt x="200" y="86"/>
                    <a:pt x="107" y="143"/>
                    <a:pt x="0"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12" name="iSlîḍè">
              <a:extLst>
                <a:ext uri="{FF2B5EF4-FFF2-40B4-BE49-F238E27FC236}">
                  <a16:creationId xmlns:a16="http://schemas.microsoft.com/office/drawing/2014/main" id="{4C55F210-54D4-4167-89E7-29D99189BA19}"/>
                </a:ext>
              </a:extLst>
            </p:cNvPr>
            <p:cNvSpPr/>
            <p:nvPr/>
          </p:nvSpPr>
          <p:spPr bwMode="auto">
            <a:xfrm>
              <a:off x="7174240" y="2775151"/>
              <a:ext cx="700253" cy="1734854"/>
            </a:xfrm>
            <a:custGeom>
              <a:avLst/>
              <a:gdLst>
                <a:gd name="T0" fmla="*/ 112 w 167"/>
                <a:gd name="T1" fmla="*/ 0 h 420"/>
                <a:gd name="T2" fmla="*/ 0 w 167"/>
                <a:gd name="T3" fmla="*/ 65 h 420"/>
                <a:gd name="T4" fmla="*/ 38 w 167"/>
                <a:gd name="T5" fmla="*/ 209 h 420"/>
                <a:gd name="T6" fmla="*/ 0 w 167"/>
                <a:gd name="T7" fmla="*/ 355 h 420"/>
                <a:gd name="T8" fmla="*/ 112 w 167"/>
                <a:gd name="T9" fmla="*/ 420 h 420"/>
                <a:gd name="T10" fmla="*/ 167 w 167"/>
                <a:gd name="T11" fmla="*/ 209 h 420"/>
                <a:gd name="T12" fmla="*/ 112 w 167"/>
                <a:gd name="T13" fmla="*/ 0 h 420"/>
              </a:gdLst>
              <a:ahLst/>
              <a:cxnLst>
                <a:cxn ang="0">
                  <a:pos x="T0" y="T1"/>
                </a:cxn>
                <a:cxn ang="0">
                  <a:pos x="T2" y="T3"/>
                </a:cxn>
                <a:cxn ang="0">
                  <a:pos x="T4" y="T5"/>
                </a:cxn>
                <a:cxn ang="0">
                  <a:pos x="T6" y="T7"/>
                </a:cxn>
                <a:cxn ang="0">
                  <a:pos x="T8" y="T9"/>
                </a:cxn>
                <a:cxn ang="0">
                  <a:pos x="T10" y="T11"/>
                </a:cxn>
                <a:cxn ang="0">
                  <a:pos x="T12" y="T13"/>
                </a:cxn>
              </a:cxnLst>
              <a:rect l="0" t="0" r="r" b="b"/>
              <a:pathLst>
                <a:path w="167" h="420">
                  <a:moveTo>
                    <a:pt x="112" y="0"/>
                  </a:moveTo>
                  <a:cubicBezTo>
                    <a:pt x="0" y="65"/>
                    <a:pt x="0" y="65"/>
                    <a:pt x="0" y="65"/>
                  </a:cubicBezTo>
                  <a:cubicBezTo>
                    <a:pt x="25" y="107"/>
                    <a:pt x="38" y="157"/>
                    <a:pt x="38" y="209"/>
                  </a:cubicBezTo>
                  <a:cubicBezTo>
                    <a:pt x="38" y="262"/>
                    <a:pt x="24" y="312"/>
                    <a:pt x="0" y="355"/>
                  </a:cubicBezTo>
                  <a:cubicBezTo>
                    <a:pt x="112" y="420"/>
                    <a:pt x="112" y="420"/>
                    <a:pt x="112" y="420"/>
                  </a:cubicBezTo>
                  <a:cubicBezTo>
                    <a:pt x="147" y="358"/>
                    <a:pt x="167" y="286"/>
                    <a:pt x="167" y="209"/>
                  </a:cubicBezTo>
                  <a:cubicBezTo>
                    <a:pt x="167" y="133"/>
                    <a:pt x="147" y="62"/>
                    <a:pt x="11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nvGrpSpPr>
            <p:cNvPr id="113" name="iṡľîḍe">
              <a:extLst>
                <a:ext uri="{FF2B5EF4-FFF2-40B4-BE49-F238E27FC236}">
                  <a16:creationId xmlns:a16="http://schemas.microsoft.com/office/drawing/2014/main" id="{86D0015F-28E3-4AA0-AB24-F129A9B619B0}"/>
                </a:ext>
              </a:extLst>
            </p:cNvPr>
            <p:cNvGrpSpPr/>
            <p:nvPr/>
          </p:nvGrpSpPr>
          <p:grpSpPr>
            <a:xfrm>
              <a:off x="4561219" y="1887583"/>
              <a:ext cx="1522025" cy="1135309"/>
              <a:chOff x="4476299" y="1790701"/>
              <a:chExt cx="1606239" cy="1198126"/>
            </a:xfrm>
          </p:grpSpPr>
          <p:sp>
            <p:nvSpPr>
              <p:cNvPr id="115" name="ïṧlíḓé">
                <a:extLst>
                  <a:ext uri="{FF2B5EF4-FFF2-40B4-BE49-F238E27FC236}">
                    <a16:creationId xmlns:a16="http://schemas.microsoft.com/office/drawing/2014/main" id="{F2C08145-0172-4858-9ECB-58D9CBDF32BA}"/>
                  </a:ext>
                </a:extLst>
              </p:cNvPr>
              <p:cNvSpPr/>
              <p:nvPr/>
            </p:nvSpPr>
            <p:spPr bwMode="auto">
              <a:xfrm>
                <a:off x="4476299" y="1790701"/>
                <a:ext cx="1606239" cy="1198126"/>
              </a:xfrm>
              <a:custGeom>
                <a:avLst/>
                <a:gdLst>
                  <a:gd name="T0" fmla="*/ 363 w 363"/>
                  <a:gd name="T1" fmla="*/ 129 h 275"/>
                  <a:gd name="T2" fmla="*/ 363 w 363"/>
                  <a:gd name="T3" fmla="*/ 0 h 275"/>
                  <a:gd name="T4" fmla="*/ 0 w 363"/>
                  <a:gd name="T5" fmla="*/ 211 h 275"/>
                  <a:gd name="T6" fmla="*/ 112 w 363"/>
                  <a:gd name="T7" fmla="*/ 275 h 275"/>
                  <a:gd name="T8" fmla="*/ 363 w 363"/>
                  <a:gd name="T9" fmla="*/ 129 h 275"/>
                </a:gdLst>
                <a:ahLst/>
                <a:cxnLst>
                  <a:cxn ang="0">
                    <a:pos x="T0" y="T1"/>
                  </a:cxn>
                  <a:cxn ang="0">
                    <a:pos x="T2" y="T3"/>
                  </a:cxn>
                  <a:cxn ang="0">
                    <a:pos x="T4" y="T5"/>
                  </a:cxn>
                  <a:cxn ang="0">
                    <a:pos x="T6" y="T7"/>
                  </a:cxn>
                  <a:cxn ang="0">
                    <a:pos x="T8" y="T9"/>
                  </a:cxn>
                </a:cxnLst>
                <a:rect l="0" t="0" r="r" b="b"/>
                <a:pathLst>
                  <a:path w="363" h="275">
                    <a:moveTo>
                      <a:pt x="363" y="129"/>
                    </a:moveTo>
                    <a:cubicBezTo>
                      <a:pt x="363" y="0"/>
                      <a:pt x="363" y="0"/>
                      <a:pt x="363" y="0"/>
                    </a:cubicBezTo>
                    <a:cubicBezTo>
                      <a:pt x="208" y="1"/>
                      <a:pt x="73" y="86"/>
                      <a:pt x="0" y="211"/>
                    </a:cubicBezTo>
                    <a:cubicBezTo>
                      <a:pt x="112" y="275"/>
                      <a:pt x="112" y="275"/>
                      <a:pt x="112" y="275"/>
                    </a:cubicBezTo>
                    <a:cubicBezTo>
                      <a:pt x="163" y="189"/>
                      <a:pt x="256" y="130"/>
                      <a:pt x="363" y="129"/>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16" name="ïṩļîdê">
                <a:extLst>
                  <a:ext uri="{FF2B5EF4-FFF2-40B4-BE49-F238E27FC236}">
                    <a16:creationId xmlns:a16="http://schemas.microsoft.com/office/drawing/2014/main" id="{1C8604E5-5ACB-452F-8676-51ECDD159F41}"/>
                  </a:ext>
                </a:extLst>
              </p:cNvPr>
              <p:cNvSpPr/>
              <p:nvPr/>
            </p:nvSpPr>
            <p:spPr>
              <a:xfrm>
                <a:off x="4957018" y="2235261"/>
                <a:ext cx="325192" cy="258949"/>
              </a:xfrm>
              <a:custGeom>
                <a:avLst/>
                <a:gdLst>
                  <a:gd name="connsiteX0" fmla="*/ 485775 w 514350"/>
                  <a:gd name="connsiteY0" fmla="*/ 0 h 409575"/>
                  <a:gd name="connsiteX1" fmla="*/ 514350 w 514350"/>
                  <a:gd name="connsiteY1" fmla="*/ 28575 h 409575"/>
                  <a:gd name="connsiteX2" fmla="*/ 514350 w 514350"/>
                  <a:gd name="connsiteY2" fmla="*/ 323850 h 409575"/>
                  <a:gd name="connsiteX3" fmla="*/ 485775 w 514350"/>
                  <a:gd name="connsiteY3" fmla="*/ 352425 h 409575"/>
                  <a:gd name="connsiteX4" fmla="*/ 191167 w 514350"/>
                  <a:gd name="connsiteY4" fmla="*/ 352425 h 409575"/>
                  <a:gd name="connsiteX5" fmla="*/ 114395 w 514350"/>
                  <a:gd name="connsiteY5" fmla="*/ 409575 h 409575"/>
                  <a:gd name="connsiteX6" fmla="*/ 114395 w 514350"/>
                  <a:gd name="connsiteY6" fmla="*/ 352425 h 409575"/>
                  <a:gd name="connsiteX7" fmla="*/ 28575 w 514350"/>
                  <a:gd name="connsiteY7" fmla="*/ 352425 h 409575"/>
                  <a:gd name="connsiteX8" fmla="*/ 0 w 514350"/>
                  <a:gd name="connsiteY8" fmla="*/ 323850 h 409575"/>
                  <a:gd name="connsiteX9" fmla="*/ 0 w 514350"/>
                  <a:gd name="connsiteY9" fmla="*/ 28575 h 409575"/>
                  <a:gd name="connsiteX10" fmla="*/ 28575 w 514350"/>
                  <a:gd name="connsiteY10" fmla="*/ 0 h 409575"/>
                  <a:gd name="connsiteX11" fmla="*/ 485775 w 514350"/>
                  <a:gd name="connsiteY11" fmla="*/ 0 h 409575"/>
                  <a:gd name="connsiteX12" fmla="*/ 123825 w 514350"/>
                  <a:gd name="connsiteY12" fmla="*/ 142875 h 409575"/>
                  <a:gd name="connsiteX13" fmla="*/ 90488 w 514350"/>
                  <a:gd name="connsiteY13" fmla="*/ 176213 h 409575"/>
                  <a:gd name="connsiteX14" fmla="*/ 123825 w 514350"/>
                  <a:gd name="connsiteY14" fmla="*/ 209550 h 409575"/>
                  <a:gd name="connsiteX15" fmla="*/ 157163 w 514350"/>
                  <a:gd name="connsiteY15" fmla="*/ 176213 h 409575"/>
                  <a:gd name="connsiteX16" fmla="*/ 123825 w 514350"/>
                  <a:gd name="connsiteY16" fmla="*/ 142875 h 409575"/>
                  <a:gd name="connsiteX17" fmla="*/ 257175 w 514350"/>
                  <a:gd name="connsiteY17" fmla="*/ 142875 h 409575"/>
                  <a:gd name="connsiteX18" fmla="*/ 223838 w 514350"/>
                  <a:gd name="connsiteY18" fmla="*/ 176213 h 409575"/>
                  <a:gd name="connsiteX19" fmla="*/ 257175 w 514350"/>
                  <a:gd name="connsiteY19" fmla="*/ 209550 h 409575"/>
                  <a:gd name="connsiteX20" fmla="*/ 290513 w 514350"/>
                  <a:gd name="connsiteY20" fmla="*/ 176213 h 409575"/>
                  <a:gd name="connsiteX21" fmla="*/ 257175 w 514350"/>
                  <a:gd name="connsiteY21" fmla="*/ 142875 h 409575"/>
                  <a:gd name="connsiteX22" fmla="*/ 390525 w 514350"/>
                  <a:gd name="connsiteY22" fmla="*/ 142875 h 409575"/>
                  <a:gd name="connsiteX23" fmla="*/ 357188 w 514350"/>
                  <a:gd name="connsiteY23" fmla="*/ 176213 h 409575"/>
                  <a:gd name="connsiteX24" fmla="*/ 390525 w 514350"/>
                  <a:gd name="connsiteY24" fmla="*/ 209550 h 409575"/>
                  <a:gd name="connsiteX25" fmla="*/ 423863 w 514350"/>
                  <a:gd name="connsiteY25" fmla="*/ 176213 h 409575"/>
                  <a:gd name="connsiteX26" fmla="*/ 390525 w 514350"/>
                  <a:gd name="connsiteY26" fmla="*/ 1428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5775" y="0"/>
                    </a:moveTo>
                    <a:cubicBezTo>
                      <a:pt x="501586" y="0"/>
                      <a:pt x="514350" y="12764"/>
                      <a:pt x="514350" y="28575"/>
                    </a:cubicBezTo>
                    <a:lnTo>
                      <a:pt x="514350" y="323850"/>
                    </a:lnTo>
                    <a:cubicBezTo>
                      <a:pt x="514350" y="339662"/>
                      <a:pt x="501586" y="352425"/>
                      <a:pt x="485775" y="352425"/>
                    </a:cubicBezTo>
                    <a:lnTo>
                      <a:pt x="191167" y="352425"/>
                    </a:lnTo>
                    <a:lnTo>
                      <a:pt x="114395" y="409575"/>
                    </a:lnTo>
                    <a:lnTo>
                      <a:pt x="114395" y="352425"/>
                    </a:lnTo>
                    <a:lnTo>
                      <a:pt x="28575" y="352425"/>
                    </a:lnTo>
                    <a:cubicBezTo>
                      <a:pt x="12764" y="352425"/>
                      <a:pt x="0" y="339662"/>
                      <a:pt x="0" y="323850"/>
                    </a:cubicBezTo>
                    <a:lnTo>
                      <a:pt x="0" y="28575"/>
                    </a:lnTo>
                    <a:cubicBezTo>
                      <a:pt x="0" y="12764"/>
                      <a:pt x="12764" y="0"/>
                      <a:pt x="28575" y="0"/>
                    </a:cubicBezTo>
                    <a:lnTo>
                      <a:pt x="485775" y="0"/>
                    </a:lnTo>
                    <a:close/>
                    <a:moveTo>
                      <a:pt x="123825" y="142875"/>
                    </a:moveTo>
                    <a:cubicBezTo>
                      <a:pt x="105442" y="142875"/>
                      <a:pt x="90488" y="157829"/>
                      <a:pt x="90488" y="176213"/>
                    </a:cubicBezTo>
                    <a:cubicBezTo>
                      <a:pt x="90488" y="194596"/>
                      <a:pt x="105442" y="209550"/>
                      <a:pt x="123825" y="209550"/>
                    </a:cubicBezTo>
                    <a:cubicBezTo>
                      <a:pt x="142208" y="209550"/>
                      <a:pt x="157163" y="194596"/>
                      <a:pt x="157163" y="176213"/>
                    </a:cubicBezTo>
                    <a:cubicBezTo>
                      <a:pt x="157163" y="157829"/>
                      <a:pt x="142208" y="142875"/>
                      <a:pt x="123825" y="142875"/>
                    </a:cubicBezTo>
                    <a:close/>
                    <a:moveTo>
                      <a:pt x="257175" y="142875"/>
                    </a:moveTo>
                    <a:cubicBezTo>
                      <a:pt x="238792" y="142875"/>
                      <a:pt x="223838" y="157829"/>
                      <a:pt x="223838" y="176213"/>
                    </a:cubicBezTo>
                    <a:cubicBezTo>
                      <a:pt x="223838" y="194596"/>
                      <a:pt x="238792" y="209550"/>
                      <a:pt x="257175" y="209550"/>
                    </a:cubicBezTo>
                    <a:cubicBezTo>
                      <a:pt x="275558" y="209550"/>
                      <a:pt x="290513" y="194596"/>
                      <a:pt x="290513" y="176213"/>
                    </a:cubicBezTo>
                    <a:cubicBezTo>
                      <a:pt x="290513" y="157829"/>
                      <a:pt x="275558" y="142875"/>
                      <a:pt x="257175" y="142875"/>
                    </a:cubicBezTo>
                    <a:close/>
                    <a:moveTo>
                      <a:pt x="390525" y="142875"/>
                    </a:moveTo>
                    <a:cubicBezTo>
                      <a:pt x="372142" y="142875"/>
                      <a:pt x="357188" y="157829"/>
                      <a:pt x="357188" y="176213"/>
                    </a:cubicBezTo>
                    <a:cubicBezTo>
                      <a:pt x="357188" y="194596"/>
                      <a:pt x="372142" y="209550"/>
                      <a:pt x="390525" y="209550"/>
                    </a:cubicBezTo>
                    <a:cubicBezTo>
                      <a:pt x="408908" y="209550"/>
                      <a:pt x="423863" y="194596"/>
                      <a:pt x="423863" y="176213"/>
                    </a:cubicBezTo>
                    <a:cubicBezTo>
                      <a:pt x="423863" y="157829"/>
                      <a:pt x="408908" y="142875"/>
                      <a:pt x="390525" y="142875"/>
                    </a:cubicBezTo>
                    <a:close/>
                  </a:path>
                </a:pathLst>
              </a:custGeom>
              <a:solidFill>
                <a:schemeClr val="bg1"/>
              </a:solidFill>
              <a:ln w="19050">
                <a:noFill/>
                <a:prstDash val="sysDash"/>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40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800" b="1" dirty="0">
                  <a:solidFill>
                    <a:schemeClr val="lt1"/>
                  </a:solidFill>
                </a:endParaRPr>
              </a:p>
            </p:txBody>
          </p:sp>
        </p:grpSp>
        <p:sp>
          <p:nvSpPr>
            <p:cNvPr id="114" name="iṣlîḑè">
              <a:extLst>
                <a:ext uri="{FF2B5EF4-FFF2-40B4-BE49-F238E27FC236}">
                  <a16:creationId xmlns:a16="http://schemas.microsoft.com/office/drawing/2014/main" id="{379FA595-36A6-4D7F-BFEF-853663DD37B0}"/>
                </a:ext>
              </a:extLst>
            </p:cNvPr>
            <p:cNvSpPr/>
            <p:nvPr/>
          </p:nvSpPr>
          <p:spPr bwMode="auto">
            <a:xfrm>
              <a:off x="6108756" y="1887583"/>
              <a:ext cx="1522696" cy="1135309"/>
            </a:xfrm>
            <a:custGeom>
              <a:avLst/>
              <a:gdLst>
                <a:gd name="T0" fmla="*/ 252 w 363"/>
                <a:gd name="T1" fmla="*/ 275 h 275"/>
                <a:gd name="T2" fmla="*/ 363 w 363"/>
                <a:gd name="T3" fmla="*/ 210 h 275"/>
                <a:gd name="T4" fmla="*/ 0 w 363"/>
                <a:gd name="T5" fmla="*/ 0 h 275"/>
                <a:gd name="T6" fmla="*/ 0 w 363"/>
                <a:gd name="T7" fmla="*/ 129 h 275"/>
                <a:gd name="T8" fmla="*/ 252 w 363"/>
                <a:gd name="T9" fmla="*/ 275 h 275"/>
              </a:gdLst>
              <a:ahLst/>
              <a:cxnLst>
                <a:cxn ang="0">
                  <a:pos x="T0" y="T1"/>
                </a:cxn>
                <a:cxn ang="0">
                  <a:pos x="T2" y="T3"/>
                </a:cxn>
                <a:cxn ang="0">
                  <a:pos x="T4" y="T5"/>
                </a:cxn>
                <a:cxn ang="0">
                  <a:pos x="T6" y="T7"/>
                </a:cxn>
                <a:cxn ang="0">
                  <a:pos x="T8" y="T9"/>
                </a:cxn>
              </a:cxnLst>
              <a:rect l="0" t="0" r="r" b="b"/>
              <a:pathLst>
                <a:path w="363" h="275">
                  <a:moveTo>
                    <a:pt x="252" y="275"/>
                  </a:moveTo>
                  <a:cubicBezTo>
                    <a:pt x="363" y="210"/>
                    <a:pt x="363" y="210"/>
                    <a:pt x="363" y="210"/>
                  </a:cubicBezTo>
                  <a:cubicBezTo>
                    <a:pt x="290" y="85"/>
                    <a:pt x="155" y="1"/>
                    <a:pt x="0" y="0"/>
                  </a:cubicBezTo>
                  <a:cubicBezTo>
                    <a:pt x="0" y="129"/>
                    <a:pt x="0" y="129"/>
                    <a:pt x="0" y="129"/>
                  </a:cubicBezTo>
                  <a:cubicBezTo>
                    <a:pt x="107" y="130"/>
                    <a:pt x="201" y="189"/>
                    <a:pt x="252" y="275"/>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spTree>
    <p:custDataLst>
      <p:tags r:id="rId2"/>
    </p:custDataLst>
    <p:extLst>
      <p:ext uri="{BB962C8B-B14F-4D97-AF65-F5344CB8AC3E}">
        <p14:creationId xmlns:p14="http://schemas.microsoft.com/office/powerpoint/2010/main" val="6218362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îšlïḑè"/>
        <p:cNvGrpSpPr/>
        <p:nvPr/>
      </p:nvGrpSpPr>
      <p:grpSpPr>
        <a:xfrm>
          <a:off x="0" y="0"/>
          <a:ext cx="0" cy="0"/>
          <a:chOff x="0" y="0"/>
          <a:chExt cx="0" cy="0"/>
        </a:xfrm>
      </p:grpSpPr>
      <p:sp>
        <p:nvSpPr>
          <p:cNvPr id="2" name="îṡľïḍe">
            <a:extLst>
              <a:ext uri="{FF2B5EF4-FFF2-40B4-BE49-F238E27FC236}">
                <a16:creationId xmlns:a16="http://schemas.microsoft.com/office/drawing/2014/main" id="{7D4F75A2-B915-4006-AD3A-1B6ACD50DFBD}"/>
              </a:ext>
            </a:extLst>
          </p:cNvPr>
          <p:cNvSpPr>
            <a:spLocks noGrp="1"/>
          </p:cNvSpPr>
          <p:nvPr>
            <p:ph type="title"/>
          </p:nvPr>
        </p:nvSpPr>
        <p:spPr/>
        <p:txBody>
          <a:bodyPr/>
          <a:lstStyle/>
          <a:p>
            <a:r>
              <a:rPr lang="en-US" altLang="zh-CN" dirty="0"/>
              <a:t>Click </a:t>
            </a:r>
            <a:r>
              <a:rPr lang="en-US" altLang="zh-CN"/>
              <a:t>to edit</a:t>
            </a:r>
            <a:r>
              <a:rPr lang="en-US" altLang="zh-CN" sz="100"/>
              <a:t> </a:t>
            </a:r>
            <a:r>
              <a:rPr lang="en-US" altLang="zh-CN"/>
              <a:t> </a:t>
            </a:r>
            <a:r>
              <a:rPr lang="en-US" altLang="zh-CN" dirty="0"/>
              <a:t>Master title style</a:t>
            </a:r>
            <a:endParaRPr lang="zh-CN" altLang="en-US" dirty="0"/>
          </a:p>
        </p:txBody>
      </p:sp>
      <p:sp>
        <p:nvSpPr>
          <p:cNvPr id="3" name="íṡḷiḓe">
            <a:extLst>
              <a:ext uri="{FF2B5EF4-FFF2-40B4-BE49-F238E27FC236}">
                <a16:creationId xmlns:a16="http://schemas.microsoft.com/office/drawing/2014/main" id="{790998E5-1DD3-4190-8850-A5F5DC55D335}"/>
              </a:ext>
            </a:extLst>
          </p:cNvPr>
          <p:cNvSpPr>
            <a:spLocks noGrp="1"/>
          </p:cNvSpPr>
          <p:nvPr>
            <p:ph type="ftr" sz="quarter" idx="11"/>
          </p:nvPr>
        </p:nvSpPr>
        <p:spPr/>
        <p:txBody>
          <a:bodyPr/>
          <a:lstStyle/>
          <a:p>
            <a:r>
              <a:rPr lang="zh-CN" altLang="en-US"/>
              <a:t>请在插入菜单</a:t>
            </a:r>
            <a:r>
              <a:rPr lang="en-US" altLang="zh-CN"/>
              <a:t>—</a:t>
            </a:r>
            <a:r>
              <a:rPr lang="en-US" altLang="zh-CN" sz="100"/>
              <a:t> </a:t>
            </a:r>
            <a:r>
              <a:rPr lang="zh-CN" altLang="en-US"/>
              <a:t>页眉和页脚中修改此文本</a:t>
            </a:r>
            <a:endParaRPr lang="zh-CN" altLang="en-US" dirty="0"/>
          </a:p>
        </p:txBody>
      </p:sp>
      <p:sp>
        <p:nvSpPr>
          <p:cNvPr id="4" name="íŝḻîde">
            <a:extLst>
              <a:ext uri="{FF2B5EF4-FFF2-40B4-BE49-F238E27FC236}">
                <a16:creationId xmlns:a16="http://schemas.microsoft.com/office/drawing/2014/main" id="{137F9CB1-F6BE-4A24-8422-6BD6CD72ABB4}"/>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grpSp>
        <p:nvGrpSpPr>
          <p:cNvPr id="5" name="íŝḻîḍ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52A7C7D-79E6-49CF-9A14-8102C43DD6A5}"/>
              </a:ext>
            </a:extLst>
          </p:cNvPr>
          <p:cNvGrpSpPr>
            <a:grpSpLocks noChangeAspect="1"/>
          </p:cNvGrpSpPr>
          <p:nvPr>
            <p:custDataLst>
              <p:tags r:id="rId3"/>
            </p:custDataLst>
          </p:nvPr>
        </p:nvGrpSpPr>
        <p:grpSpPr>
          <a:xfrm>
            <a:off x="0" y="1231546"/>
            <a:ext cx="12192000" cy="5626454"/>
            <a:chOff x="0" y="1231546"/>
            <a:chExt cx="12192000" cy="5626454"/>
          </a:xfrm>
        </p:grpSpPr>
        <p:sp>
          <p:nvSpPr>
            <p:cNvPr id="6" name="ïṣḷïdé">
              <a:extLst>
                <a:ext uri="{FF2B5EF4-FFF2-40B4-BE49-F238E27FC236}">
                  <a16:creationId xmlns:a16="http://schemas.microsoft.com/office/drawing/2014/main" id="{18252BFB-9345-468E-84EC-120EA5BFAD46}"/>
                </a:ext>
              </a:extLst>
            </p:cNvPr>
            <p:cNvSpPr/>
            <p:nvPr/>
          </p:nvSpPr>
          <p:spPr>
            <a:xfrm>
              <a:off x="0" y="5295900"/>
              <a:ext cx="12192000" cy="1562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7" name="ïS1ïḑè">
              <a:extLst>
                <a:ext uri="{FF2B5EF4-FFF2-40B4-BE49-F238E27FC236}">
                  <a16:creationId xmlns:a16="http://schemas.microsoft.com/office/drawing/2014/main" id="{9DDD5D44-4134-42DE-8B44-2E72177AF3C7}"/>
                </a:ext>
              </a:extLst>
            </p:cNvPr>
            <p:cNvSpPr/>
            <p:nvPr/>
          </p:nvSpPr>
          <p:spPr>
            <a:xfrm>
              <a:off x="5668255" y="2832270"/>
              <a:ext cx="749644" cy="749644"/>
            </a:xfrm>
            <a:custGeom>
              <a:avLst/>
              <a:gdLst>
                <a:gd name="connsiteX0" fmla="*/ 83344 w 161925"/>
                <a:gd name="connsiteY0" fmla="*/ 159544 h 161925"/>
                <a:gd name="connsiteX1" fmla="*/ 159544 w 161925"/>
                <a:gd name="connsiteY1" fmla="*/ 83344 h 161925"/>
                <a:gd name="connsiteX2" fmla="*/ 83344 w 161925"/>
                <a:gd name="connsiteY2" fmla="*/ 7144 h 161925"/>
                <a:gd name="connsiteX3" fmla="*/ 7144 w 161925"/>
                <a:gd name="connsiteY3" fmla="*/ 83344 h 161925"/>
                <a:gd name="connsiteX4" fmla="*/ 83344 w 161925"/>
                <a:gd name="connsiteY4" fmla="*/ 1595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1925">
                  <a:moveTo>
                    <a:pt x="83344" y="159544"/>
                  </a:moveTo>
                  <a:cubicBezTo>
                    <a:pt x="125254" y="159544"/>
                    <a:pt x="159544" y="125254"/>
                    <a:pt x="159544" y="83344"/>
                  </a:cubicBezTo>
                  <a:cubicBezTo>
                    <a:pt x="159544" y="41434"/>
                    <a:pt x="125254" y="7144"/>
                    <a:pt x="83344" y="7144"/>
                  </a:cubicBezTo>
                  <a:cubicBezTo>
                    <a:pt x="41434" y="7144"/>
                    <a:pt x="7144" y="41434"/>
                    <a:pt x="7144" y="83344"/>
                  </a:cubicBezTo>
                  <a:cubicBezTo>
                    <a:pt x="7144" y="125254"/>
                    <a:pt x="41434" y="159544"/>
                    <a:pt x="83344" y="159544"/>
                  </a:cubicBezTo>
                </a:path>
              </a:pathLst>
            </a:custGeom>
            <a:solidFill>
              <a:schemeClr val="bg1">
                <a:lumMod val="50000"/>
              </a:schemeClr>
            </a:solidFill>
            <a:ln w="9525" cap="flat">
              <a:noFill/>
              <a:prstDash val="solid"/>
              <a:miter/>
            </a:ln>
          </p:spPr>
          <p:txBody>
            <a:bodyPr wrap="square" lIns="91440" tIns="45720" rIns="91440" bIns="45720" rtlCol="0" anchor="ctr">
              <a:normAutofit/>
            </a:bodyPr>
            <a:lstStyle/>
            <a:p>
              <a:endParaRPr lang="zh-CN" altLang="en-US"/>
            </a:p>
          </p:txBody>
        </p:sp>
        <p:sp>
          <p:nvSpPr>
            <p:cNvPr id="8" name="íšḻídé">
              <a:extLst>
                <a:ext uri="{FF2B5EF4-FFF2-40B4-BE49-F238E27FC236}">
                  <a16:creationId xmlns:a16="http://schemas.microsoft.com/office/drawing/2014/main" id="{BD49FDBA-C83A-44AD-8407-6D6ECED70C6D}"/>
                </a:ext>
              </a:extLst>
            </p:cNvPr>
            <p:cNvSpPr/>
            <p:nvPr/>
          </p:nvSpPr>
          <p:spPr>
            <a:xfrm>
              <a:off x="4995782" y="4292652"/>
              <a:ext cx="2116642" cy="1201633"/>
            </a:xfrm>
            <a:custGeom>
              <a:avLst/>
              <a:gdLst>
                <a:gd name="connsiteX0" fmla="*/ 0 w 2738183"/>
                <a:gd name="connsiteY0" fmla="*/ 0 h 1554487"/>
                <a:gd name="connsiteX1" fmla="*/ 2738183 w 2738183"/>
                <a:gd name="connsiteY1" fmla="*/ 0 h 1554487"/>
                <a:gd name="connsiteX2" fmla="*/ 2510001 w 2738183"/>
                <a:gd name="connsiteY2" fmla="*/ 684546 h 1554487"/>
                <a:gd name="connsiteX3" fmla="*/ 2167728 w 2738183"/>
                <a:gd name="connsiteY3" fmla="*/ 684546 h 1554487"/>
                <a:gd name="connsiteX4" fmla="*/ 2078503 w 2738183"/>
                <a:gd name="connsiteY4" fmla="*/ 1554487 h 1554487"/>
                <a:gd name="connsiteX5" fmla="*/ 659680 w 2738183"/>
                <a:gd name="connsiteY5" fmla="*/ 1554487 h 1554487"/>
                <a:gd name="connsiteX6" fmla="*/ 570455 w 2738183"/>
                <a:gd name="connsiteY6" fmla="*/ 684546 h 1554487"/>
                <a:gd name="connsiteX7" fmla="*/ 228182 w 2738183"/>
                <a:gd name="connsiteY7" fmla="*/ 684546 h 155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8183" h="1554487">
                  <a:moveTo>
                    <a:pt x="0" y="0"/>
                  </a:moveTo>
                  <a:lnTo>
                    <a:pt x="2738183" y="0"/>
                  </a:lnTo>
                  <a:lnTo>
                    <a:pt x="2510001" y="684546"/>
                  </a:lnTo>
                  <a:lnTo>
                    <a:pt x="2167728" y="684546"/>
                  </a:lnTo>
                  <a:lnTo>
                    <a:pt x="2078503" y="1554487"/>
                  </a:lnTo>
                  <a:lnTo>
                    <a:pt x="659680" y="1554487"/>
                  </a:lnTo>
                  <a:lnTo>
                    <a:pt x="570455" y="684546"/>
                  </a:lnTo>
                  <a:lnTo>
                    <a:pt x="228182" y="684546"/>
                  </a:lnTo>
                  <a:close/>
                </a:path>
              </a:pathLst>
            </a:custGeom>
            <a:solidFill>
              <a:schemeClr val="bg1">
                <a:lumMod val="95000"/>
              </a:schemeClr>
            </a:solidFill>
            <a:ln w="9525" cap="flat">
              <a:noFill/>
              <a:prstDash val="solid"/>
              <a:miter/>
            </a:ln>
          </p:spPr>
          <p:txBody>
            <a:bodyPr wrap="square" lIns="91440" tIns="45720" rIns="91440" bIns="45720" rtlCol="0" anchor="ctr">
              <a:normAutofit/>
            </a:bodyPr>
            <a:lstStyle/>
            <a:p>
              <a:endParaRPr lang="zh-CN" altLang="en-US"/>
            </a:p>
          </p:txBody>
        </p:sp>
        <p:sp>
          <p:nvSpPr>
            <p:cNvPr id="9" name="isḻidê">
              <a:extLst>
                <a:ext uri="{FF2B5EF4-FFF2-40B4-BE49-F238E27FC236}">
                  <a16:creationId xmlns:a16="http://schemas.microsoft.com/office/drawing/2014/main" id="{A225F335-3C74-4534-B7CD-1003FA2BA86E}"/>
                </a:ext>
              </a:extLst>
            </p:cNvPr>
            <p:cNvSpPr/>
            <p:nvPr/>
          </p:nvSpPr>
          <p:spPr>
            <a:xfrm>
              <a:off x="5262565" y="3626010"/>
              <a:ext cx="1587482" cy="573257"/>
            </a:xfrm>
            <a:custGeom>
              <a:avLst/>
              <a:gdLst>
                <a:gd name="connsiteX0" fmla="*/ 325279 w 342900"/>
                <a:gd name="connsiteY0" fmla="*/ 77629 h 123825"/>
                <a:gd name="connsiteX1" fmla="*/ 313849 w 342900"/>
                <a:gd name="connsiteY1" fmla="*/ 56674 h 123825"/>
                <a:gd name="connsiteX2" fmla="*/ 233839 w 342900"/>
                <a:gd name="connsiteY2" fmla="*/ 14764 h 123825"/>
                <a:gd name="connsiteX3" fmla="*/ 170974 w 342900"/>
                <a:gd name="connsiteY3" fmla="*/ 7144 h 123825"/>
                <a:gd name="connsiteX4" fmla="*/ 108109 w 342900"/>
                <a:gd name="connsiteY4" fmla="*/ 16669 h 123825"/>
                <a:gd name="connsiteX5" fmla="*/ 28099 w 342900"/>
                <a:gd name="connsiteY5" fmla="*/ 58579 h 123825"/>
                <a:gd name="connsiteX6" fmla="*/ 16669 w 342900"/>
                <a:gd name="connsiteY6" fmla="*/ 79534 h 123825"/>
                <a:gd name="connsiteX7" fmla="*/ 7144 w 342900"/>
                <a:gd name="connsiteY7" fmla="*/ 121444 h 123825"/>
                <a:gd name="connsiteX8" fmla="*/ 335756 w 342900"/>
                <a:gd name="connsiteY8" fmla="*/ 121444 h 123825"/>
                <a:gd name="connsiteX9" fmla="*/ 325279 w 342900"/>
                <a:gd name="connsiteY9" fmla="*/ 77629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3825">
                  <a:moveTo>
                    <a:pt x="325279" y="77629"/>
                  </a:moveTo>
                  <a:cubicBezTo>
                    <a:pt x="323374" y="70009"/>
                    <a:pt x="319564" y="62389"/>
                    <a:pt x="313849" y="56674"/>
                  </a:cubicBezTo>
                  <a:cubicBezTo>
                    <a:pt x="290989" y="37624"/>
                    <a:pt x="264319" y="24289"/>
                    <a:pt x="233839" y="14764"/>
                  </a:cubicBezTo>
                  <a:cubicBezTo>
                    <a:pt x="212884" y="10954"/>
                    <a:pt x="191929" y="7144"/>
                    <a:pt x="170974" y="7144"/>
                  </a:cubicBezTo>
                  <a:cubicBezTo>
                    <a:pt x="150019" y="7144"/>
                    <a:pt x="129064" y="10954"/>
                    <a:pt x="108109" y="16669"/>
                  </a:cubicBezTo>
                  <a:cubicBezTo>
                    <a:pt x="77629" y="24289"/>
                    <a:pt x="50959" y="39529"/>
                    <a:pt x="28099" y="58579"/>
                  </a:cubicBezTo>
                  <a:cubicBezTo>
                    <a:pt x="22384" y="64294"/>
                    <a:pt x="18574" y="71914"/>
                    <a:pt x="16669" y="79534"/>
                  </a:cubicBezTo>
                  <a:lnTo>
                    <a:pt x="7144" y="121444"/>
                  </a:lnTo>
                  <a:lnTo>
                    <a:pt x="335756" y="121444"/>
                  </a:lnTo>
                  <a:lnTo>
                    <a:pt x="325279" y="77629"/>
                  </a:lnTo>
                  <a:close/>
                </a:path>
              </a:pathLst>
            </a:custGeom>
            <a:solidFill>
              <a:schemeClr val="bg1">
                <a:lumMod val="50000"/>
              </a:schemeClr>
            </a:solidFill>
            <a:ln w="9525" cap="flat">
              <a:noFill/>
              <a:prstDash val="solid"/>
              <a:miter/>
            </a:ln>
          </p:spPr>
          <p:txBody>
            <a:bodyPr wrap="square" lIns="91440" tIns="45720" rIns="91440" bIns="45720" rtlCol="0" anchor="ctr">
              <a:normAutofit/>
            </a:bodyPr>
            <a:lstStyle/>
            <a:p>
              <a:endParaRPr lang="zh-CN" altLang="en-US"/>
            </a:p>
          </p:txBody>
        </p:sp>
        <p:sp>
          <p:nvSpPr>
            <p:cNvPr id="10" name="îSḷiḑê">
              <a:extLst>
                <a:ext uri="{FF2B5EF4-FFF2-40B4-BE49-F238E27FC236}">
                  <a16:creationId xmlns:a16="http://schemas.microsoft.com/office/drawing/2014/main" id="{C3BE01E3-A2FF-4C5F-ADAB-B3C92CE42601}"/>
                </a:ext>
              </a:extLst>
            </p:cNvPr>
            <p:cNvSpPr/>
            <p:nvPr/>
          </p:nvSpPr>
          <p:spPr>
            <a:xfrm>
              <a:off x="2683041" y="2024145"/>
              <a:ext cx="2908050" cy="792599"/>
            </a:xfrm>
            <a:custGeom>
              <a:avLst/>
              <a:gdLst>
                <a:gd name="connsiteX0" fmla="*/ 95545 w 2908050"/>
                <a:gd name="connsiteY0" fmla="*/ 0 h 792599"/>
                <a:gd name="connsiteX1" fmla="*/ 2812505 w 2908050"/>
                <a:gd name="connsiteY1" fmla="*/ 0 h 792599"/>
                <a:gd name="connsiteX2" fmla="*/ 2908050 w 2908050"/>
                <a:gd name="connsiteY2" fmla="*/ 95545 h 792599"/>
                <a:gd name="connsiteX3" fmla="*/ 2908050 w 2908050"/>
                <a:gd name="connsiteY3" fmla="*/ 477712 h 792599"/>
                <a:gd name="connsiteX4" fmla="*/ 2812505 w 2908050"/>
                <a:gd name="connsiteY4" fmla="*/ 573257 h 792599"/>
                <a:gd name="connsiteX5" fmla="*/ 2718697 w 2908050"/>
                <a:gd name="connsiteY5" fmla="*/ 573257 h 792599"/>
                <a:gd name="connsiteX6" fmla="*/ 2718697 w 2908050"/>
                <a:gd name="connsiteY6" fmla="*/ 792599 h 792599"/>
                <a:gd name="connsiteX7" fmla="*/ 2493800 w 2908050"/>
                <a:gd name="connsiteY7" fmla="*/ 573257 h 792599"/>
                <a:gd name="connsiteX8" fmla="*/ 95545 w 2908050"/>
                <a:gd name="connsiteY8" fmla="*/ 573257 h 792599"/>
                <a:gd name="connsiteX9" fmla="*/ 0 w 2908050"/>
                <a:gd name="connsiteY9" fmla="*/ 477712 h 792599"/>
                <a:gd name="connsiteX10" fmla="*/ 0 w 2908050"/>
                <a:gd name="connsiteY10" fmla="*/ 95545 h 792599"/>
                <a:gd name="connsiteX11" fmla="*/ 95545 w 2908050"/>
                <a:gd name="connsiteY11" fmla="*/ 0 h 792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08050" h="792599">
                  <a:moveTo>
                    <a:pt x="95545" y="0"/>
                  </a:moveTo>
                  <a:lnTo>
                    <a:pt x="2812505" y="0"/>
                  </a:lnTo>
                  <a:cubicBezTo>
                    <a:pt x="2865273" y="0"/>
                    <a:pt x="2908050" y="42777"/>
                    <a:pt x="2908050" y="95545"/>
                  </a:cubicBezTo>
                  <a:lnTo>
                    <a:pt x="2908050" y="477712"/>
                  </a:lnTo>
                  <a:cubicBezTo>
                    <a:pt x="2908050" y="530480"/>
                    <a:pt x="2865273" y="573257"/>
                    <a:pt x="2812505" y="573257"/>
                  </a:cubicBezTo>
                  <a:lnTo>
                    <a:pt x="2718697" y="573257"/>
                  </a:lnTo>
                  <a:lnTo>
                    <a:pt x="2718697" y="792599"/>
                  </a:lnTo>
                  <a:lnTo>
                    <a:pt x="2493800" y="573257"/>
                  </a:lnTo>
                  <a:lnTo>
                    <a:pt x="95545" y="573257"/>
                  </a:lnTo>
                  <a:cubicBezTo>
                    <a:pt x="42777" y="573257"/>
                    <a:pt x="0" y="530480"/>
                    <a:pt x="0" y="477712"/>
                  </a:cubicBezTo>
                  <a:lnTo>
                    <a:pt x="0" y="95545"/>
                  </a:lnTo>
                  <a:cubicBezTo>
                    <a:pt x="0" y="42777"/>
                    <a:pt x="42777" y="0"/>
                    <a:pt x="95545"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rmAutofit/>
            </a:bodyPr>
            <a:lstStyle/>
            <a:p>
              <a:pPr algn="ctr">
                <a:lnSpc>
                  <a:spcPct val="150000"/>
                </a:lnSpc>
              </a:pPr>
              <a:r>
                <a:rPr lang="en-US" altLang="zh-CN" sz="2000" b="1" i="1"/>
                <a:t>T</a:t>
              </a:r>
              <a:r>
                <a:rPr lang="en-US" altLang="zh-CN" sz="100" b="1" i="1"/>
                <a:t> </a:t>
              </a:r>
              <a:r>
                <a:rPr lang="en-US" altLang="zh-CN" sz="2000" b="1" i="1"/>
                <a:t>ext</a:t>
              </a:r>
              <a:endParaRPr lang="zh-CN" altLang="en-US" sz="2000" b="1" i="1" dirty="0"/>
            </a:p>
          </p:txBody>
        </p:sp>
        <p:sp>
          <p:nvSpPr>
            <p:cNvPr id="11" name="ísḻîďê">
              <a:extLst>
                <a:ext uri="{FF2B5EF4-FFF2-40B4-BE49-F238E27FC236}">
                  <a16:creationId xmlns:a16="http://schemas.microsoft.com/office/drawing/2014/main" id="{2D61A9A9-B366-42C3-B584-8D3693E91461}"/>
                </a:ext>
              </a:extLst>
            </p:cNvPr>
            <p:cNvSpPr/>
            <p:nvPr/>
          </p:nvSpPr>
          <p:spPr>
            <a:xfrm>
              <a:off x="6033602" y="1363716"/>
              <a:ext cx="2908050" cy="791548"/>
            </a:xfrm>
            <a:custGeom>
              <a:avLst/>
              <a:gdLst>
                <a:gd name="connsiteX0" fmla="*/ 95545 w 2908050"/>
                <a:gd name="connsiteY0" fmla="*/ 0 h 791548"/>
                <a:gd name="connsiteX1" fmla="*/ 2051457 w 2908050"/>
                <a:gd name="connsiteY1" fmla="*/ 0 h 791548"/>
                <a:gd name="connsiteX2" fmla="*/ 2051462 w 2908050"/>
                <a:gd name="connsiteY2" fmla="*/ 1 h 791548"/>
                <a:gd name="connsiteX3" fmla="*/ 2812505 w 2908050"/>
                <a:gd name="connsiteY3" fmla="*/ 1 h 791548"/>
                <a:gd name="connsiteX4" fmla="*/ 2908050 w 2908050"/>
                <a:gd name="connsiteY4" fmla="*/ 95546 h 791548"/>
                <a:gd name="connsiteX5" fmla="*/ 2908050 w 2908050"/>
                <a:gd name="connsiteY5" fmla="*/ 477713 h 791548"/>
                <a:gd name="connsiteX6" fmla="*/ 2812505 w 2908050"/>
                <a:gd name="connsiteY6" fmla="*/ 573258 h 791548"/>
                <a:gd name="connsiteX7" fmla="*/ 413172 w 2908050"/>
                <a:gd name="connsiteY7" fmla="*/ 573258 h 791548"/>
                <a:gd name="connsiteX8" fmla="*/ 189353 w 2908050"/>
                <a:gd name="connsiteY8" fmla="*/ 791548 h 791548"/>
                <a:gd name="connsiteX9" fmla="*/ 189353 w 2908050"/>
                <a:gd name="connsiteY9" fmla="*/ 573258 h 791548"/>
                <a:gd name="connsiteX10" fmla="*/ 95545 w 2908050"/>
                <a:gd name="connsiteY10" fmla="*/ 573258 h 791548"/>
                <a:gd name="connsiteX11" fmla="*/ 0 w 2908050"/>
                <a:gd name="connsiteY11" fmla="*/ 477713 h 791548"/>
                <a:gd name="connsiteX12" fmla="*/ 0 w 2908050"/>
                <a:gd name="connsiteY12" fmla="*/ 477712 h 791548"/>
                <a:gd name="connsiteX13" fmla="*/ 0 w 2908050"/>
                <a:gd name="connsiteY13" fmla="*/ 95546 h 791548"/>
                <a:gd name="connsiteX14" fmla="*/ 0 w 2908050"/>
                <a:gd name="connsiteY14" fmla="*/ 95545 h 791548"/>
                <a:gd name="connsiteX15" fmla="*/ 95545 w 2908050"/>
                <a:gd name="connsiteY15" fmla="*/ 0 h 79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08050" h="791548">
                  <a:moveTo>
                    <a:pt x="95545" y="0"/>
                  </a:moveTo>
                  <a:lnTo>
                    <a:pt x="2051457" y="0"/>
                  </a:lnTo>
                  <a:lnTo>
                    <a:pt x="2051462" y="1"/>
                  </a:lnTo>
                  <a:lnTo>
                    <a:pt x="2812505" y="1"/>
                  </a:lnTo>
                  <a:cubicBezTo>
                    <a:pt x="2865273" y="1"/>
                    <a:pt x="2908050" y="42778"/>
                    <a:pt x="2908050" y="95546"/>
                  </a:cubicBezTo>
                  <a:lnTo>
                    <a:pt x="2908050" y="477713"/>
                  </a:lnTo>
                  <a:cubicBezTo>
                    <a:pt x="2908050" y="530481"/>
                    <a:pt x="2865273" y="573258"/>
                    <a:pt x="2812505" y="573258"/>
                  </a:cubicBezTo>
                  <a:lnTo>
                    <a:pt x="413172" y="573258"/>
                  </a:lnTo>
                  <a:lnTo>
                    <a:pt x="189353" y="791548"/>
                  </a:lnTo>
                  <a:lnTo>
                    <a:pt x="189353" y="573258"/>
                  </a:lnTo>
                  <a:lnTo>
                    <a:pt x="95545" y="573258"/>
                  </a:lnTo>
                  <a:cubicBezTo>
                    <a:pt x="42777" y="573258"/>
                    <a:pt x="0" y="530481"/>
                    <a:pt x="0" y="477713"/>
                  </a:cubicBezTo>
                  <a:lnTo>
                    <a:pt x="0" y="477712"/>
                  </a:lnTo>
                  <a:lnTo>
                    <a:pt x="0" y="95546"/>
                  </a:lnTo>
                  <a:lnTo>
                    <a:pt x="0" y="95545"/>
                  </a:lnTo>
                  <a:cubicBezTo>
                    <a:pt x="0" y="42777"/>
                    <a:pt x="42777" y="0"/>
                    <a:pt x="9554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rmAutofit/>
            </a:bodyPr>
            <a:lstStyle/>
            <a:p>
              <a:pPr algn="ctr">
                <a:lnSpc>
                  <a:spcPct val="150000"/>
                </a:lnSpc>
              </a:pPr>
              <a:r>
                <a:rPr lang="en-US" altLang="zh-CN" sz="2000" b="1" i="1"/>
                <a:t>T</a:t>
              </a:r>
              <a:r>
                <a:rPr lang="en-US" altLang="zh-CN" sz="100" b="1" i="1"/>
                <a:t> </a:t>
              </a:r>
              <a:r>
                <a:rPr lang="en-US" altLang="zh-CN" sz="2000" b="1" i="1"/>
                <a:t>ext</a:t>
              </a:r>
              <a:endParaRPr lang="zh-CN" altLang="en-US" sz="2000" b="1" i="1" dirty="0"/>
            </a:p>
          </p:txBody>
        </p:sp>
        <p:sp>
          <p:nvSpPr>
            <p:cNvPr id="12" name="íṥľiḋé">
              <a:extLst>
                <a:ext uri="{FF2B5EF4-FFF2-40B4-BE49-F238E27FC236}">
                  <a16:creationId xmlns:a16="http://schemas.microsoft.com/office/drawing/2014/main" id="{3CDE1BF5-9BE6-4AB9-AEED-07F2B28F5B4B}"/>
                </a:ext>
              </a:extLst>
            </p:cNvPr>
            <p:cNvSpPr/>
            <p:nvPr/>
          </p:nvSpPr>
          <p:spPr>
            <a:xfrm>
              <a:off x="6600910" y="2296188"/>
              <a:ext cx="2908050" cy="792599"/>
            </a:xfrm>
            <a:custGeom>
              <a:avLst/>
              <a:gdLst>
                <a:gd name="connsiteX0" fmla="*/ 95545 w 2908050"/>
                <a:gd name="connsiteY0" fmla="*/ 0 h 792599"/>
                <a:gd name="connsiteX1" fmla="*/ 1360539 w 2908050"/>
                <a:gd name="connsiteY1" fmla="*/ 0 h 792599"/>
                <a:gd name="connsiteX2" fmla="*/ 1380436 w 2908050"/>
                <a:gd name="connsiteY2" fmla="*/ 4017 h 792599"/>
                <a:gd name="connsiteX3" fmla="*/ 2812505 w 2908050"/>
                <a:gd name="connsiteY3" fmla="*/ 4017 h 792599"/>
                <a:gd name="connsiteX4" fmla="*/ 2908050 w 2908050"/>
                <a:gd name="connsiteY4" fmla="*/ 99562 h 792599"/>
                <a:gd name="connsiteX5" fmla="*/ 2908050 w 2908050"/>
                <a:gd name="connsiteY5" fmla="*/ 481729 h 792599"/>
                <a:gd name="connsiteX6" fmla="*/ 2812505 w 2908050"/>
                <a:gd name="connsiteY6" fmla="*/ 577274 h 792599"/>
                <a:gd name="connsiteX7" fmla="*/ 410133 w 2908050"/>
                <a:gd name="connsiteY7" fmla="*/ 577274 h 792599"/>
                <a:gd name="connsiteX8" fmla="*/ 189353 w 2908050"/>
                <a:gd name="connsiteY8" fmla="*/ 792599 h 792599"/>
                <a:gd name="connsiteX9" fmla="*/ 189353 w 2908050"/>
                <a:gd name="connsiteY9" fmla="*/ 577274 h 792599"/>
                <a:gd name="connsiteX10" fmla="*/ 95545 w 2908050"/>
                <a:gd name="connsiteY10" fmla="*/ 577274 h 792599"/>
                <a:gd name="connsiteX11" fmla="*/ 0 w 2908050"/>
                <a:gd name="connsiteY11" fmla="*/ 481729 h 792599"/>
                <a:gd name="connsiteX12" fmla="*/ 0 w 2908050"/>
                <a:gd name="connsiteY12" fmla="*/ 477712 h 792599"/>
                <a:gd name="connsiteX13" fmla="*/ 0 w 2908050"/>
                <a:gd name="connsiteY13" fmla="*/ 99562 h 792599"/>
                <a:gd name="connsiteX14" fmla="*/ 0 w 2908050"/>
                <a:gd name="connsiteY14" fmla="*/ 95545 h 792599"/>
                <a:gd name="connsiteX15" fmla="*/ 95545 w 2908050"/>
                <a:gd name="connsiteY15" fmla="*/ 0 h 792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08050" h="792599">
                  <a:moveTo>
                    <a:pt x="95545" y="0"/>
                  </a:moveTo>
                  <a:lnTo>
                    <a:pt x="1360539" y="0"/>
                  </a:lnTo>
                  <a:lnTo>
                    <a:pt x="1380436" y="4017"/>
                  </a:lnTo>
                  <a:lnTo>
                    <a:pt x="2812505" y="4017"/>
                  </a:lnTo>
                  <a:cubicBezTo>
                    <a:pt x="2865273" y="4017"/>
                    <a:pt x="2908050" y="46794"/>
                    <a:pt x="2908050" y="99562"/>
                  </a:cubicBezTo>
                  <a:lnTo>
                    <a:pt x="2908050" y="481729"/>
                  </a:lnTo>
                  <a:cubicBezTo>
                    <a:pt x="2908050" y="534497"/>
                    <a:pt x="2865273" y="577274"/>
                    <a:pt x="2812505" y="577274"/>
                  </a:cubicBezTo>
                  <a:lnTo>
                    <a:pt x="410133" y="577274"/>
                  </a:lnTo>
                  <a:lnTo>
                    <a:pt x="189353" y="792599"/>
                  </a:lnTo>
                  <a:lnTo>
                    <a:pt x="189353" y="577274"/>
                  </a:lnTo>
                  <a:lnTo>
                    <a:pt x="95545" y="577274"/>
                  </a:lnTo>
                  <a:cubicBezTo>
                    <a:pt x="42777" y="577274"/>
                    <a:pt x="0" y="534497"/>
                    <a:pt x="0" y="481729"/>
                  </a:cubicBezTo>
                  <a:lnTo>
                    <a:pt x="0" y="477712"/>
                  </a:lnTo>
                  <a:lnTo>
                    <a:pt x="0" y="99562"/>
                  </a:lnTo>
                  <a:lnTo>
                    <a:pt x="0" y="95545"/>
                  </a:lnTo>
                  <a:cubicBezTo>
                    <a:pt x="0" y="42777"/>
                    <a:pt x="42777" y="0"/>
                    <a:pt x="9554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rmAutofit/>
            </a:bodyPr>
            <a:lstStyle/>
            <a:p>
              <a:pPr algn="ctr">
                <a:lnSpc>
                  <a:spcPct val="150000"/>
                </a:lnSpc>
              </a:pPr>
              <a:r>
                <a:rPr lang="en-US" altLang="zh-CN" sz="2000" b="1" i="1"/>
                <a:t>T</a:t>
              </a:r>
              <a:r>
                <a:rPr lang="en-US" altLang="zh-CN" sz="100" b="1" i="1"/>
                <a:t> </a:t>
              </a:r>
              <a:r>
                <a:rPr lang="en-US" altLang="zh-CN" sz="2000" b="1" i="1"/>
                <a:t>ext</a:t>
              </a:r>
              <a:endParaRPr lang="zh-CN" altLang="en-US" sz="2000" b="1" i="1" dirty="0"/>
            </a:p>
          </p:txBody>
        </p:sp>
        <p:sp>
          <p:nvSpPr>
            <p:cNvPr id="13" name="ïṣ1îḋè">
              <a:extLst>
                <a:ext uri="{FF2B5EF4-FFF2-40B4-BE49-F238E27FC236}">
                  <a16:creationId xmlns:a16="http://schemas.microsoft.com/office/drawing/2014/main" id="{0B643E0E-0817-44C9-A285-6991CD924643}"/>
                </a:ext>
              </a:extLst>
            </p:cNvPr>
            <p:cNvSpPr txBox="1"/>
            <p:nvPr/>
          </p:nvSpPr>
          <p:spPr>
            <a:xfrm>
              <a:off x="674688" y="5315741"/>
              <a:ext cx="10845800" cy="831059"/>
            </a:xfrm>
            <a:prstGeom prst="rect">
              <a:avLst/>
            </a:prstGeom>
            <a:noFill/>
            <a:ln>
              <a:noFill/>
            </a:ln>
          </p:spPr>
          <p:txBody>
            <a:bodyPr wrap="square" lIns="91440" tIns="45720" rIns="91440" bIns="45720" anchor="ctr" anchorCtr="0">
              <a:normAutofit/>
            </a:bodyPr>
            <a:lstStyle/>
            <a:p>
              <a:pPr algn="ctr">
                <a:buSzPct val="25000"/>
              </a:pPr>
              <a:r>
                <a:rPr lang="en-US" sz="2000" b="1" i="1" dirty="0"/>
                <a:t>Unified </a:t>
              </a:r>
              <a:r>
                <a:rPr lang="en-US" sz="2000" b="1" i="1"/>
                <a:t>fonts ma</a:t>
              </a:r>
              <a:r>
                <a:rPr lang="en-US" sz="100" b="1" i="1"/>
                <a:t> </a:t>
              </a:r>
              <a:r>
                <a:rPr lang="en-US" sz="2000" b="1" i="1"/>
                <a:t>ke </a:t>
              </a:r>
              <a:r>
                <a:rPr lang="en-US" sz="2000" b="1" i="1" dirty="0"/>
                <a:t>reading more fluent.</a:t>
              </a:r>
            </a:p>
          </p:txBody>
        </p:sp>
        <p:sp>
          <p:nvSpPr>
            <p:cNvPr id="14" name="iSļíḍè">
              <a:extLst>
                <a:ext uri="{FF2B5EF4-FFF2-40B4-BE49-F238E27FC236}">
                  <a16:creationId xmlns:a16="http://schemas.microsoft.com/office/drawing/2014/main" id="{41BFFE71-5E06-4686-AEFA-75ADDA3A1E72}"/>
                </a:ext>
              </a:extLst>
            </p:cNvPr>
            <p:cNvSpPr/>
            <p:nvPr/>
          </p:nvSpPr>
          <p:spPr>
            <a:xfrm>
              <a:off x="3898899" y="2961099"/>
              <a:ext cx="1692191" cy="792599"/>
            </a:xfrm>
            <a:custGeom>
              <a:avLst/>
              <a:gdLst>
                <a:gd name="connsiteX0" fmla="*/ 95545 w 2908050"/>
                <a:gd name="connsiteY0" fmla="*/ 0 h 792599"/>
                <a:gd name="connsiteX1" fmla="*/ 2812505 w 2908050"/>
                <a:gd name="connsiteY1" fmla="*/ 0 h 792599"/>
                <a:gd name="connsiteX2" fmla="*/ 2908050 w 2908050"/>
                <a:gd name="connsiteY2" fmla="*/ 95545 h 792599"/>
                <a:gd name="connsiteX3" fmla="*/ 2908050 w 2908050"/>
                <a:gd name="connsiteY3" fmla="*/ 477712 h 792599"/>
                <a:gd name="connsiteX4" fmla="*/ 2812505 w 2908050"/>
                <a:gd name="connsiteY4" fmla="*/ 573257 h 792599"/>
                <a:gd name="connsiteX5" fmla="*/ 2718697 w 2908050"/>
                <a:gd name="connsiteY5" fmla="*/ 573257 h 792599"/>
                <a:gd name="connsiteX6" fmla="*/ 2718697 w 2908050"/>
                <a:gd name="connsiteY6" fmla="*/ 792599 h 792599"/>
                <a:gd name="connsiteX7" fmla="*/ 2493800 w 2908050"/>
                <a:gd name="connsiteY7" fmla="*/ 573257 h 792599"/>
                <a:gd name="connsiteX8" fmla="*/ 95545 w 2908050"/>
                <a:gd name="connsiteY8" fmla="*/ 573257 h 792599"/>
                <a:gd name="connsiteX9" fmla="*/ 0 w 2908050"/>
                <a:gd name="connsiteY9" fmla="*/ 477712 h 792599"/>
                <a:gd name="connsiteX10" fmla="*/ 0 w 2908050"/>
                <a:gd name="connsiteY10" fmla="*/ 95545 h 792599"/>
                <a:gd name="connsiteX11" fmla="*/ 95545 w 2908050"/>
                <a:gd name="connsiteY11" fmla="*/ 0 h 792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08050" h="792599">
                  <a:moveTo>
                    <a:pt x="95545" y="0"/>
                  </a:moveTo>
                  <a:lnTo>
                    <a:pt x="2812505" y="0"/>
                  </a:lnTo>
                  <a:cubicBezTo>
                    <a:pt x="2865273" y="0"/>
                    <a:pt x="2908050" y="42777"/>
                    <a:pt x="2908050" y="95545"/>
                  </a:cubicBezTo>
                  <a:lnTo>
                    <a:pt x="2908050" y="477712"/>
                  </a:lnTo>
                  <a:cubicBezTo>
                    <a:pt x="2908050" y="530480"/>
                    <a:pt x="2865273" y="573257"/>
                    <a:pt x="2812505" y="573257"/>
                  </a:cubicBezTo>
                  <a:lnTo>
                    <a:pt x="2718697" y="573257"/>
                  </a:lnTo>
                  <a:lnTo>
                    <a:pt x="2718697" y="792599"/>
                  </a:lnTo>
                  <a:lnTo>
                    <a:pt x="2493800" y="573257"/>
                  </a:lnTo>
                  <a:lnTo>
                    <a:pt x="95545" y="573257"/>
                  </a:lnTo>
                  <a:cubicBezTo>
                    <a:pt x="42777" y="573257"/>
                    <a:pt x="0" y="530480"/>
                    <a:pt x="0" y="477712"/>
                  </a:cubicBezTo>
                  <a:lnTo>
                    <a:pt x="0" y="95545"/>
                  </a:lnTo>
                  <a:cubicBezTo>
                    <a:pt x="0" y="42777"/>
                    <a:pt x="42777" y="0"/>
                    <a:pt x="95545" y="0"/>
                  </a:cubicBezTo>
                  <a:close/>
                </a:path>
              </a:pathLst>
            </a:custGeom>
            <a:solidFill>
              <a:schemeClr val="bg1">
                <a:lumMod val="9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rmAutofit/>
            </a:bodyPr>
            <a:lstStyle/>
            <a:p>
              <a:pPr algn="ctr">
                <a:lnSpc>
                  <a:spcPct val="150000"/>
                </a:lnSpc>
              </a:pPr>
              <a:endParaRPr lang="zh-CN" altLang="en-US" sz="2000" b="1" i="1" dirty="0"/>
            </a:p>
          </p:txBody>
        </p:sp>
        <p:sp>
          <p:nvSpPr>
            <p:cNvPr id="15" name="ïṧļïḋê">
              <a:extLst>
                <a:ext uri="{FF2B5EF4-FFF2-40B4-BE49-F238E27FC236}">
                  <a16:creationId xmlns:a16="http://schemas.microsoft.com/office/drawing/2014/main" id="{9807D2DC-0FDE-4DF9-9CDA-F24B997BB5FA}"/>
                </a:ext>
              </a:extLst>
            </p:cNvPr>
            <p:cNvSpPr/>
            <p:nvPr/>
          </p:nvSpPr>
          <p:spPr>
            <a:xfrm>
              <a:off x="3797301" y="1231546"/>
              <a:ext cx="2015046" cy="792599"/>
            </a:xfrm>
            <a:custGeom>
              <a:avLst/>
              <a:gdLst>
                <a:gd name="connsiteX0" fmla="*/ 95545 w 2908050"/>
                <a:gd name="connsiteY0" fmla="*/ 0 h 792599"/>
                <a:gd name="connsiteX1" fmla="*/ 2812505 w 2908050"/>
                <a:gd name="connsiteY1" fmla="*/ 0 h 792599"/>
                <a:gd name="connsiteX2" fmla="*/ 2908050 w 2908050"/>
                <a:gd name="connsiteY2" fmla="*/ 95545 h 792599"/>
                <a:gd name="connsiteX3" fmla="*/ 2908050 w 2908050"/>
                <a:gd name="connsiteY3" fmla="*/ 477712 h 792599"/>
                <a:gd name="connsiteX4" fmla="*/ 2812505 w 2908050"/>
                <a:gd name="connsiteY4" fmla="*/ 573257 h 792599"/>
                <a:gd name="connsiteX5" fmla="*/ 2718697 w 2908050"/>
                <a:gd name="connsiteY5" fmla="*/ 573257 h 792599"/>
                <a:gd name="connsiteX6" fmla="*/ 2718697 w 2908050"/>
                <a:gd name="connsiteY6" fmla="*/ 792599 h 792599"/>
                <a:gd name="connsiteX7" fmla="*/ 2493800 w 2908050"/>
                <a:gd name="connsiteY7" fmla="*/ 573257 h 792599"/>
                <a:gd name="connsiteX8" fmla="*/ 95545 w 2908050"/>
                <a:gd name="connsiteY8" fmla="*/ 573257 h 792599"/>
                <a:gd name="connsiteX9" fmla="*/ 0 w 2908050"/>
                <a:gd name="connsiteY9" fmla="*/ 477712 h 792599"/>
                <a:gd name="connsiteX10" fmla="*/ 0 w 2908050"/>
                <a:gd name="connsiteY10" fmla="*/ 95545 h 792599"/>
                <a:gd name="connsiteX11" fmla="*/ 95545 w 2908050"/>
                <a:gd name="connsiteY11" fmla="*/ 0 h 792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08050" h="792599">
                  <a:moveTo>
                    <a:pt x="95545" y="0"/>
                  </a:moveTo>
                  <a:lnTo>
                    <a:pt x="2812505" y="0"/>
                  </a:lnTo>
                  <a:cubicBezTo>
                    <a:pt x="2865273" y="0"/>
                    <a:pt x="2908050" y="42777"/>
                    <a:pt x="2908050" y="95545"/>
                  </a:cubicBezTo>
                  <a:lnTo>
                    <a:pt x="2908050" y="477712"/>
                  </a:lnTo>
                  <a:cubicBezTo>
                    <a:pt x="2908050" y="530480"/>
                    <a:pt x="2865273" y="573257"/>
                    <a:pt x="2812505" y="573257"/>
                  </a:cubicBezTo>
                  <a:lnTo>
                    <a:pt x="2718697" y="573257"/>
                  </a:lnTo>
                  <a:lnTo>
                    <a:pt x="2718697" y="792599"/>
                  </a:lnTo>
                  <a:lnTo>
                    <a:pt x="2493800" y="573257"/>
                  </a:lnTo>
                  <a:lnTo>
                    <a:pt x="95545" y="573257"/>
                  </a:lnTo>
                  <a:cubicBezTo>
                    <a:pt x="42777" y="573257"/>
                    <a:pt x="0" y="530480"/>
                    <a:pt x="0" y="477712"/>
                  </a:cubicBezTo>
                  <a:lnTo>
                    <a:pt x="0" y="95545"/>
                  </a:lnTo>
                  <a:cubicBezTo>
                    <a:pt x="0" y="42777"/>
                    <a:pt x="42777" y="0"/>
                    <a:pt x="95545" y="0"/>
                  </a:cubicBezTo>
                  <a:close/>
                </a:path>
              </a:pathLst>
            </a:custGeom>
            <a:solidFill>
              <a:schemeClr val="bg1">
                <a:lumMod val="95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rmAutofit/>
            </a:bodyPr>
            <a:lstStyle/>
            <a:p>
              <a:pPr algn="ctr">
                <a:lnSpc>
                  <a:spcPct val="150000"/>
                </a:lnSpc>
              </a:pPr>
              <a:endParaRPr lang="zh-CN" altLang="en-US" sz="2000" b="1" i="1" dirty="0"/>
            </a:p>
          </p:txBody>
        </p:sp>
        <p:sp>
          <p:nvSpPr>
            <p:cNvPr id="16" name="ïŝľiḍé">
              <a:extLst>
                <a:ext uri="{FF2B5EF4-FFF2-40B4-BE49-F238E27FC236}">
                  <a16:creationId xmlns:a16="http://schemas.microsoft.com/office/drawing/2014/main" id="{5FC3A7A6-62DF-459C-AC7B-4FF93557EDA6}"/>
                </a:ext>
              </a:extLst>
            </p:cNvPr>
            <p:cNvSpPr txBox="1"/>
            <p:nvPr/>
          </p:nvSpPr>
          <p:spPr bwMode="auto">
            <a:xfrm>
              <a:off x="673100" y="2816745"/>
              <a:ext cx="3042788" cy="530970"/>
            </a:xfrm>
            <a:prstGeom prst="rect">
              <a:avLst/>
            </a:prstGeom>
            <a:noFill/>
            <a:ln w="9525">
              <a:noFill/>
              <a:miter lim="800000"/>
              <a:headEnd/>
              <a:tailEnd/>
            </a:ln>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b="1"/>
                <a:t>Tex</a:t>
              </a:r>
              <a:r>
                <a:rPr lang="en-US" altLang="zh-CN" sz="100" b="1"/>
                <a:t> </a:t>
              </a:r>
              <a:r>
                <a:rPr lang="en-US" altLang="zh-CN" b="1"/>
                <a:t>t </a:t>
              </a:r>
              <a:r>
                <a:rPr lang="en-US" altLang="zh-CN" b="1" dirty="0"/>
                <a:t>here</a:t>
              </a:r>
            </a:p>
          </p:txBody>
        </p:sp>
        <p:sp>
          <p:nvSpPr>
            <p:cNvPr id="17" name="íṣḻiďè">
              <a:extLst>
                <a:ext uri="{FF2B5EF4-FFF2-40B4-BE49-F238E27FC236}">
                  <a16:creationId xmlns:a16="http://schemas.microsoft.com/office/drawing/2014/main" id="{CDA4C275-E284-4E16-B607-4D8816B8A83C}"/>
                </a:ext>
              </a:extLst>
            </p:cNvPr>
            <p:cNvSpPr/>
            <p:nvPr/>
          </p:nvSpPr>
          <p:spPr bwMode="auto">
            <a:xfrm>
              <a:off x="673100" y="3423914"/>
              <a:ext cx="3042788" cy="827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en-US" altLang="zh-CN" sz="1100" dirty="0"/>
                <a:t>Copy paste fonts</a:t>
              </a:r>
              <a:r>
                <a:rPr lang="en-US" altLang="zh-CN" sz="1100"/>
                <a:t>. Choose</a:t>
              </a:r>
              <a:r>
                <a:rPr lang="en-US" altLang="zh-CN" sz="100"/>
                <a:t> </a:t>
              </a:r>
              <a:r>
                <a:rPr lang="en-US" altLang="zh-CN" sz="1100"/>
                <a:t> </a:t>
              </a:r>
              <a:r>
                <a:rPr lang="en-US" altLang="zh-CN" sz="1100" dirty="0"/>
                <a:t>the only option to retain text.</a:t>
              </a:r>
            </a:p>
            <a:p>
              <a:pPr>
                <a:lnSpc>
                  <a:spcPct val="120000"/>
                </a:lnSpc>
              </a:pPr>
              <a:r>
                <a:rPr lang="en-US" altLang="zh-CN" sz="1100" dirty="0"/>
                <a:t>… …</a:t>
              </a:r>
            </a:p>
          </p:txBody>
        </p:sp>
        <p:sp>
          <p:nvSpPr>
            <p:cNvPr id="18" name="íšḻiḋè">
              <a:extLst>
                <a:ext uri="{FF2B5EF4-FFF2-40B4-BE49-F238E27FC236}">
                  <a16:creationId xmlns:a16="http://schemas.microsoft.com/office/drawing/2014/main" id="{53F34F48-1471-4D9A-8000-86A0347FF6A8}"/>
                </a:ext>
              </a:extLst>
            </p:cNvPr>
            <p:cNvSpPr/>
            <p:nvPr/>
          </p:nvSpPr>
          <p:spPr bwMode="auto">
            <a:xfrm>
              <a:off x="673100" y="4292652"/>
              <a:ext cx="3042788" cy="827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en-US" altLang="zh-CN" sz="1100" dirty="0"/>
                <a:t>Copy paste fonts</a:t>
              </a:r>
              <a:r>
                <a:rPr lang="en-US" altLang="zh-CN" sz="1100"/>
                <a:t>. Choose</a:t>
              </a:r>
              <a:r>
                <a:rPr lang="en-US" altLang="zh-CN" sz="100"/>
                <a:t> </a:t>
              </a:r>
              <a:r>
                <a:rPr lang="en-US" altLang="zh-CN" sz="1100"/>
                <a:t> </a:t>
              </a:r>
              <a:r>
                <a:rPr lang="en-US" altLang="zh-CN" sz="1100" dirty="0"/>
                <a:t>the only option to retain text.</a:t>
              </a:r>
            </a:p>
            <a:p>
              <a:pPr>
                <a:lnSpc>
                  <a:spcPct val="120000"/>
                </a:lnSpc>
              </a:pPr>
              <a:r>
                <a:rPr lang="en-US" altLang="zh-CN" sz="1100" dirty="0"/>
                <a:t>… …</a:t>
              </a:r>
            </a:p>
          </p:txBody>
        </p:sp>
        <p:sp>
          <p:nvSpPr>
            <p:cNvPr id="19" name="ïsḷíďè">
              <a:extLst>
                <a:ext uri="{FF2B5EF4-FFF2-40B4-BE49-F238E27FC236}">
                  <a16:creationId xmlns:a16="http://schemas.microsoft.com/office/drawing/2014/main" id="{C60C834F-5D16-4110-A870-2A9D6A08CE44}"/>
                </a:ext>
              </a:extLst>
            </p:cNvPr>
            <p:cNvSpPr txBox="1"/>
            <p:nvPr/>
          </p:nvSpPr>
          <p:spPr bwMode="auto">
            <a:xfrm>
              <a:off x="8476052" y="2816745"/>
              <a:ext cx="3042788" cy="530970"/>
            </a:xfrm>
            <a:prstGeom prst="rect">
              <a:avLst/>
            </a:prstGeom>
            <a:noFill/>
            <a:ln w="9525">
              <a:noFill/>
              <a:miter lim="800000"/>
              <a:headEnd/>
              <a:tailEnd/>
            </a:ln>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en-US" altLang="zh-CN" b="1"/>
                <a:t>Tex</a:t>
              </a:r>
              <a:r>
                <a:rPr lang="en-US" altLang="zh-CN" sz="100" b="1"/>
                <a:t> </a:t>
              </a:r>
              <a:r>
                <a:rPr lang="en-US" altLang="zh-CN" b="1"/>
                <a:t>t </a:t>
              </a:r>
              <a:r>
                <a:rPr lang="en-US" altLang="zh-CN" b="1" dirty="0"/>
                <a:t>here</a:t>
              </a:r>
            </a:p>
          </p:txBody>
        </p:sp>
        <p:sp>
          <p:nvSpPr>
            <p:cNvPr id="20" name="íSļîḓe">
              <a:extLst>
                <a:ext uri="{FF2B5EF4-FFF2-40B4-BE49-F238E27FC236}">
                  <a16:creationId xmlns:a16="http://schemas.microsoft.com/office/drawing/2014/main" id="{18C6849E-737E-4FDC-9492-2D9089D9D0CD}"/>
                </a:ext>
              </a:extLst>
            </p:cNvPr>
            <p:cNvSpPr/>
            <p:nvPr/>
          </p:nvSpPr>
          <p:spPr bwMode="auto">
            <a:xfrm>
              <a:off x="8476052" y="3423914"/>
              <a:ext cx="3042788" cy="827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20000"/>
                </a:lnSpc>
              </a:pPr>
              <a:r>
                <a:rPr lang="en-US" altLang="zh-CN" sz="1100" dirty="0"/>
                <a:t>Copy paste fonts</a:t>
              </a:r>
              <a:r>
                <a:rPr lang="en-US" altLang="zh-CN" sz="1100"/>
                <a:t>. Choose</a:t>
              </a:r>
              <a:r>
                <a:rPr lang="en-US" altLang="zh-CN" sz="100"/>
                <a:t> </a:t>
              </a:r>
              <a:r>
                <a:rPr lang="en-US" altLang="zh-CN" sz="1100"/>
                <a:t> </a:t>
              </a:r>
              <a:r>
                <a:rPr lang="en-US" altLang="zh-CN" sz="1100" dirty="0"/>
                <a:t>the only option to retain text.</a:t>
              </a:r>
            </a:p>
            <a:p>
              <a:pPr algn="r">
                <a:lnSpc>
                  <a:spcPct val="120000"/>
                </a:lnSpc>
              </a:pPr>
              <a:r>
                <a:rPr lang="en-US" altLang="zh-CN" sz="1100" dirty="0"/>
                <a:t>… …</a:t>
              </a:r>
            </a:p>
          </p:txBody>
        </p:sp>
        <p:sp>
          <p:nvSpPr>
            <p:cNvPr id="21" name="iṩlíḍé">
              <a:extLst>
                <a:ext uri="{FF2B5EF4-FFF2-40B4-BE49-F238E27FC236}">
                  <a16:creationId xmlns:a16="http://schemas.microsoft.com/office/drawing/2014/main" id="{735A1322-C57D-4037-847D-D592C89009B2}"/>
                </a:ext>
              </a:extLst>
            </p:cNvPr>
            <p:cNvSpPr/>
            <p:nvPr/>
          </p:nvSpPr>
          <p:spPr bwMode="auto">
            <a:xfrm>
              <a:off x="8476052" y="4292652"/>
              <a:ext cx="3042788" cy="827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20000"/>
                </a:lnSpc>
              </a:pPr>
              <a:r>
                <a:rPr lang="en-US" altLang="zh-CN" sz="1100" dirty="0"/>
                <a:t>Copy paste fonts</a:t>
              </a:r>
              <a:r>
                <a:rPr lang="en-US" altLang="zh-CN" sz="1100"/>
                <a:t>. Choose</a:t>
              </a:r>
              <a:r>
                <a:rPr lang="en-US" altLang="zh-CN" sz="100"/>
                <a:t> </a:t>
              </a:r>
              <a:r>
                <a:rPr lang="en-US" altLang="zh-CN" sz="1100"/>
                <a:t> </a:t>
              </a:r>
              <a:r>
                <a:rPr lang="en-US" altLang="zh-CN" sz="1100" dirty="0"/>
                <a:t>the only option to retain text.</a:t>
              </a:r>
            </a:p>
            <a:p>
              <a:pPr algn="r">
                <a:lnSpc>
                  <a:spcPct val="120000"/>
                </a:lnSpc>
              </a:pPr>
              <a:r>
                <a:rPr lang="en-US" altLang="zh-CN" sz="1100" dirty="0"/>
                <a:t>… …</a:t>
              </a:r>
            </a:p>
          </p:txBody>
        </p:sp>
      </p:grpSp>
    </p:spTree>
    <p:custDataLst>
      <p:tags r:id="rId2"/>
    </p:custDataLst>
    <p:extLst>
      <p:ext uri="{BB962C8B-B14F-4D97-AF65-F5344CB8AC3E}">
        <p14:creationId xmlns:p14="http://schemas.microsoft.com/office/powerpoint/2010/main" val="9060987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iŝ1îḋé"/>
        <p:cNvGrpSpPr/>
        <p:nvPr/>
      </p:nvGrpSpPr>
      <p:grpSpPr>
        <a:xfrm>
          <a:off x="0" y="0"/>
          <a:ext cx="0" cy="0"/>
          <a:chOff x="0" y="0"/>
          <a:chExt cx="0" cy="0"/>
        </a:xfrm>
      </p:grpSpPr>
      <p:sp>
        <p:nvSpPr>
          <p:cNvPr id="2" name="íS1iďé">
            <a:extLst>
              <a:ext uri="{FF2B5EF4-FFF2-40B4-BE49-F238E27FC236}">
                <a16:creationId xmlns:a16="http://schemas.microsoft.com/office/drawing/2014/main" id="{C1CFD684-7FB0-41C9-80C4-6FFF34B8ED87}"/>
              </a:ext>
            </a:extLst>
          </p:cNvPr>
          <p:cNvSpPr>
            <a:spLocks noGrp="1"/>
          </p:cNvSpPr>
          <p:nvPr>
            <p:ph type="title"/>
          </p:nvPr>
        </p:nvSpPr>
        <p:spPr/>
        <p:txBody>
          <a:bodyPr/>
          <a:lstStyle/>
          <a:p>
            <a:r>
              <a:rPr lang="en-US" altLang="zh-CN" dirty="0"/>
              <a:t>Click </a:t>
            </a:r>
            <a:r>
              <a:rPr lang="en-US" altLang="zh-CN"/>
              <a:t>to edit</a:t>
            </a:r>
            <a:r>
              <a:rPr lang="en-US" altLang="zh-CN" sz="100"/>
              <a:t> </a:t>
            </a:r>
            <a:r>
              <a:rPr lang="en-US" altLang="zh-CN"/>
              <a:t> </a:t>
            </a:r>
            <a:r>
              <a:rPr lang="en-US" altLang="zh-CN" dirty="0"/>
              <a:t>Master title style</a:t>
            </a:r>
            <a:endParaRPr lang="zh-CN" altLang="en-US" dirty="0"/>
          </a:p>
        </p:txBody>
      </p:sp>
      <p:sp>
        <p:nvSpPr>
          <p:cNvPr id="3" name="íŝľide">
            <a:extLst>
              <a:ext uri="{FF2B5EF4-FFF2-40B4-BE49-F238E27FC236}">
                <a16:creationId xmlns:a16="http://schemas.microsoft.com/office/drawing/2014/main" id="{F6AE8605-3074-4997-9568-176C3FA9D453}"/>
              </a:ext>
            </a:extLst>
          </p:cNvPr>
          <p:cNvSpPr>
            <a:spLocks noGrp="1"/>
          </p:cNvSpPr>
          <p:nvPr>
            <p:ph type="ftr" sz="quarter" idx="11"/>
          </p:nvPr>
        </p:nvSpPr>
        <p:spPr/>
        <p:txBody>
          <a:bodyPr/>
          <a:lstStyle/>
          <a:p>
            <a:r>
              <a:rPr lang="zh-CN" altLang="en-US"/>
              <a:t>请在插入菜单</a:t>
            </a:r>
            <a:r>
              <a:rPr lang="en-US" altLang="zh-CN"/>
              <a:t>—</a:t>
            </a:r>
            <a:r>
              <a:rPr lang="en-US" altLang="zh-CN" sz="100"/>
              <a:t> </a:t>
            </a:r>
            <a:r>
              <a:rPr lang="zh-CN" altLang="en-US"/>
              <a:t>页眉和页脚中修改此文本</a:t>
            </a:r>
            <a:endParaRPr lang="zh-CN" altLang="en-US" dirty="0"/>
          </a:p>
        </p:txBody>
      </p:sp>
      <p:sp>
        <p:nvSpPr>
          <p:cNvPr id="4" name="iṡḷïďè">
            <a:extLst>
              <a:ext uri="{FF2B5EF4-FFF2-40B4-BE49-F238E27FC236}">
                <a16:creationId xmlns:a16="http://schemas.microsoft.com/office/drawing/2014/main" id="{1EECFA00-0948-4E9E-8FAF-D98BE85770E2}"/>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grpSp>
        <p:nvGrpSpPr>
          <p:cNvPr id="39" name="ïṣḻïď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ECD2BF0-79CB-4F71-B9B5-5280702B8123}"/>
              </a:ext>
            </a:extLst>
          </p:cNvPr>
          <p:cNvGrpSpPr>
            <a:grpSpLocks noChangeAspect="1"/>
          </p:cNvGrpSpPr>
          <p:nvPr/>
        </p:nvGrpSpPr>
        <p:grpSpPr>
          <a:xfrm>
            <a:off x="669925" y="1416231"/>
            <a:ext cx="10848975" cy="4444638"/>
            <a:chOff x="669925" y="1416231"/>
            <a:chExt cx="10848975" cy="4444638"/>
          </a:xfrm>
        </p:grpSpPr>
        <p:sp>
          <p:nvSpPr>
            <p:cNvPr id="40" name="işļíďé">
              <a:extLst>
                <a:ext uri="{FF2B5EF4-FFF2-40B4-BE49-F238E27FC236}">
                  <a16:creationId xmlns:a16="http://schemas.microsoft.com/office/drawing/2014/main" id="{2F0A7F8D-3B03-45A4-92C0-D75DE6B1DFC5}"/>
                </a:ext>
              </a:extLst>
            </p:cNvPr>
            <p:cNvSpPr/>
            <p:nvPr/>
          </p:nvSpPr>
          <p:spPr>
            <a:xfrm>
              <a:off x="3873680" y="1416231"/>
              <a:ext cx="4444639" cy="4444638"/>
            </a:xfrm>
            <a:prstGeom prst="ellipse">
              <a:avLst/>
            </a:prstGeom>
            <a:gradFill>
              <a:gsLst>
                <a:gs pos="100000">
                  <a:schemeClr val="bg1">
                    <a:lumMod val="75000"/>
                    <a:alpha val="8000"/>
                  </a:schemeClr>
                </a:gs>
                <a:gs pos="0">
                  <a:schemeClr val="bg1">
                    <a:lumMod val="75000"/>
                    <a:alpha val="8000"/>
                  </a:schemeClr>
                </a:gs>
                <a:gs pos="50000">
                  <a:schemeClr val="bg1">
                    <a:lumMod val="75000"/>
                    <a:alpha val="0"/>
                  </a:schemeClr>
                </a:gs>
              </a:gsLst>
              <a:lin ang="0" scaled="1"/>
            </a:gradFill>
            <a:ln w="6350">
              <a:gradFill flip="none" rotWithShape="1">
                <a:gsLst>
                  <a:gs pos="75000">
                    <a:schemeClr val="bg1">
                      <a:lumMod val="75000"/>
                      <a:alpha val="0"/>
                    </a:schemeClr>
                  </a:gs>
                  <a:gs pos="20000">
                    <a:schemeClr val="bg1">
                      <a:lumMod val="65000"/>
                      <a:alpha val="0"/>
                    </a:schemeClr>
                  </a:gs>
                  <a:gs pos="0">
                    <a:schemeClr val="bg1">
                      <a:lumMod val="65000"/>
                    </a:schemeClr>
                  </a:gs>
                  <a:gs pos="100000">
                    <a:schemeClr val="bg1">
                      <a:lumMod val="6500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zh-CN" altLang="en-US"/>
            </a:p>
          </p:txBody>
        </p:sp>
        <p:sp>
          <p:nvSpPr>
            <p:cNvPr id="41" name="íśḻidê">
              <a:extLst>
                <a:ext uri="{FF2B5EF4-FFF2-40B4-BE49-F238E27FC236}">
                  <a16:creationId xmlns:a16="http://schemas.microsoft.com/office/drawing/2014/main" id="{BE83DB3D-E0BC-4CD9-B5D5-104A100E8F71}"/>
                </a:ext>
              </a:extLst>
            </p:cNvPr>
            <p:cNvSpPr/>
            <p:nvPr/>
          </p:nvSpPr>
          <p:spPr>
            <a:xfrm>
              <a:off x="4973270" y="2509451"/>
              <a:ext cx="2245458" cy="2245456"/>
            </a:xfrm>
            <a:prstGeom prst="arc">
              <a:avLst>
                <a:gd name="adj1" fmla="val 10214044"/>
                <a:gd name="adj2" fmla="val 310579"/>
              </a:avLst>
            </a:prstGeom>
            <a:ln w="317500">
              <a:gradFill flip="none" rotWithShape="1">
                <a:gsLst>
                  <a:gs pos="0">
                    <a:schemeClr val="accent1">
                      <a:lumMod val="85000"/>
                    </a:schemeClr>
                  </a:gs>
                  <a:gs pos="100000">
                    <a:schemeClr val="accent1">
                      <a:lumMod val="85000"/>
                      <a:alpha val="0"/>
                    </a:schemeClr>
                  </a:gs>
                </a:gsLst>
                <a:lin ang="0" scaled="1"/>
                <a:tileRect/>
              </a:gradFill>
              <a:headEnd type="triangle" w="sm" len="sm"/>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zh-CN" altLang="en-US"/>
            </a:p>
          </p:txBody>
        </p:sp>
        <p:sp>
          <p:nvSpPr>
            <p:cNvPr id="42" name="ís1iḍe">
              <a:extLst>
                <a:ext uri="{FF2B5EF4-FFF2-40B4-BE49-F238E27FC236}">
                  <a16:creationId xmlns:a16="http://schemas.microsoft.com/office/drawing/2014/main" id="{D04E914A-E4D9-4C58-A59E-5B3733C725A1}"/>
                </a:ext>
              </a:extLst>
            </p:cNvPr>
            <p:cNvSpPr/>
            <p:nvPr/>
          </p:nvSpPr>
          <p:spPr>
            <a:xfrm rot="10800000">
              <a:off x="4973270" y="2509451"/>
              <a:ext cx="2245458" cy="2245456"/>
            </a:xfrm>
            <a:prstGeom prst="arc">
              <a:avLst>
                <a:gd name="adj1" fmla="val 10214044"/>
                <a:gd name="adj2" fmla="val 310579"/>
              </a:avLst>
            </a:prstGeom>
            <a:ln w="317500">
              <a:gradFill flip="none" rotWithShape="1">
                <a:gsLst>
                  <a:gs pos="0">
                    <a:schemeClr val="accent2">
                      <a:lumMod val="85000"/>
                    </a:schemeClr>
                  </a:gs>
                  <a:gs pos="100000">
                    <a:schemeClr val="accent2">
                      <a:lumMod val="85000"/>
                      <a:alpha val="0"/>
                    </a:schemeClr>
                  </a:gs>
                </a:gsLst>
                <a:lin ang="0" scaled="1"/>
                <a:tileRect/>
              </a:gradFill>
              <a:headEnd type="triangle" w="sm" len="sm"/>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3" name="îsliḋê">
              <a:extLst>
                <a:ext uri="{FF2B5EF4-FFF2-40B4-BE49-F238E27FC236}">
                  <a16:creationId xmlns:a16="http://schemas.microsoft.com/office/drawing/2014/main" id="{25D09512-1733-48F2-A69E-AC8B0F7FFF68}"/>
                </a:ext>
              </a:extLst>
            </p:cNvPr>
            <p:cNvSpPr/>
            <p:nvPr/>
          </p:nvSpPr>
          <p:spPr>
            <a:xfrm>
              <a:off x="4973271" y="2509451"/>
              <a:ext cx="2245456" cy="22454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zh-CN" altLang="en-US"/>
            </a:p>
          </p:txBody>
        </p:sp>
        <p:sp>
          <p:nvSpPr>
            <p:cNvPr id="44" name="ï$ḷîḑé">
              <a:extLst>
                <a:ext uri="{FF2B5EF4-FFF2-40B4-BE49-F238E27FC236}">
                  <a16:creationId xmlns:a16="http://schemas.microsoft.com/office/drawing/2014/main" id="{0B8B6AEF-2F15-4178-B9A3-18A0CB852FEF}"/>
                </a:ext>
              </a:extLst>
            </p:cNvPr>
            <p:cNvSpPr/>
            <p:nvPr/>
          </p:nvSpPr>
          <p:spPr>
            <a:xfrm>
              <a:off x="3954161" y="2227832"/>
              <a:ext cx="461088" cy="46108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5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a:t>0</a:t>
              </a:r>
              <a:r>
                <a:rPr lang="en-US" altLang="zh-CN" sz="200" b="1"/>
                <a:t> </a:t>
              </a:r>
              <a:r>
                <a:rPr lang="en-US" altLang="zh-CN" b="1"/>
                <a:t>1</a:t>
              </a:r>
              <a:endParaRPr lang="zh-CN" altLang="en-US" b="1" dirty="0"/>
            </a:p>
          </p:txBody>
        </p:sp>
        <p:grpSp>
          <p:nvGrpSpPr>
            <p:cNvPr id="45" name="îṥ1îďe">
              <a:extLst>
                <a:ext uri="{FF2B5EF4-FFF2-40B4-BE49-F238E27FC236}">
                  <a16:creationId xmlns:a16="http://schemas.microsoft.com/office/drawing/2014/main" id="{25EBB9D5-CC89-46FC-938B-B5946EC01FFE}"/>
                </a:ext>
              </a:extLst>
            </p:cNvPr>
            <p:cNvGrpSpPr/>
            <p:nvPr/>
          </p:nvGrpSpPr>
          <p:grpSpPr>
            <a:xfrm>
              <a:off x="942081" y="2044951"/>
              <a:ext cx="2880985" cy="891197"/>
              <a:chOff x="673099" y="2444186"/>
              <a:chExt cx="3089003" cy="891197"/>
            </a:xfrm>
          </p:grpSpPr>
          <p:sp>
            <p:nvSpPr>
              <p:cNvPr id="71" name="işḻïḓê">
                <a:extLst>
                  <a:ext uri="{FF2B5EF4-FFF2-40B4-BE49-F238E27FC236}">
                    <a16:creationId xmlns:a16="http://schemas.microsoft.com/office/drawing/2014/main" id="{677D5A0B-CFB6-41B8-8A73-9EFB25CB65AD}"/>
                  </a:ext>
                </a:extLst>
              </p:cNvPr>
              <p:cNvSpPr txBox="1"/>
              <p:nvPr/>
            </p:nvSpPr>
            <p:spPr>
              <a:xfrm flipH="1">
                <a:off x="673099" y="2801721"/>
                <a:ext cx="3089002" cy="533662"/>
              </a:xfrm>
              <a:prstGeom prst="rect">
                <a:avLst/>
              </a:prstGeom>
              <a:noFill/>
            </p:spPr>
            <p:txBody>
              <a:bodyPr wrap="square" lIns="91440" tIns="45720" rIns="91440" bIns="4572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50000"/>
                  </a:lnSpc>
                </a:pPr>
                <a:r>
                  <a:rPr lang="en-US" altLang="zh-CN" sz="1050" dirty="0"/>
                  <a:t>Copy paste fonts</a:t>
                </a:r>
                <a:r>
                  <a:rPr lang="en-US" altLang="zh-CN" sz="1050"/>
                  <a:t>. Choos</a:t>
                </a:r>
                <a:r>
                  <a:rPr lang="en-US" altLang="zh-CN" sz="100"/>
                  <a:t> </a:t>
                </a:r>
                <a:r>
                  <a:rPr lang="en-US" altLang="zh-CN" sz="1050"/>
                  <a:t>e </a:t>
                </a:r>
                <a:r>
                  <a:rPr lang="en-US" altLang="zh-CN" sz="1050" dirty="0"/>
                  <a:t>the only option to retain text.</a:t>
                </a:r>
              </a:p>
            </p:txBody>
          </p:sp>
          <p:sp>
            <p:nvSpPr>
              <p:cNvPr id="72" name="íşlîḑê">
                <a:extLst>
                  <a:ext uri="{FF2B5EF4-FFF2-40B4-BE49-F238E27FC236}">
                    <a16:creationId xmlns:a16="http://schemas.microsoft.com/office/drawing/2014/main" id="{9B5F056E-198C-47B3-BC4D-CBD89576D15E}"/>
                  </a:ext>
                </a:extLst>
              </p:cNvPr>
              <p:cNvSpPr/>
              <p:nvPr/>
            </p:nvSpPr>
            <p:spPr>
              <a:xfrm flipH="1">
                <a:off x="673100" y="2444186"/>
                <a:ext cx="3089002" cy="357534"/>
              </a:xfrm>
              <a:prstGeom prst="rect">
                <a:avLst/>
              </a:prstGeom>
              <a:noFill/>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zh-CN" sz="1600" i="1"/>
                  <a:t>Text h</a:t>
                </a:r>
                <a:r>
                  <a:rPr lang="en-US" altLang="zh-CN" sz="100" i="1"/>
                  <a:t> </a:t>
                </a:r>
                <a:r>
                  <a:rPr lang="en-US" altLang="zh-CN" sz="1600" i="1"/>
                  <a:t>ere</a:t>
                </a:r>
                <a:endParaRPr lang="zh-CN" altLang="en-US" sz="1600" i="1" dirty="0"/>
              </a:p>
            </p:txBody>
          </p:sp>
        </p:grpSp>
        <p:sp>
          <p:nvSpPr>
            <p:cNvPr id="46" name="íšlïdê">
              <a:extLst>
                <a:ext uri="{FF2B5EF4-FFF2-40B4-BE49-F238E27FC236}">
                  <a16:creationId xmlns:a16="http://schemas.microsoft.com/office/drawing/2014/main" id="{50777F83-11C2-4DB3-B20B-F741E0A3F29F}"/>
                </a:ext>
              </a:extLst>
            </p:cNvPr>
            <p:cNvSpPr/>
            <p:nvPr/>
          </p:nvSpPr>
          <p:spPr>
            <a:xfrm>
              <a:off x="3677215" y="3375833"/>
              <a:ext cx="461088" cy="46108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5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a:t>0</a:t>
              </a:r>
              <a:r>
                <a:rPr lang="en-US" altLang="zh-CN" sz="200" b="1"/>
                <a:t> </a:t>
              </a:r>
              <a:r>
                <a:rPr lang="en-US" altLang="zh-CN" b="1"/>
                <a:t>2</a:t>
              </a:r>
              <a:endParaRPr lang="zh-CN" altLang="en-US" b="1" dirty="0"/>
            </a:p>
          </p:txBody>
        </p:sp>
        <p:grpSp>
          <p:nvGrpSpPr>
            <p:cNvPr id="47" name="isḷîḑé">
              <a:extLst>
                <a:ext uri="{FF2B5EF4-FFF2-40B4-BE49-F238E27FC236}">
                  <a16:creationId xmlns:a16="http://schemas.microsoft.com/office/drawing/2014/main" id="{F90DC324-5BE6-4423-9F91-9FD495957C82}"/>
                </a:ext>
              </a:extLst>
            </p:cNvPr>
            <p:cNvGrpSpPr/>
            <p:nvPr/>
          </p:nvGrpSpPr>
          <p:grpSpPr>
            <a:xfrm>
              <a:off x="669925" y="3192952"/>
              <a:ext cx="2880985" cy="891197"/>
              <a:chOff x="673099" y="2444186"/>
              <a:chExt cx="3089003" cy="891197"/>
            </a:xfrm>
          </p:grpSpPr>
          <p:sp>
            <p:nvSpPr>
              <p:cNvPr id="69" name="ïṣḷíḑé">
                <a:extLst>
                  <a:ext uri="{FF2B5EF4-FFF2-40B4-BE49-F238E27FC236}">
                    <a16:creationId xmlns:a16="http://schemas.microsoft.com/office/drawing/2014/main" id="{677D5A0B-CFB6-41B8-8A73-9EFB25CB65AD}"/>
                  </a:ext>
                </a:extLst>
              </p:cNvPr>
              <p:cNvSpPr txBox="1"/>
              <p:nvPr/>
            </p:nvSpPr>
            <p:spPr>
              <a:xfrm flipH="1">
                <a:off x="673099" y="2801721"/>
                <a:ext cx="3089002" cy="533662"/>
              </a:xfrm>
              <a:prstGeom prst="rect">
                <a:avLst/>
              </a:prstGeom>
              <a:noFill/>
            </p:spPr>
            <p:txBody>
              <a:bodyPr wrap="square" lIns="91440" tIns="45720" rIns="91440" bIns="4572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50000"/>
                  </a:lnSpc>
                </a:pPr>
                <a:r>
                  <a:rPr lang="en-US" altLang="zh-CN" sz="1050" dirty="0"/>
                  <a:t>Copy paste fonts. Choose the only </a:t>
                </a:r>
                <a:r>
                  <a:rPr lang="en-US" altLang="zh-CN" sz="1050"/>
                  <a:t>option t</a:t>
                </a:r>
                <a:r>
                  <a:rPr lang="en-US" altLang="zh-CN" sz="100"/>
                  <a:t> </a:t>
                </a:r>
                <a:r>
                  <a:rPr lang="en-US" altLang="zh-CN" sz="1050"/>
                  <a:t>o </a:t>
                </a:r>
                <a:r>
                  <a:rPr lang="en-US" altLang="zh-CN" sz="1050" dirty="0"/>
                  <a:t>retain text.</a:t>
                </a:r>
              </a:p>
            </p:txBody>
          </p:sp>
          <p:sp>
            <p:nvSpPr>
              <p:cNvPr id="70" name="ïš1iďè">
                <a:extLst>
                  <a:ext uri="{FF2B5EF4-FFF2-40B4-BE49-F238E27FC236}">
                    <a16:creationId xmlns:a16="http://schemas.microsoft.com/office/drawing/2014/main" id="{9B5F056E-198C-47B3-BC4D-CBD89576D15E}"/>
                  </a:ext>
                </a:extLst>
              </p:cNvPr>
              <p:cNvSpPr/>
              <p:nvPr/>
            </p:nvSpPr>
            <p:spPr>
              <a:xfrm flipH="1">
                <a:off x="673100" y="2444186"/>
                <a:ext cx="3089002" cy="357534"/>
              </a:xfrm>
              <a:prstGeom prst="rect">
                <a:avLst/>
              </a:prstGeom>
              <a:noFill/>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zh-CN" sz="1600" i="1"/>
                  <a:t>Text h</a:t>
                </a:r>
                <a:r>
                  <a:rPr lang="en-US" altLang="zh-CN" sz="100" i="1"/>
                  <a:t> </a:t>
                </a:r>
                <a:r>
                  <a:rPr lang="en-US" altLang="zh-CN" sz="1600" i="1"/>
                  <a:t>ere</a:t>
                </a:r>
                <a:endParaRPr lang="zh-CN" altLang="en-US" sz="1600" i="1" dirty="0"/>
              </a:p>
            </p:txBody>
          </p:sp>
        </p:grpSp>
        <p:sp>
          <p:nvSpPr>
            <p:cNvPr id="48" name="išlîḓè">
              <a:extLst>
                <a:ext uri="{FF2B5EF4-FFF2-40B4-BE49-F238E27FC236}">
                  <a16:creationId xmlns:a16="http://schemas.microsoft.com/office/drawing/2014/main" id="{17ADD1F1-0D1C-406A-A1D3-E5478805B598}"/>
                </a:ext>
              </a:extLst>
            </p:cNvPr>
            <p:cNvSpPr/>
            <p:nvPr/>
          </p:nvSpPr>
          <p:spPr>
            <a:xfrm>
              <a:off x="3954161" y="4523833"/>
              <a:ext cx="461088" cy="46108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5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a:t>0</a:t>
              </a:r>
              <a:r>
                <a:rPr lang="en-US" altLang="zh-CN" sz="200" b="1"/>
                <a:t> </a:t>
              </a:r>
              <a:r>
                <a:rPr lang="en-US" altLang="zh-CN" b="1"/>
                <a:t>3</a:t>
              </a:r>
              <a:endParaRPr lang="zh-CN" altLang="en-US" b="1" dirty="0"/>
            </a:p>
          </p:txBody>
        </p:sp>
        <p:grpSp>
          <p:nvGrpSpPr>
            <p:cNvPr id="49" name="îSḷiḍé">
              <a:extLst>
                <a:ext uri="{FF2B5EF4-FFF2-40B4-BE49-F238E27FC236}">
                  <a16:creationId xmlns:a16="http://schemas.microsoft.com/office/drawing/2014/main" id="{4A8D7DB4-8C06-4F28-BB5D-2BFF80899F4D}"/>
                </a:ext>
              </a:extLst>
            </p:cNvPr>
            <p:cNvGrpSpPr/>
            <p:nvPr/>
          </p:nvGrpSpPr>
          <p:grpSpPr>
            <a:xfrm>
              <a:off x="942081" y="4340952"/>
              <a:ext cx="2880985" cy="891197"/>
              <a:chOff x="673099" y="2444186"/>
              <a:chExt cx="3089003" cy="891197"/>
            </a:xfrm>
          </p:grpSpPr>
          <p:sp>
            <p:nvSpPr>
              <p:cNvPr id="67" name="íšľíḋê">
                <a:extLst>
                  <a:ext uri="{FF2B5EF4-FFF2-40B4-BE49-F238E27FC236}">
                    <a16:creationId xmlns:a16="http://schemas.microsoft.com/office/drawing/2014/main" id="{677D5A0B-CFB6-41B8-8A73-9EFB25CB65AD}"/>
                  </a:ext>
                </a:extLst>
              </p:cNvPr>
              <p:cNvSpPr txBox="1"/>
              <p:nvPr/>
            </p:nvSpPr>
            <p:spPr>
              <a:xfrm flipH="1">
                <a:off x="673099" y="2801721"/>
                <a:ext cx="3089002" cy="533662"/>
              </a:xfrm>
              <a:prstGeom prst="rect">
                <a:avLst/>
              </a:prstGeom>
              <a:noFill/>
            </p:spPr>
            <p:txBody>
              <a:bodyPr wrap="square" lIns="91440" tIns="45720" rIns="91440" bIns="4572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50000"/>
                  </a:lnSpc>
                </a:pPr>
                <a:r>
                  <a:rPr lang="en-US" altLang="zh-CN" sz="1050" dirty="0"/>
                  <a:t>Copy paste fonts. Choose the only </a:t>
                </a:r>
                <a:r>
                  <a:rPr lang="en-US" altLang="zh-CN" sz="1050"/>
                  <a:t>option t</a:t>
                </a:r>
                <a:r>
                  <a:rPr lang="en-US" altLang="zh-CN" sz="100"/>
                  <a:t> </a:t>
                </a:r>
                <a:r>
                  <a:rPr lang="en-US" altLang="zh-CN" sz="1050"/>
                  <a:t>o </a:t>
                </a:r>
                <a:r>
                  <a:rPr lang="en-US" altLang="zh-CN" sz="1050" dirty="0"/>
                  <a:t>retain text.</a:t>
                </a:r>
              </a:p>
            </p:txBody>
          </p:sp>
          <p:sp>
            <p:nvSpPr>
              <p:cNvPr id="68" name="íṥlide">
                <a:extLst>
                  <a:ext uri="{FF2B5EF4-FFF2-40B4-BE49-F238E27FC236}">
                    <a16:creationId xmlns:a16="http://schemas.microsoft.com/office/drawing/2014/main" id="{9B5F056E-198C-47B3-BC4D-CBD89576D15E}"/>
                  </a:ext>
                </a:extLst>
              </p:cNvPr>
              <p:cNvSpPr/>
              <p:nvPr/>
            </p:nvSpPr>
            <p:spPr>
              <a:xfrm flipH="1">
                <a:off x="673100" y="2444186"/>
                <a:ext cx="3089002" cy="357534"/>
              </a:xfrm>
              <a:prstGeom prst="rect">
                <a:avLst/>
              </a:prstGeom>
              <a:noFill/>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zh-CN" sz="1600" i="1"/>
                  <a:t>Text h</a:t>
                </a:r>
                <a:r>
                  <a:rPr lang="en-US" altLang="zh-CN" sz="100" i="1"/>
                  <a:t> </a:t>
                </a:r>
                <a:r>
                  <a:rPr lang="en-US" altLang="zh-CN" sz="1600" i="1"/>
                  <a:t>ere</a:t>
                </a:r>
                <a:endParaRPr lang="zh-CN" altLang="en-US" sz="1600" i="1" dirty="0"/>
              </a:p>
            </p:txBody>
          </p:sp>
        </p:grpSp>
        <p:cxnSp>
          <p:nvCxnSpPr>
            <p:cNvPr id="50" name="işľîďé">
              <a:extLst>
                <a:ext uri="{FF2B5EF4-FFF2-40B4-BE49-F238E27FC236}">
                  <a16:creationId xmlns:a16="http://schemas.microsoft.com/office/drawing/2014/main" id="{DC22FB9E-FE99-4FD0-BC24-D73BBE1C32AE}"/>
                </a:ext>
              </a:extLst>
            </p:cNvPr>
            <p:cNvCxnSpPr/>
            <p:nvPr/>
          </p:nvCxnSpPr>
          <p:spPr>
            <a:xfrm>
              <a:off x="669925" y="3064550"/>
              <a:ext cx="300729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51" name="î$ḻîḓe">
              <a:extLst>
                <a:ext uri="{FF2B5EF4-FFF2-40B4-BE49-F238E27FC236}">
                  <a16:creationId xmlns:a16="http://schemas.microsoft.com/office/drawing/2014/main" id="{CB7EF208-0228-4167-B07C-214251CFADBF}"/>
                </a:ext>
              </a:extLst>
            </p:cNvPr>
            <p:cNvCxnSpPr/>
            <p:nvPr/>
          </p:nvCxnSpPr>
          <p:spPr>
            <a:xfrm>
              <a:off x="669925" y="4212551"/>
              <a:ext cx="300729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52" name="íŝlíḓé">
              <a:extLst>
                <a:ext uri="{FF2B5EF4-FFF2-40B4-BE49-F238E27FC236}">
                  <a16:creationId xmlns:a16="http://schemas.microsoft.com/office/drawing/2014/main" id="{0B8B6AEF-2F15-4178-B9A3-18A0CB852FEF}"/>
                </a:ext>
              </a:extLst>
            </p:cNvPr>
            <p:cNvSpPr/>
            <p:nvPr/>
          </p:nvSpPr>
          <p:spPr>
            <a:xfrm>
              <a:off x="7773576" y="2227832"/>
              <a:ext cx="461088" cy="461086"/>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5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a:t>0</a:t>
              </a:r>
              <a:r>
                <a:rPr lang="en-US" altLang="zh-CN" sz="200" b="1"/>
                <a:t> </a:t>
              </a:r>
              <a:r>
                <a:rPr lang="en-US" altLang="zh-CN" b="1"/>
                <a:t>4</a:t>
              </a:r>
              <a:endParaRPr lang="zh-CN" altLang="en-US" b="1" dirty="0"/>
            </a:p>
          </p:txBody>
        </p:sp>
        <p:grpSp>
          <p:nvGrpSpPr>
            <p:cNvPr id="53" name="ïŝlïďé">
              <a:extLst>
                <a:ext uri="{FF2B5EF4-FFF2-40B4-BE49-F238E27FC236}">
                  <a16:creationId xmlns:a16="http://schemas.microsoft.com/office/drawing/2014/main" id="{CE5BC64E-F847-4DCF-9D6B-E8717907F8EF}"/>
                </a:ext>
              </a:extLst>
            </p:cNvPr>
            <p:cNvGrpSpPr/>
            <p:nvPr/>
          </p:nvGrpSpPr>
          <p:grpSpPr>
            <a:xfrm>
              <a:off x="8365759" y="2044951"/>
              <a:ext cx="2880985" cy="891197"/>
              <a:chOff x="673099" y="2444186"/>
              <a:chExt cx="3089003" cy="891197"/>
            </a:xfrm>
          </p:grpSpPr>
          <p:sp>
            <p:nvSpPr>
              <p:cNvPr id="65" name="iṩļiďè">
                <a:extLst>
                  <a:ext uri="{FF2B5EF4-FFF2-40B4-BE49-F238E27FC236}">
                    <a16:creationId xmlns:a16="http://schemas.microsoft.com/office/drawing/2014/main" id="{677D5A0B-CFB6-41B8-8A73-9EFB25CB65AD}"/>
                  </a:ext>
                </a:extLst>
              </p:cNvPr>
              <p:cNvSpPr txBox="1"/>
              <p:nvPr/>
            </p:nvSpPr>
            <p:spPr>
              <a:xfrm flipH="1">
                <a:off x="673099" y="2801721"/>
                <a:ext cx="3089002" cy="533662"/>
              </a:xfrm>
              <a:prstGeom prst="rect">
                <a:avLst/>
              </a:prstGeom>
              <a:noFill/>
            </p:spPr>
            <p:txBody>
              <a:bodyPr wrap="square" lIns="91440" tIns="45720" rIns="91440" bIns="4572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altLang="zh-CN" sz="1050" dirty="0"/>
                  <a:t>Copy paste fonts. Choose the only </a:t>
                </a:r>
                <a:r>
                  <a:rPr lang="en-US" altLang="zh-CN" sz="1050"/>
                  <a:t>option t</a:t>
                </a:r>
                <a:r>
                  <a:rPr lang="en-US" altLang="zh-CN" sz="100"/>
                  <a:t> </a:t>
                </a:r>
                <a:r>
                  <a:rPr lang="en-US" altLang="zh-CN" sz="1050"/>
                  <a:t>o </a:t>
                </a:r>
                <a:r>
                  <a:rPr lang="en-US" altLang="zh-CN" sz="1050" dirty="0"/>
                  <a:t>retain text.</a:t>
                </a:r>
              </a:p>
            </p:txBody>
          </p:sp>
          <p:sp>
            <p:nvSpPr>
              <p:cNvPr id="66" name="işḻiḍê">
                <a:extLst>
                  <a:ext uri="{FF2B5EF4-FFF2-40B4-BE49-F238E27FC236}">
                    <a16:creationId xmlns:a16="http://schemas.microsoft.com/office/drawing/2014/main" id="{9B5F056E-198C-47B3-BC4D-CBD89576D15E}"/>
                  </a:ext>
                </a:extLst>
              </p:cNvPr>
              <p:cNvSpPr/>
              <p:nvPr/>
            </p:nvSpPr>
            <p:spPr>
              <a:xfrm flipH="1">
                <a:off x="673100" y="2444186"/>
                <a:ext cx="3089002" cy="357534"/>
              </a:xfrm>
              <a:prstGeom prst="rect">
                <a:avLst/>
              </a:prstGeom>
              <a:noFill/>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600" i="1"/>
                  <a:t>Text h</a:t>
                </a:r>
                <a:r>
                  <a:rPr lang="en-US" altLang="zh-CN" sz="100" i="1"/>
                  <a:t> </a:t>
                </a:r>
                <a:r>
                  <a:rPr lang="en-US" altLang="zh-CN" sz="1600" i="1"/>
                  <a:t>ere</a:t>
                </a:r>
                <a:endParaRPr lang="zh-CN" altLang="en-US" sz="1600" i="1" dirty="0"/>
              </a:p>
            </p:txBody>
          </p:sp>
        </p:grpSp>
        <p:sp>
          <p:nvSpPr>
            <p:cNvPr id="54" name="ïs1iḍe">
              <a:extLst>
                <a:ext uri="{FF2B5EF4-FFF2-40B4-BE49-F238E27FC236}">
                  <a16:creationId xmlns:a16="http://schemas.microsoft.com/office/drawing/2014/main" id="{50777F83-11C2-4DB3-B20B-F741E0A3F29F}"/>
                </a:ext>
              </a:extLst>
            </p:cNvPr>
            <p:cNvSpPr/>
            <p:nvPr/>
          </p:nvSpPr>
          <p:spPr>
            <a:xfrm>
              <a:off x="8050522" y="3375833"/>
              <a:ext cx="461088" cy="461086"/>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5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a:t>0</a:t>
              </a:r>
              <a:r>
                <a:rPr lang="en-US" altLang="zh-CN" sz="200" b="1"/>
                <a:t> </a:t>
              </a:r>
              <a:r>
                <a:rPr lang="en-US" altLang="zh-CN" b="1"/>
                <a:t>5</a:t>
              </a:r>
              <a:endParaRPr lang="zh-CN" altLang="en-US" b="1" dirty="0"/>
            </a:p>
          </p:txBody>
        </p:sp>
        <p:grpSp>
          <p:nvGrpSpPr>
            <p:cNvPr id="55" name="ïŝliďé">
              <a:extLst>
                <a:ext uri="{FF2B5EF4-FFF2-40B4-BE49-F238E27FC236}">
                  <a16:creationId xmlns:a16="http://schemas.microsoft.com/office/drawing/2014/main" id="{898198AE-FCDB-4D4B-AAB1-03DD3E107EA5}"/>
                </a:ext>
              </a:extLst>
            </p:cNvPr>
            <p:cNvGrpSpPr/>
            <p:nvPr/>
          </p:nvGrpSpPr>
          <p:grpSpPr>
            <a:xfrm>
              <a:off x="8637915" y="3192952"/>
              <a:ext cx="2880985" cy="891197"/>
              <a:chOff x="673099" y="2444186"/>
              <a:chExt cx="3089003" cy="891197"/>
            </a:xfrm>
          </p:grpSpPr>
          <p:sp>
            <p:nvSpPr>
              <p:cNvPr id="63" name="îṧḷïḋè">
                <a:extLst>
                  <a:ext uri="{FF2B5EF4-FFF2-40B4-BE49-F238E27FC236}">
                    <a16:creationId xmlns:a16="http://schemas.microsoft.com/office/drawing/2014/main" id="{677D5A0B-CFB6-41B8-8A73-9EFB25CB65AD}"/>
                  </a:ext>
                </a:extLst>
              </p:cNvPr>
              <p:cNvSpPr txBox="1"/>
              <p:nvPr/>
            </p:nvSpPr>
            <p:spPr>
              <a:xfrm flipH="1">
                <a:off x="673099" y="2801721"/>
                <a:ext cx="3089002" cy="533662"/>
              </a:xfrm>
              <a:prstGeom prst="rect">
                <a:avLst/>
              </a:prstGeom>
              <a:noFill/>
            </p:spPr>
            <p:txBody>
              <a:bodyPr wrap="square" lIns="91440" tIns="45720" rIns="91440" bIns="4572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altLang="zh-CN" sz="1050" dirty="0"/>
                  <a:t>Copy paste fonts. Choose the only </a:t>
                </a:r>
                <a:r>
                  <a:rPr lang="en-US" altLang="zh-CN" sz="1050"/>
                  <a:t>option t</a:t>
                </a:r>
                <a:r>
                  <a:rPr lang="en-US" altLang="zh-CN" sz="100"/>
                  <a:t> </a:t>
                </a:r>
                <a:r>
                  <a:rPr lang="en-US" altLang="zh-CN" sz="1050"/>
                  <a:t>o </a:t>
                </a:r>
                <a:r>
                  <a:rPr lang="en-US" altLang="zh-CN" sz="1050" dirty="0"/>
                  <a:t>retain text.</a:t>
                </a:r>
              </a:p>
            </p:txBody>
          </p:sp>
          <p:sp>
            <p:nvSpPr>
              <p:cNvPr id="64" name="ïs1ïḍè">
                <a:extLst>
                  <a:ext uri="{FF2B5EF4-FFF2-40B4-BE49-F238E27FC236}">
                    <a16:creationId xmlns:a16="http://schemas.microsoft.com/office/drawing/2014/main" id="{9B5F056E-198C-47B3-BC4D-CBD89576D15E}"/>
                  </a:ext>
                </a:extLst>
              </p:cNvPr>
              <p:cNvSpPr/>
              <p:nvPr/>
            </p:nvSpPr>
            <p:spPr>
              <a:xfrm flipH="1">
                <a:off x="673100" y="2444186"/>
                <a:ext cx="3089002" cy="357534"/>
              </a:xfrm>
              <a:prstGeom prst="rect">
                <a:avLst/>
              </a:prstGeom>
              <a:noFill/>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600" i="1"/>
                  <a:t>Text h</a:t>
                </a:r>
                <a:r>
                  <a:rPr lang="en-US" altLang="zh-CN" sz="100" i="1"/>
                  <a:t> </a:t>
                </a:r>
                <a:r>
                  <a:rPr lang="en-US" altLang="zh-CN" sz="1600" i="1"/>
                  <a:t>ere</a:t>
                </a:r>
                <a:endParaRPr lang="zh-CN" altLang="en-US" sz="1600" i="1" dirty="0"/>
              </a:p>
            </p:txBody>
          </p:sp>
        </p:grpSp>
        <p:sp>
          <p:nvSpPr>
            <p:cNvPr id="56" name="iṡľîḑé">
              <a:extLst>
                <a:ext uri="{FF2B5EF4-FFF2-40B4-BE49-F238E27FC236}">
                  <a16:creationId xmlns:a16="http://schemas.microsoft.com/office/drawing/2014/main" id="{17ADD1F1-0D1C-406A-A1D3-E5478805B598}"/>
                </a:ext>
              </a:extLst>
            </p:cNvPr>
            <p:cNvSpPr/>
            <p:nvPr/>
          </p:nvSpPr>
          <p:spPr>
            <a:xfrm>
              <a:off x="7773576" y="4523833"/>
              <a:ext cx="461088" cy="461086"/>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5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a:t>0</a:t>
              </a:r>
              <a:r>
                <a:rPr lang="en-US" altLang="zh-CN" sz="200" b="1"/>
                <a:t> </a:t>
              </a:r>
              <a:r>
                <a:rPr lang="en-US" altLang="zh-CN" b="1"/>
                <a:t>6</a:t>
              </a:r>
              <a:endParaRPr lang="zh-CN" altLang="en-US" b="1" dirty="0"/>
            </a:p>
          </p:txBody>
        </p:sp>
        <p:grpSp>
          <p:nvGrpSpPr>
            <p:cNvPr id="57" name="íṡlíḑé">
              <a:extLst>
                <a:ext uri="{FF2B5EF4-FFF2-40B4-BE49-F238E27FC236}">
                  <a16:creationId xmlns:a16="http://schemas.microsoft.com/office/drawing/2014/main" id="{D77E4E75-B576-4217-9214-D2F13F27D53F}"/>
                </a:ext>
              </a:extLst>
            </p:cNvPr>
            <p:cNvGrpSpPr/>
            <p:nvPr/>
          </p:nvGrpSpPr>
          <p:grpSpPr>
            <a:xfrm>
              <a:off x="8365759" y="4340952"/>
              <a:ext cx="2880985" cy="891197"/>
              <a:chOff x="673099" y="2444186"/>
              <a:chExt cx="3089003" cy="891197"/>
            </a:xfrm>
          </p:grpSpPr>
          <p:sp>
            <p:nvSpPr>
              <p:cNvPr id="61" name="íşliḋe">
                <a:extLst>
                  <a:ext uri="{FF2B5EF4-FFF2-40B4-BE49-F238E27FC236}">
                    <a16:creationId xmlns:a16="http://schemas.microsoft.com/office/drawing/2014/main" id="{677D5A0B-CFB6-41B8-8A73-9EFB25CB65AD}"/>
                  </a:ext>
                </a:extLst>
              </p:cNvPr>
              <p:cNvSpPr txBox="1"/>
              <p:nvPr/>
            </p:nvSpPr>
            <p:spPr>
              <a:xfrm flipH="1">
                <a:off x="673099" y="2801721"/>
                <a:ext cx="3089002" cy="533662"/>
              </a:xfrm>
              <a:prstGeom prst="rect">
                <a:avLst/>
              </a:prstGeom>
              <a:noFill/>
            </p:spPr>
            <p:txBody>
              <a:bodyPr wrap="square" lIns="91440" tIns="45720" rIns="91440" bIns="4572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altLang="zh-CN" sz="1050" dirty="0"/>
                  <a:t>Copy paste fonts. Choose the only </a:t>
                </a:r>
                <a:r>
                  <a:rPr lang="en-US" altLang="zh-CN" sz="1050"/>
                  <a:t>option t</a:t>
                </a:r>
                <a:r>
                  <a:rPr lang="en-US" altLang="zh-CN" sz="100"/>
                  <a:t> </a:t>
                </a:r>
                <a:r>
                  <a:rPr lang="en-US" altLang="zh-CN" sz="1050"/>
                  <a:t>o </a:t>
                </a:r>
                <a:r>
                  <a:rPr lang="en-US" altLang="zh-CN" sz="1050" dirty="0"/>
                  <a:t>retain text.</a:t>
                </a:r>
              </a:p>
            </p:txBody>
          </p:sp>
          <p:sp>
            <p:nvSpPr>
              <p:cNvPr id="62" name="íşļïḓe">
                <a:extLst>
                  <a:ext uri="{FF2B5EF4-FFF2-40B4-BE49-F238E27FC236}">
                    <a16:creationId xmlns:a16="http://schemas.microsoft.com/office/drawing/2014/main" id="{9B5F056E-198C-47B3-BC4D-CBD89576D15E}"/>
                  </a:ext>
                </a:extLst>
              </p:cNvPr>
              <p:cNvSpPr/>
              <p:nvPr/>
            </p:nvSpPr>
            <p:spPr>
              <a:xfrm flipH="1">
                <a:off x="673100" y="2444186"/>
                <a:ext cx="3089002" cy="357534"/>
              </a:xfrm>
              <a:prstGeom prst="rect">
                <a:avLst/>
              </a:prstGeom>
              <a:noFill/>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600" i="1"/>
                  <a:t>Text h</a:t>
                </a:r>
                <a:r>
                  <a:rPr lang="en-US" altLang="zh-CN" sz="100" i="1"/>
                  <a:t> </a:t>
                </a:r>
                <a:r>
                  <a:rPr lang="en-US" altLang="zh-CN" sz="1600" i="1"/>
                  <a:t>ere</a:t>
                </a:r>
                <a:endParaRPr lang="zh-CN" altLang="en-US" sz="1600" i="1" dirty="0"/>
              </a:p>
            </p:txBody>
          </p:sp>
        </p:grpSp>
        <p:cxnSp>
          <p:nvCxnSpPr>
            <p:cNvPr id="58" name="îṡļîḋe">
              <a:extLst>
                <a:ext uri="{FF2B5EF4-FFF2-40B4-BE49-F238E27FC236}">
                  <a16:creationId xmlns:a16="http://schemas.microsoft.com/office/drawing/2014/main" id="{996D0EC9-976C-4C82-98D2-4321E2A70C7C}"/>
                </a:ext>
              </a:extLst>
            </p:cNvPr>
            <p:cNvCxnSpPr/>
            <p:nvPr/>
          </p:nvCxnSpPr>
          <p:spPr>
            <a:xfrm flipH="1">
              <a:off x="8511610" y="3064550"/>
              <a:ext cx="300729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59" name="ïsļîďe">
              <a:extLst>
                <a:ext uri="{FF2B5EF4-FFF2-40B4-BE49-F238E27FC236}">
                  <a16:creationId xmlns:a16="http://schemas.microsoft.com/office/drawing/2014/main" id="{B79F9E8B-B41F-4342-8E55-7A4ACE23364C}"/>
                </a:ext>
              </a:extLst>
            </p:cNvPr>
            <p:cNvCxnSpPr/>
            <p:nvPr/>
          </p:nvCxnSpPr>
          <p:spPr>
            <a:xfrm flipH="1">
              <a:off x="8511610" y="4212551"/>
              <a:ext cx="300729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60" name="ï$líďè">
              <a:extLst>
                <a:ext uri="{FF2B5EF4-FFF2-40B4-BE49-F238E27FC236}">
                  <a16:creationId xmlns:a16="http://schemas.microsoft.com/office/drawing/2014/main" id="{25D09512-1733-48F2-A69E-AC8B0F7FFF68}"/>
                </a:ext>
              </a:extLst>
            </p:cNvPr>
            <p:cNvSpPr/>
            <p:nvPr/>
          </p:nvSpPr>
          <p:spPr>
            <a:xfrm>
              <a:off x="5574189" y="3119686"/>
              <a:ext cx="1043619" cy="1024984"/>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zh-CN" altLang="en-US"/>
            </a:p>
          </p:txBody>
        </p:sp>
      </p:grpSp>
    </p:spTree>
    <p:custDataLst>
      <p:tags r:id="rId2"/>
    </p:custDataLst>
    <p:extLst>
      <p:ext uri="{BB962C8B-B14F-4D97-AF65-F5344CB8AC3E}">
        <p14:creationId xmlns:p14="http://schemas.microsoft.com/office/powerpoint/2010/main" val="17482709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a:extLst>
              <a:ext uri="{FF2B5EF4-FFF2-40B4-BE49-F238E27FC236}">
                <a16:creationId xmlns:a16="http://schemas.microsoft.com/office/drawing/2014/main" id="{58593D4C-678E-4569-98DD-F7B5F97103F8}"/>
              </a:ext>
            </a:extLst>
          </p:cNvPr>
          <p:cNvSpPr>
            <a:spLocks noGrp="1"/>
          </p:cNvSpPr>
          <p:nvPr>
            <p:ph type="title"/>
          </p:nvPr>
        </p:nvSpPr>
        <p:spPr/>
        <p:txBody>
          <a:bodyPr/>
          <a:lstStyle/>
          <a:p>
            <a:r>
              <a:rPr lang="en-US" altLang="zh-CN" dirty="0"/>
              <a:t>Click to edit </a:t>
            </a:r>
            <a:r>
              <a:rPr lang="en-US" altLang="zh-CN"/>
              <a:t>Master tit</a:t>
            </a:r>
            <a:r>
              <a:rPr lang="en-US" altLang="zh-CN" sz="100"/>
              <a:t> </a:t>
            </a:r>
            <a:r>
              <a:rPr lang="en-US" altLang="zh-CN"/>
              <a:t>le </a:t>
            </a:r>
            <a:r>
              <a:rPr lang="en-US" altLang="zh-CN" dirty="0"/>
              <a:t>style</a:t>
            </a:r>
            <a:endParaRPr lang="zh-CN" altLang="en-US" dirty="0"/>
          </a:p>
        </p:txBody>
      </p:sp>
      <p:sp>
        <p:nvSpPr>
          <p:cNvPr id="3" name="ïsḷíḓe">
            <a:extLst>
              <a:ext uri="{FF2B5EF4-FFF2-40B4-BE49-F238E27FC236}">
                <a16:creationId xmlns:a16="http://schemas.microsoft.com/office/drawing/2014/main" id="{E6434ABE-0BA0-404D-94E6-97CE26C3BDF4}"/>
              </a:ext>
            </a:extLst>
          </p:cNvPr>
          <p:cNvSpPr>
            <a:spLocks noGrp="1"/>
          </p:cNvSpPr>
          <p:nvPr>
            <p:ph type="ftr" sz="quarter" idx="11"/>
          </p:nvPr>
        </p:nvSpPr>
        <p:spPr/>
        <p:txBody>
          <a:bodyPr/>
          <a:lstStyle/>
          <a:p>
            <a:r>
              <a:rPr lang="zh-CN" altLang="en-US"/>
              <a:t>请在插入菜单</a:t>
            </a:r>
            <a:r>
              <a:rPr lang="en-US" altLang="zh-CN"/>
              <a:t>—</a:t>
            </a:r>
            <a:r>
              <a:rPr lang="zh-CN" altLang="en-US"/>
              <a:t>页眉和页脚中</a:t>
            </a:r>
            <a:r>
              <a:rPr lang="zh-CN" altLang="en-US" sz="100"/>
              <a:t> </a:t>
            </a:r>
            <a:r>
              <a:rPr lang="zh-CN" altLang="en-US"/>
              <a:t>修改此文本</a:t>
            </a:r>
            <a:endParaRPr lang="zh-CN" altLang="en-US" dirty="0"/>
          </a:p>
        </p:txBody>
      </p:sp>
      <p:sp>
        <p:nvSpPr>
          <p:cNvPr id="4" name="iṧ1iḓé">
            <a:extLst>
              <a:ext uri="{FF2B5EF4-FFF2-40B4-BE49-F238E27FC236}">
                <a16:creationId xmlns:a16="http://schemas.microsoft.com/office/drawing/2014/main" id="{DB1FA3C8-7A50-44F7-A77C-52771BED6C77}"/>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grpSp>
        <p:nvGrpSpPr>
          <p:cNvPr id="6" name="iŝḻiḋê">
            <a:extLst>
              <a:ext uri="{FF2B5EF4-FFF2-40B4-BE49-F238E27FC236}">
                <a16:creationId xmlns:a16="http://schemas.microsoft.com/office/drawing/2014/main" id="{C06B99FF-3F8B-404E-9444-035384136064}"/>
              </a:ext>
            </a:extLst>
          </p:cNvPr>
          <p:cNvGrpSpPr/>
          <p:nvPr/>
        </p:nvGrpSpPr>
        <p:grpSpPr>
          <a:xfrm>
            <a:off x="4390780" y="1834194"/>
            <a:ext cx="3410441" cy="3608712"/>
            <a:chOff x="4390780" y="1834194"/>
            <a:chExt cx="3410441" cy="3608712"/>
          </a:xfrm>
        </p:grpSpPr>
        <p:sp>
          <p:nvSpPr>
            <p:cNvPr id="19" name="ïS1iḑé">
              <a:extLst>
                <a:ext uri="{FF2B5EF4-FFF2-40B4-BE49-F238E27FC236}">
                  <a16:creationId xmlns:a16="http://schemas.microsoft.com/office/drawing/2014/main" id="{4E264312-54F6-45E0-86FD-4489C5D9C266}"/>
                </a:ext>
              </a:extLst>
            </p:cNvPr>
            <p:cNvSpPr/>
            <p:nvPr/>
          </p:nvSpPr>
          <p:spPr>
            <a:xfrm>
              <a:off x="5782952" y="2328931"/>
              <a:ext cx="1506804" cy="1506804"/>
            </a:xfrm>
            <a:prstGeom prst="roundRect">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t>Te</a:t>
              </a:r>
              <a:r>
                <a:rPr lang="en-US" sz="100"/>
                <a:t> </a:t>
              </a:r>
              <a:r>
                <a:rPr lang="en-US"/>
                <a:t>xt</a:t>
              </a:r>
              <a:endParaRPr dirty="0"/>
            </a:p>
          </p:txBody>
        </p:sp>
        <p:sp>
          <p:nvSpPr>
            <p:cNvPr id="20" name="ïṧḻíḑè">
              <a:extLst>
                <a:ext uri="{FF2B5EF4-FFF2-40B4-BE49-F238E27FC236}">
                  <a16:creationId xmlns:a16="http://schemas.microsoft.com/office/drawing/2014/main" id="{7642317B-66AE-44FC-808E-EECF5A4B4067}"/>
                </a:ext>
              </a:extLst>
            </p:cNvPr>
            <p:cNvSpPr/>
            <p:nvPr/>
          </p:nvSpPr>
          <p:spPr>
            <a:xfrm>
              <a:off x="4899204" y="3091312"/>
              <a:ext cx="1265229" cy="1265229"/>
            </a:xfrm>
            <a:prstGeom prst="roundRect">
              <a:avLst/>
            </a:prstGeom>
            <a:solidFill>
              <a:schemeClr val="bg1">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a:t>Te</a:t>
              </a:r>
              <a:r>
                <a:rPr lang="en-US" altLang="zh-CN" sz="100"/>
                <a:t> </a:t>
              </a:r>
              <a:r>
                <a:rPr lang="en-US" altLang="zh-CN"/>
                <a:t>xt</a:t>
              </a:r>
              <a:endParaRPr lang="en-US" altLang="zh-CN" dirty="0"/>
            </a:p>
          </p:txBody>
        </p:sp>
        <p:sp>
          <p:nvSpPr>
            <p:cNvPr id="21" name="íṧḻiďê">
              <a:extLst>
                <a:ext uri="{FF2B5EF4-FFF2-40B4-BE49-F238E27FC236}">
                  <a16:creationId xmlns:a16="http://schemas.microsoft.com/office/drawing/2014/main" id="{32A30FA9-404F-4CBF-A861-2EF0A010FB1C}"/>
                </a:ext>
              </a:extLst>
            </p:cNvPr>
            <p:cNvSpPr/>
            <p:nvPr/>
          </p:nvSpPr>
          <p:spPr>
            <a:xfrm>
              <a:off x="7306484" y="1834194"/>
              <a:ext cx="494737" cy="494737"/>
            </a:xfrm>
            <a:prstGeom prst="roundRect">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a:t>0</a:t>
              </a:r>
              <a:r>
                <a:rPr lang="en-US" altLang="zh-CN" sz="100"/>
                <a:t> </a:t>
              </a:r>
              <a:r>
                <a:rPr lang="en-US" altLang="zh-CN"/>
                <a:t>1</a:t>
              </a:r>
              <a:endParaRPr dirty="0"/>
            </a:p>
          </p:txBody>
        </p:sp>
        <p:sp>
          <p:nvSpPr>
            <p:cNvPr id="22" name="íṩľiḍe">
              <a:extLst>
                <a:ext uri="{FF2B5EF4-FFF2-40B4-BE49-F238E27FC236}">
                  <a16:creationId xmlns:a16="http://schemas.microsoft.com/office/drawing/2014/main" id="{A734EACA-477F-4BC2-BE89-051D28E27F95}"/>
                </a:ext>
              </a:extLst>
            </p:cNvPr>
            <p:cNvSpPr/>
            <p:nvPr/>
          </p:nvSpPr>
          <p:spPr>
            <a:xfrm>
              <a:off x="4390780" y="2609694"/>
              <a:ext cx="494737" cy="494737"/>
            </a:xfrm>
            <a:prstGeom prst="roundRect">
              <a:avLst/>
            </a:prstGeom>
            <a:solidFill>
              <a:schemeClr val="bg1">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a:t>0</a:t>
              </a:r>
              <a:r>
                <a:rPr lang="en-US" altLang="zh-CN" sz="100"/>
                <a:t> </a:t>
              </a:r>
              <a:r>
                <a:rPr lang="en-US" altLang="zh-CN"/>
                <a:t>2</a:t>
              </a:r>
              <a:endParaRPr dirty="0"/>
            </a:p>
          </p:txBody>
        </p:sp>
        <p:sp>
          <p:nvSpPr>
            <p:cNvPr id="23" name="íśľîďé">
              <a:extLst>
                <a:ext uri="{FF2B5EF4-FFF2-40B4-BE49-F238E27FC236}">
                  <a16:creationId xmlns:a16="http://schemas.microsoft.com/office/drawing/2014/main" id="{57861B7E-06FE-4CEE-B001-753766727B71}"/>
                </a:ext>
              </a:extLst>
            </p:cNvPr>
            <p:cNvSpPr/>
            <p:nvPr/>
          </p:nvSpPr>
          <p:spPr>
            <a:xfrm>
              <a:off x="7099160" y="2176859"/>
              <a:ext cx="345201" cy="358381"/>
            </a:xfrm>
            <a:custGeom>
              <a:avLst/>
              <a:gdLst>
                <a:gd name="connsiteX0" fmla="*/ 323406 w 540544"/>
                <a:gd name="connsiteY0" fmla="*/ 0 h 561182"/>
                <a:gd name="connsiteX1" fmla="*/ 540544 w 540544"/>
                <a:gd name="connsiteY1" fmla="*/ 0 h 561182"/>
                <a:gd name="connsiteX2" fmla="*/ 540544 w 540544"/>
                <a:gd name="connsiteY2" fmla="*/ 239285 h 561182"/>
                <a:gd name="connsiteX3" fmla="*/ 529037 w 540544"/>
                <a:gd name="connsiteY3" fmla="*/ 238125 h 561182"/>
                <a:gd name="connsiteX4" fmla="*/ 279402 w 540544"/>
                <a:gd name="connsiteY4" fmla="*/ 487760 h 561182"/>
                <a:gd name="connsiteX5" fmla="*/ 284474 w 540544"/>
                <a:gd name="connsiteY5" fmla="*/ 538070 h 561182"/>
                <a:gd name="connsiteX6" fmla="*/ 291649 w 540544"/>
                <a:gd name="connsiteY6" fmla="*/ 561182 h 561182"/>
                <a:gd name="connsiteX7" fmla="*/ 0 w 540544"/>
                <a:gd name="connsiteY7" fmla="*/ 561182 h 561182"/>
                <a:gd name="connsiteX8" fmla="*/ 0 w 540544"/>
                <a:gd name="connsiteY8" fmla="*/ 249200 h 561182"/>
                <a:gd name="connsiteX9" fmla="*/ 24701 w 540544"/>
                <a:gd name="connsiteY9" fmla="*/ 256868 h 561182"/>
                <a:gd name="connsiteX10" fmla="*/ 75011 w 540544"/>
                <a:gd name="connsiteY10" fmla="*/ 261940 h 561182"/>
                <a:gd name="connsiteX11" fmla="*/ 324646 w 540544"/>
                <a:gd name="connsiteY11" fmla="*/ 12305 h 561182"/>
                <a:gd name="connsiteX12" fmla="*/ 323406 w 540544"/>
                <a:gd name="connsiteY12" fmla="*/ 0 h 56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0544" h="561182">
                  <a:moveTo>
                    <a:pt x="323406" y="0"/>
                  </a:moveTo>
                  <a:lnTo>
                    <a:pt x="540544" y="0"/>
                  </a:lnTo>
                  <a:lnTo>
                    <a:pt x="540544" y="239285"/>
                  </a:lnTo>
                  <a:lnTo>
                    <a:pt x="529037" y="238125"/>
                  </a:lnTo>
                  <a:cubicBezTo>
                    <a:pt x="391167" y="238125"/>
                    <a:pt x="279402" y="349890"/>
                    <a:pt x="279402" y="487760"/>
                  </a:cubicBezTo>
                  <a:cubicBezTo>
                    <a:pt x="279402" y="504994"/>
                    <a:pt x="281149" y="521820"/>
                    <a:pt x="284474" y="538070"/>
                  </a:cubicBezTo>
                  <a:lnTo>
                    <a:pt x="291649" y="561182"/>
                  </a:lnTo>
                  <a:lnTo>
                    <a:pt x="0" y="561182"/>
                  </a:lnTo>
                  <a:lnTo>
                    <a:pt x="0" y="249200"/>
                  </a:lnTo>
                  <a:lnTo>
                    <a:pt x="24701" y="256868"/>
                  </a:lnTo>
                  <a:cubicBezTo>
                    <a:pt x="40952" y="260194"/>
                    <a:pt x="57777" y="261940"/>
                    <a:pt x="75011" y="261940"/>
                  </a:cubicBezTo>
                  <a:cubicBezTo>
                    <a:pt x="212881" y="261940"/>
                    <a:pt x="324646" y="150175"/>
                    <a:pt x="324646" y="12305"/>
                  </a:cubicBezTo>
                  <a:lnTo>
                    <a:pt x="323406" y="0"/>
                  </a:lnTo>
                  <a:close/>
                </a:path>
              </a:pathLst>
            </a:cu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4" name="íṧļïde">
              <a:extLst>
                <a:ext uri="{FF2B5EF4-FFF2-40B4-BE49-F238E27FC236}">
                  <a16:creationId xmlns:a16="http://schemas.microsoft.com/office/drawing/2014/main" id="{3A737FDB-FAA5-41DE-BEE0-F3B6BD7FB982}"/>
                </a:ext>
              </a:extLst>
            </p:cNvPr>
            <p:cNvSpPr/>
            <p:nvPr/>
          </p:nvSpPr>
          <p:spPr>
            <a:xfrm>
              <a:off x="6219178" y="3882443"/>
              <a:ext cx="1070579" cy="1070578"/>
            </a:xfrm>
            <a:prstGeom prst="roundRect">
              <a:avLst/>
            </a:prstGeom>
            <a:solidFill>
              <a:schemeClr val="tx1">
                <a:lumMod val="50000"/>
                <a:lumOff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a:t>Te</a:t>
              </a:r>
              <a:r>
                <a:rPr lang="en-US" altLang="zh-CN" sz="100"/>
                <a:t> </a:t>
              </a:r>
              <a:r>
                <a:rPr lang="en-US" altLang="zh-CN"/>
                <a:t>xt</a:t>
              </a:r>
              <a:endParaRPr lang="en-US" altLang="zh-CN" dirty="0"/>
            </a:p>
          </p:txBody>
        </p:sp>
        <p:sp>
          <p:nvSpPr>
            <p:cNvPr id="25" name="íṣļiḍe">
              <a:extLst>
                <a:ext uri="{FF2B5EF4-FFF2-40B4-BE49-F238E27FC236}">
                  <a16:creationId xmlns:a16="http://schemas.microsoft.com/office/drawing/2014/main" id="{880C745A-6DF7-4344-A216-FE9000F3EF7A}"/>
                </a:ext>
              </a:extLst>
            </p:cNvPr>
            <p:cNvSpPr/>
            <p:nvPr/>
          </p:nvSpPr>
          <p:spPr>
            <a:xfrm>
              <a:off x="5716331" y="4940059"/>
              <a:ext cx="502847" cy="502847"/>
            </a:xfrm>
            <a:prstGeom prst="roundRect">
              <a:avLst/>
            </a:prstGeom>
            <a:solidFill>
              <a:schemeClr val="tx1">
                <a:lumMod val="50000"/>
                <a:lumOff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a:t>0</a:t>
              </a:r>
              <a:r>
                <a:rPr lang="en-US" altLang="zh-CN" sz="100"/>
                <a:t> </a:t>
              </a:r>
              <a:r>
                <a:rPr lang="en-US" altLang="zh-CN"/>
                <a:t>3</a:t>
              </a:r>
              <a:endParaRPr dirty="0"/>
            </a:p>
          </p:txBody>
        </p:sp>
        <p:sp>
          <p:nvSpPr>
            <p:cNvPr id="26" name="iŝlïḓê">
              <a:extLst>
                <a:ext uri="{FF2B5EF4-FFF2-40B4-BE49-F238E27FC236}">
                  <a16:creationId xmlns:a16="http://schemas.microsoft.com/office/drawing/2014/main" id="{A1306198-2B50-4F32-8153-BB167DB6A289}"/>
                </a:ext>
              </a:extLst>
            </p:cNvPr>
            <p:cNvSpPr/>
            <p:nvPr/>
          </p:nvSpPr>
          <p:spPr>
            <a:xfrm flipH="1" flipV="1">
              <a:off x="6144664" y="4828974"/>
              <a:ext cx="186794" cy="193925"/>
            </a:xfrm>
            <a:custGeom>
              <a:avLst/>
              <a:gdLst>
                <a:gd name="connsiteX0" fmla="*/ 323406 w 540544"/>
                <a:gd name="connsiteY0" fmla="*/ 0 h 561182"/>
                <a:gd name="connsiteX1" fmla="*/ 540544 w 540544"/>
                <a:gd name="connsiteY1" fmla="*/ 0 h 561182"/>
                <a:gd name="connsiteX2" fmla="*/ 540544 w 540544"/>
                <a:gd name="connsiteY2" fmla="*/ 239285 h 561182"/>
                <a:gd name="connsiteX3" fmla="*/ 529037 w 540544"/>
                <a:gd name="connsiteY3" fmla="*/ 238125 h 561182"/>
                <a:gd name="connsiteX4" fmla="*/ 279402 w 540544"/>
                <a:gd name="connsiteY4" fmla="*/ 487760 h 561182"/>
                <a:gd name="connsiteX5" fmla="*/ 284474 w 540544"/>
                <a:gd name="connsiteY5" fmla="*/ 538070 h 561182"/>
                <a:gd name="connsiteX6" fmla="*/ 291649 w 540544"/>
                <a:gd name="connsiteY6" fmla="*/ 561182 h 561182"/>
                <a:gd name="connsiteX7" fmla="*/ 0 w 540544"/>
                <a:gd name="connsiteY7" fmla="*/ 561182 h 561182"/>
                <a:gd name="connsiteX8" fmla="*/ 0 w 540544"/>
                <a:gd name="connsiteY8" fmla="*/ 249200 h 561182"/>
                <a:gd name="connsiteX9" fmla="*/ 24701 w 540544"/>
                <a:gd name="connsiteY9" fmla="*/ 256868 h 561182"/>
                <a:gd name="connsiteX10" fmla="*/ 75011 w 540544"/>
                <a:gd name="connsiteY10" fmla="*/ 261940 h 561182"/>
                <a:gd name="connsiteX11" fmla="*/ 324646 w 540544"/>
                <a:gd name="connsiteY11" fmla="*/ 12305 h 561182"/>
                <a:gd name="connsiteX12" fmla="*/ 323406 w 540544"/>
                <a:gd name="connsiteY12" fmla="*/ 0 h 56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0544" h="561182">
                  <a:moveTo>
                    <a:pt x="323406" y="0"/>
                  </a:moveTo>
                  <a:lnTo>
                    <a:pt x="540544" y="0"/>
                  </a:lnTo>
                  <a:lnTo>
                    <a:pt x="540544" y="239285"/>
                  </a:lnTo>
                  <a:lnTo>
                    <a:pt x="529037" y="238125"/>
                  </a:lnTo>
                  <a:cubicBezTo>
                    <a:pt x="391167" y="238125"/>
                    <a:pt x="279402" y="349890"/>
                    <a:pt x="279402" y="487760"/>
                  </a:cubicBezTo>
                  <a:cubicBezTo>
                    <a:pt x="279402" y="504994"/>
                    <a:pt x="281149" y="521820"/>
                    <a:pt x="284474" y="538070"/>
                  </a:cubicBezTo>
                  <a:lnTo>
                    <a:pt x="291649" y="561182"/>
                  </a:lnTo>
                  <a:lnTo>
                    <a:pt x="0" y="561182"/>
                  </a:lnTo>
                  <a:lnTo>
                    <a:pt x="0" y="249200"/>
                  </a:lnTo>
                  <a:lnTo>
                    <a:pt x="24701" y="256868"/>
                  </a:lnTo>
                  <a:cubicBezTo>
                    <a:pt x="40952" y="260194"/>
                    <a:pt x="57777" y="261940"/>
                    <a:pt x="75011" y="261940"/>
                  </a:cubicBezTo>
                  <a:cubicBezTo>
                    <a:pt x="212881" y="261940"/>
                    <a:pt x="324646" y="150175"/>
                    <a:pt x="324646" y="12305"/>
                  </a:cubicBezTo>
                  <a:lnTo>
                    <a:pt x="323406" y="0"/>
                  </a:lnTo>
                  <a:close/>
                </a:path>
              </a:pathLst>
            </a:custGeom>
            <a:solidFill>
              <a:schemeClr val="tx1">
                <a:lumMod val="50000"/>
                <a:lumOff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7" name="îšḷiďê">
              <a:extLst>
                <a:ext uri="{FF2B5EF4-FFF2-40B4-BE49-F238E27FC236}">
                  <a16:creationId xmlns:a16="http://schemas.microsoft.com/office/drawing/2014/main" id="{56BC48AD-5BC8-4033-A5A6-21CDE752CB32}"/>
                </a:ext>
              </a:extLst>
            </p:cNvPr>
            <p:cNvSpPr/>
            <p:nvPr/>
          </p:nvSpPr>
          <p:spPr>
            <a:xfrm flipH="1">
              <a:off x="4781475" y="2984419"/>
              <a:ext cx="262829" cy="272864"/>
            </a:xfrm>
            <a:custGeom>
              <a:avLst/>
              <a:gdLst>
                <a:gd name="connsiteX0" fmla="*/ 323406 w 540544"/>
                <a:gd name="connsiteY0" fmla="*/ 0 h 561182"/>
                <a:gd name="connsiteX1" fmla="*/ 540544 w 540544"/>
                <a:gd name="connsiteY1" fmla="*/ 0 h 561182"/>
                <a:gd name="connsiteX2" fmla="*/ 540544 w 540544"/>
                <a:gd name="connsiteY2" fmla="*/ 239285 h 561182"/>
                <a:gd name="connsiteX3" fmla="*/ 529037 w 540544"/>
                <a:gd name="connsiteY3" fmla="*/ 238125 h 561182"/>
                <a:gd name="connsiteX4" fmla="*/ 279402 w 540544"/>
                <a:gd name="connsiteY4" fmla="*/ 487760 h 561182"/>
                <a:gd name="connsiteX5" fmla="*/ 284474 w 540544"/>
                <a:gd name="connsiteY5" fmla="*/ 538070 h 561182"/>
                <a:gd name="connsiteX6" fmla="*/ 291649 w 540544"/>
                <a:gd name="connsiteY6" fmla="*/ 561182 h 561182"/>
                <a:gd name="connsiteX7" fmla="*/ 0 w 540544"/>
                <a:gd name="connsiteY7" fmla="*/ 561182 h 561182"/>
                <a:gd name="connsiteX8" fmla="*/ 0 w 540544"/>
                <a:gd name="connsiteY8" fmla="*/ 249200 h 561182"/>
                <a:gd name="connsiteX9" fmla="*/ 24701 w 540544"/>
                <a:gd name="connsiteY9" fmla="*/ 256868 h 561182"/>
                <a:gd name="connsiteX10" fmla="*/ 75011 w 540544"/>
                <a:gd name="connsiteY10" fmla="*/ 261940 h 561182"/>
                <a:gd name="connsiteX11" fmla="*/ 324646 w 540544"/>
                <a:gd name="connsiteY11" fmla="*/ 12305 h 561182"/>
                <a:gd name="connsiteX12" fmla="*/ 323406 w 540544"/>
                <a:gd name="connsiteY12" fmla="*/ 0 h 56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0544" h="561182">
                  <a:moveTo>
                    <a:pt x="323406" y="0"/>
                  </a:moveTo>
                  <a:lnTo>
                    <a:pt x="540544" y="0"/>
                  </a:lnTo>
                  <a:lnTo>
                    <a:pt x="540544" y="239285"/>
                  </a:lnTo>
                  <a:lnTo>
                    <a:pt x="529037" y="238125"/>
                  </a:lnTo>
                  <a:cubicBezTo>
                    <a:pt x="391167" y="238125"/>
                    <a:pt x="279402" y="349890"/>
                    <a:pt x="279402" y="487760"/>
                  </a:cubicBezTo>
                  <a:cubicBezTo>
                    <a:pt x="279402" y="504994"/>
                    <a:pt x="281149" y="521820"/>
                    <a:pt x="284474" y="538070"/>
                  </a:cubicBezTo>
                  <a:lnTo>
                    <a:pt x="291649" y="561182"/>
                  </a:lnTo>
                  <a:lnTo>
                    <a:pt x="0" y="561182"/>
                  </a:lnTo>
                  <a:lnTo>
                    <a:pt x="0" y="249200"/>
                  </a:lnTo>
                  <a:lnTo>
                    <a:pt x="24701" y="256868"/>
                  </a:lnTo>
                  <a:cubicBezTo>
                    <a:pt x="40952" y="260194"/>
                    <a:pt x="57777" y="261940"/>
                    <a:pt x="75011" y="261940"/>
                  </a:cubicBezTo>
                  <a:cubicBezTo>
                    <a:pt x="212881" y="261940"/>
                    <a:pt x="324646" y="150175"/>
                    <a:pt x="324646" y="12305"/>
                  </a:cubicBezTo>
                  <a:lnTo>
                    <a:pt x="323406" y="0"/>
                  </a:lnTo>
                  <a:close/>
                </a:path>
              </a:pathLst>
            </a:custGeom>
            <a:solidFill>
              <a:schemeClr val="bg1">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cxnSp>
        <p:nvCxnSpPr>
          <p:cNvPr id="8" name="îṧḷiďè">
            <a:extLst>
              <a:ext uri="{FF2B5EF4-FFF2-40B4-BE49-F238E27FC236}">
                <a16:creationId xmlns:a16="http://schemas.microsoft.com/office/drawing/2014/main" id="{4801EAFE-DE62-4662-AA3B-383C1B89DF53}"/>
              </a:ext>
            </a:extLst>
          </p:cNvPr>
          <p:cNvCxnSpPr/>
          <p:nvPr/>
        </p:nvCxnSpPr>
        <p:spPr>
          <a:xfrm>
            <a:off x="7896000" y="2328931"/>
            <a:ext cx="362448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9" name="iśḻíďé">
            <a:extLst>
              <a:ext uri="{FF2B5EF4-FFF2-40B4-BE49-F238E27FC236}">
                <a16:creationId xmlns:a16="http://schemas.microsoft.com/office/drawing/2014/main" id="{17C2B703-05DE-4E8E-99B4-FFC54D5C43CD}"/>
              </a:ext>
            </a:extLst>
          </p:cNvPr>
          <p:cNvCxnSpPr/>
          <p:nvPr/>
        </p:nvCxnSpPr>
        <p:spPr>
          <a:xfrm flipH="1">
            <a:off x="669925" y="3104431"/>
            <a:ext cx="362607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0" name="ïśḷîḓè">
            <a:extLst>
              <a:ext uri="{FF2B5EF4-FFF2-40B4-BE49-F238E27FC236}">
                <a16:creationId xmlns:a16="http://schemas.microsoft.com/office/drawing/2014/main" id="{300974C9-0D87-4452-B2F0-6F23F76B7F78}"/>
              </a:ext>
            </a:extLst>
          </p:cNvPr>
          <p:cNvCxnSpPr/>
          <p:nvPr/>
        </p:nvCxnSpPr>
        <p:spPr>
          <a:xfrm>
            <a:off x="6331458" y="5442906"/>
            <a:ext cx="518903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1" name="íś1ídé">
            <a:extLst>
              <a:ext uri="{FF2B5EF4-FFF2-40B4-BE49-F238E27FC236}">
                <a16:creationId xmlns:a16="http://schemas.microsoft.com/office/drawing/2014/main" id="{9F7D0142-9DBD-423B-9594-9D1AC0E42395}"/>
              </a:ext>
            </a:extLst>
          </p:cNvPr>
          <p:cNvSpPr txBox="1"/>
          <p:nvPr/>
        </p:nvSpPr>
        <p:spPr>
          <a:xfrm>
            <a:off x="7817948" y="1936419"/>
            <a:ext cx="3702539" cy="392512"/>
          </a:xfrm>
          <a:prstGeom prst="rect">
            <a:avLst/>
          </a:prstGeom>
          <a:noFill/>
          <a:ln>
            <a:noFill/>
          </a:ln>
        </p:spPr>
        <p:txBody>
          <a:bodyPr wrap="none" lIns="91440" tIns="45720" rIns="91440" bIns="45720" anchor="ctr" anchorCtr="0">
            <a:normAutofit lnSpcReduction="10000"/>
          </a:bodyPr>
          <a:lstStyle/>
          <a:p>
            <a:pPr>
              <a:buSzPct val="25000"/>
            </a:pPr>
            <a:r>
              <a:rPr lang="de-DE" sz="2000" b="1"/>
              <a:t>Text h</a:t>
            </a:r>
            <a:r>
              <a:rPr lang="de-DE" sz="100" b="1"/>
              <a:t> </a:t>
            </a:r>
            <a:r>
              <a:rPr lang="de-DE" sz="2000" b="1"/>
              <a:t>ere</a:t>
            </a:r>
            <a:endParaRPr lang="de-DE" sz="2000" b="1" dirty="0"/>
          </a:p>
        </p:txBody>
      </p:sp>
      <p:sp>
        <p:nvSpPr>
          <p:cNvPr id="12" name="ïṥļíďê">
            <a:extLst>
              <a:ext uri="{FF2B5EF4-FFF2-40B4-BE49-F238E27FC236}">
                <a16:creationId xmlns:a16="http://schemas.microsoft.com/office/drawing/2014/main" id="{1D8A0C2D-E389-4C64-9B8C-19527C601FD6}"/>
              </a:ext>
            </a:extLst>
          </p:cNvPr>
          <p:cNvSpPr txBox="1"/>
          <p:nvPr/>
        </p:nvSpPr>
        <p:spPr>
          <a:xfrm>
            <a:off x="7817948" y="2328931"/>
            <a:ext cx="3702539" cy="624918"/>
          </a:xfrm>
          <a:prstGeom prst="rect">
            <a:avLst/>
          </a:prstGeom>
          <a:noFill/>
          <a:ln>
            <a:noFill/>
          </a:ln>
        </p:spPr>
        <p:txBody>
          <a:bodyPr lIns="91440" tIns="45720" rIns="91440" bIns="45720" anchor="t" anchorCtr="0">
            <a:noAutofit/>
          </a:bodyPr>
          <a:lstStyle/>
          <a:p>
            <a:pPr>
              <a:lnSpc>
                <a:spcPct val="150000"/>
              </a:lnSpc>
              <a:buSzPct val="25000"/>
            </a:pPr>
            <a:r>
              <a:rPr lang="en-US" sz="1200" dirty="0"/>
              <a:t>Copy paste fonts. Choose the only option </a:t>
            </a:r>
            <a:r>
              <a:rPr lang="en-US" sz="1200"/>
              <a:t>to r</a:t>
            </a:r>
            <a:r>
              <a:rPr lang="en-US" sz="100"/>
              <a:t> </a:t>
            </a:r>
            <a:r>
              <a:rPr lang="en-US" sz="1200"/>
              <a:t>etain </a:t>
            </a:r>
            <a:r>
              <a:rPr lang="en-US" sz="1200" dirty="0"/>
              <a:t>text.…</a:t>
            </a:r>
            <a:r>
              <a:rPr lang="de-DE" sz="1200" dirty="0"/>
              <a:t>..</a:t>
            </a:r>
          </a:p>
        </p:txBody>
      </p:sp>
      <p:sp>
        <p:nvSpPr>
          <p:cNvPr id="13" name="ïsḻïḍe">
            <a:extLst>
              <a:ext uri="{FF2B5EF4-FFF2-40B4-BE49-F238E27FC236}">
                <a16:creationId xmlns:a16="http://schemas.microsoft.com/office/drawing/2014/main" id="{BC083AA5-50C3-4FB1-B85D-0BD76B05F55C}"/>
              </a:ext>
            </a:extLst>
          </p:cNvPr>
          <p:cNvSpPr txBox="1"/>
          <p:nvPr/>
        </p:nvSpPr>
        <p:spPr>
          <a:xfrm>
            <a:off x="6331458" y="5050394"/>
            <a:ext cx="5189030" cy="392512"/>
          </a:xfrm>
          <a:prstGeom prst="rect">
            <a:avLst/>
          </a:prstGeom>
          <a:noFill/>
          <a:ln>
            <a:noFill/>
          </a:ln>
        </p:spPr>
        <p:txBody>
          <a:bodyPr wrap="none" lIns="91440" tIns="45720" rIns="91440" bIns="45720" anchor="ctr" anchorCtr="0">
            <a:normAutofit lnSpcReduction="10000"/>
          </a:bodyPr>
          <a:lstStyle/>
          <a:p>
            <a:pPr>
              <a:buSzPct val="25000"/>
            </a:pPr>
            <a:r>
              <a:rPr lang="de-DE" sz="2000" b="1"/>
              <a:t>Text h</a:t>
            </a:r>
            <a:r>
              <a:rPr lang="de-DE" sz="100" b="1"/>
              <a:t> </a:t>
            </a:r>
            <a:r>
              <a:rPr lang="de-DE" sz="2000" b="1"/>
              <a:t>ere</a:t>
            </a:r>
            <a:endParaRPr lang="de-DE" sz="2000" b="1" dirty="0"/>
          </a:p>
        </p:txBody>
      </p:sp>
      <p:sp>
        <p:nvSpPr>
          <p:cNvPr id="14" name="îṡḷiďe">
            <a:extLst>
              <a:ext uri="{FF2B5EF4-FFF2-40B4-BE49-F238E27FC236}">
                <a16:creationId xmlns:a16="http://schemas.microsoft.com/office/drawing/2014/main" id="{89E2026A-EA61-45C6-ABA0-44FFE83178E3}"/>
              </a:ext>
            </a:extLst>
          </p:cNvPr>
          <p:cNvSpPr txBox="1"/>
          <p:nvPr/>
        </p:nvSpPr>
        <p:spPr>
          <a:xfrm>
            <a:off x="6331458" y="5442906"/>
            <a:ext cx="5189030" cy="624918"/>
          </a:xfrm>
          <a:prstGeom prst="rect">
            <a:avLst/>
          </a:prstGeom>
          <a:noFill/>
          <a:ln>
            <a:noFill/>
          </a:ln>
        </p:spPr>
        <p:txBody>
          <a:bodyPr lIns="91440" tIns="45720" rIns="91440" bIns="45720" anchor="t" anchorCtr="0">
            <a:noAutofit/>
          </a:bodyPr>
          <a:lstStyle/>
          <a:p>
            <a:pPr>
              <a:lnSpc>
                <a:spcPct val="150000"/>
              </a:lnSpc>
              <a:buSzPct val="25000"/>
            </a:pPr>
            <a:r>
              <a:rPr lang="en-US" sz="1200" dirty="0"/>
              <a:t>Copy paste fonts. Choose the only option </a:t>
            </a:r>
            <a:r>
              <a:rPr lang="en-US" sz="1200"/>
              <a:t>to r</a:t>
            </a:r>
            <a:r>
              <a:rPr lang="en-US" sz="100"/>
              <a:t> </a:t>
            </a:r>
            <a:r>
              <a:rPr lang="en-US" sz="1200"/>
              <a:t>etain </a:t>
            </a:r>
            <a:r>
              <a:rPr lang="en-US" sz="1200" dirty="0"/>
              <a:t>text.…</a:t>
            </a:r>
            <a:r>
              <a:rPr lang="de-DE" sz="1200" dirty="0"/>
              <a:t>..</a:t>
            </a:r>
          </a:p>
        </p:txBody>
      </p:sp>
      <p:sp>
        <p:nvSpPr>
          <p:cNvPr id="15" name="iṧḷîďè">
            <a:extLst>
              <a:ext uri="{FF2B5EF4-FFF2-40B4-BE49-F238E27FC236}">
                <a16:creationId xmlns:a16="http://schemas.microsoft.com/office/drawing/2014/main" id="{D69C3092-337B-4A5B-8C88-61C4DF1082F0}"/>
              </a:ext>
            </a:extLst>
          </p:cNvPr>
          <p:cNvSpPr txBox="1"/>
          <p:nvPr/>
        </p:nvSpPr>
        <p:spPr>
          <a:xfrm>
            <a:off x="671513" y="2711919"/>
            <a:ext cx="3624487" cy="392512"/>
          </a:xfrm>
          <a:prstGeom prst="rect">
            <a:avLst/>
          </a:prstGeom>
          <a:noFill/>
          <a:ln>
            <a:noFill/>
          </a:ln>
        </p:spPr>
        <p:txBody>
          <a:bodyPr wrap="none" lIns="91440" tIns="45720" rIns="91440" bIns="45720" anchor="ctr" anchorCtr="0">
            <a:normAutofit lnSpcReduction="10000"/>
          </a:bodyPr>
          <a:lstStyle/>
          <a:p>
            <a:pPr>
              <a:buSzPct val="25000"/>
            </a:pPr>
            <a:r>
              <a:rPr lang="de-DE" sz="2000" b="1"/>
              <a:t>Text h</a:t>
            </a:r>
            <a:r>
              <a:rPr lang="de-DE" sz="100" b="1"/>
              <a:t> </a:t>
            </a:r>
            <a:r>
              <a:rPr lang="de-DE" sz="2000" b="1"/>
              <a:t>ere</a:t>
            </a:r>
            <a:endParaRPr lang="de-DE" sz="2000" b="1" dirty="0"/>
          </a:p>
        </p:txBody>
      </p:sp>
      <p:sp>
        <p:nvSpPr>
          <p:cNvPr id="16" name="iS1íďé">
            <a:extLst>
              <a:ext uri="{FF2B5EF4-FFF2-40B4-BE49-F238E27FC236}">
                <a16:creationId xmlns:a16="http://schemas.microsoft.com/office/drawing/2014/main" id="{CCF292D9-0002-45E7-8859-83C8E0007ADD}"/>
              </a:ext>
            </a:extLst>
          </p:cNvPr>
          <p:cNvSpPr txBox="1"/>
          <p:nvPr/>
        </p:nvSpPr>
        <p:spPr>
          <a:xfrm>
            <a:off x="671513" y="3104431"/>
            <a:ext cx="3624487" cy="624918"/>
          </a:xfrm>
          <a:prstGeom prst="rect">
            <a:avLst/>
          </a:prstGeom>
          <a:noFill/>
          <a:ln>
            <a:noFill/>
          </a:ln>
        </p:spPr>
        <p:txBody>
          <a:bodyPr lIns="91440" tIns="45720" rIns="91440" bIns="45720" anchor="t" anchorCtr="0">
            <a:noAutofit/>
          </a:bodyPr>
          <a:lstStyle/>
          <a:p>
            <a:pPr>
              <a:lnSpc>
                <a:spcPct val="150000"/>
              </a:lnSpc>
              <a:buSzPct val="25000"/>
            </a:pPr>
            <a:r>
              <a:rPr lang="en-US" sz="1200" dirty="0"/>
              <a:t>Copy paste fonts. Choose the only option </a:t>
            </a:r>
            <a:r>
              <a:rPr lang="en-US" sz="1200"/>
              <a:t>to r</a:t>
            </a:r>
            <a:r>
              <a:rPr lang="en-US" sz="100"/>
              <a:t> </a:t>
            </a:r>
            <a:r>
              <a:rPr lang="en-US" sz="1200"/>
              <a:t>etain </a:t>
            </a:r>
            <a:r>
              <a:rPr lang="en-US" sz="1200" dirty="0"/>
              <a:t>text.…</a:t>
            </a:r>
            <a:r>
              <a:rPr lang="de-DE" sz="1200" dirty="0"/>
              <a:t>..</a:t>
            </a:r>
          </a:p>
        </p:txBody>
      </p:sp>
    </p:spTree>
    <p:custDataLst>
      <p:tags r:id="rId2"/>
    </p:custDataLst>
    <p:extLst>
      <p:ext uri="{BB962C8B-B14F-4D97-AF65-F5344CB8AC3E}">
        <p14:creationId xmlns:p14="http://schemas.microsoft.com/office/powerpoint/2010/main" val="24272265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 name="ISLIDE.TEMPLATE" val="#477683"/>
</p:tagLst>
</file>

<file path=ppt/tags/tag10.xml><?xml version="1.0" encoding="utf-8"?>
<p:tagLst xmlns:a="http://schemas.openxmlformats.org/drawingml/2006/main" xmlns:r="http://schemas.openxmlformats.org/officeDocument/2006/relationships" xmlns:p="http://schemas.openxmlformats.org/presentationml/2006/main">
  <p:tag name="ISLIDE.ICON" val="#438747;#438745;"/>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DIAGRAM" val="224344"/>
</p:tagLst>
</file>

<file path=ppt/tags/tag13.xml><?xml version="1.0" encoding="utf-8"?>
<p:tagLst xmlns:a="http://schemas.openxmlformats.org/drawingml/2006/main" xmlns:r="http://schemas.openxmlformats.org/officeDocument/2006/relationships" xmlns:p="http://schemas.openxmlformats.org/presentationml/2006/main">
  <p:tag name="ISLIDE.ICON" val="#438746;"/>
  <p:tag name="ISLIDE.TEMPLAT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ICON" val="#438741;#438744;#438747;#438746;"/>
  <p:tag name="ISLIDE.TEMPLAT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DIAGRAM" val="258398"/>
</p:tagLst>
</file>

<file path=ppt/tags/tag18.xml><?xml version="1.0" encoding="utf-8"?>
<p:tagLst xmlns:a="http://schemas.openxmlformats.org/drawingml/2006/main" xmlns:r="http://schemas.openxmlformats.org/officeDocument/2006/relationships" xmlns:p="http://schemas.openxmlformats.org/presentationml/2006/main">
  <p:tag name="ISLIDE.ICON" val="#438741;#438744;#438745;#438747;#438746;#438750;"/>
  <p:tag name="ISLIDE.TEMPLAT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VECTOR" val="#186220;#186256;#186220;#186256;#186263;#186176;#186235;"/>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ICON" val="#438746;"/>
  <p:tag name="ISLIDE.TEMPLAT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2.xml><?xml version="1.0" encoding="utf-8"?>
<p:tagLst xmlns:a="http://schemas.openxmlformats.org/drawingml/2006/main" xmlns:r="http://schemas.openxmlformats.org/officeDocument/2006/relationships" xmlns:p="http://schemas.openxmlformats.org/presentationml/2006/main">
  <p:tag name="ISLIDE.DIAGRAM" val="241248"/>
</p:tagLst>
</file>

<file path=ppt/tags/tag23.xml><?xml version="1.0" encoding="utf-8"?>
<p:tagLst xmlns:a="http://schemas.openxmlformats.org/drawingml/2006/main" xmlns:r="http://schemas.openxmlformats.org/officeDocument/2006/relationships" xmlns:p="http://schemas.openxmlformats.org/presentationml/2006/main">
  <p:tag name="ISLIDE.ICON" val="#438746;#438744;#438741;"/>
  <p:tag name="ISLIDE.TEMPLATE" val="https://www.islide.cc;"/>
</p:tagLst>
</file>

<file path=ppt/tags/tag24.xml><?xml version="1.0" encoding="utf-8"?>
<p:tagLst xmlns:a="http://schemas.openxmlformats.org/drawingml/2006/main" xmlns:r="http://schemas.openxmlformats.org/officeDocument/2006/relationships" xmlns:p="http://schemas.openxmlformats.org/presentationml/2006/main">
  <p:tag name="ISLIDE.ICON" val="#438741;#438744;#438747;"/>
  <p:tag name="ISLIDE.TEMPLATE" val="https://www.islide.cc;"/>
</p:tagLst>
</file>

<file path=ppt/tags/tag25.xml><?xml version="1.0" encoding="utf-8"?>
<p:tagLst xmlns:a="http://schemas.openxmlformats.org/drawingml/2006/main" xmlns:r="http://schemas.openxmlformats.org/officeDocument/2006/relationships" xmlns:p="http://schemas.openxmlformats.org/presentationml/2006/main">
  <p:tag name="ISLIDE.ICON" val="#438745;#438747;#438746;"/>
  <p:tag name="ISLIDE.TEMPLATE" val="https://www.islide.cc;"/>
</p:tagLst>
</file>

<file path=ppt/tags/tag26.xml><?xml version="1.0" encoding="utf-8"?>
<p:tagLst xmlns:a="http://schemas.openxmlformats.org/drawingml/2006/main" xmlns:r="http://schemas.openxmlformats.org/officeDocument/2006/relationships" xmlns:p="http://schemas.openxmlformats.org/presentationml/2006/main">
  <p:tag name="ISLIDE.ICON" val="#438744;#438747;#438746;#438741;#438750;#438749;"/>
  <p:tag name="ISLIDE.TEMPLATE" val="https://www.islide.cc;"/>
</p:tagLst>
</file>

<file path=ppt/tags/tag2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8.xml><?xml version="1.0" encoding="utf-8"?>
<p:tagLst xmlns:a="http://schemas.openxmlformats.org/drawingml/2006/main" xmlns:r="http://schemas.openxmlformats.org/officeDocument/2006/relationships" xmlns:p="http://schemas.openxmlformats.org/presentationml/2006/main">
  <p:tag name="ISLIDE.DIAGRAM" val="224335"/>
</p:tagLst>
</file>

<file path=ppt/tags/tag2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ISLIDE.DIAGRAM" val="246742"/>
</p:tagLst>
</file>

<file path=ppt/tags/tag31.xml><?xml version="1.0" encoding="utf-8"?>
<p:tagLst xmlns:a="http://schemas.openxmlformats.org/drawingml/2006/main" xmlns:r="http://schemas.openxmlformats.org/officeDocument/2006/relationships" xmlns:p="http://schemas.openxmlformats.org/presentationml/2006/main">
  <p:tag name="ISLIDE.ICON" val="#438744;#438746;"/>
  <p:tag name="ISLIDE.TEMPLATE" val="https://www.islide.cc;"/>
</p:tagLst>
</file>

<file path=ppt/tags/tag32.xml><?xml version="1.0" encoding="utf-8"?>
<p:tagLst xmlns:a="http://schemas.openxmlformats.org/drawingml/2006/main" xmlns:r="http://schemas.openxmlformats.org/officeDocument/2006/relationships" xmlns:p="http://schemas.openxmlformats.org/presentationml/2006/main">
  <p:tag name="ISLIDE.ICON" val="#438745;#438746;"/>
  <p:tag name="ISLIDE.TEMPLATE" val="https://www.islide.cc;"/>
</p:tagLst>
</file>

<file path=ppt/tags/tag33.xml><?xml version="1.0" encoding="utf-8"?>
<p:tagLst xmlns:a="http://schemas.openxmlformats.org/drawingml/2006/main" xmlns:r="http://schemas.openxmlformats.org/officeDocument/2006/relationships" xmlns:p="http://schemas.openxmlformats.org/presentationml/2006/main">
  <p:tag name="ISLIDE.ICON" val="#438741;#438747;#438746;"/>
  <p:tag name="ISLIDE.TEMPLATE" val="https://www.islide.cc;"/>
</p:tagLst>
</file>

<file path=ppt/tags/tag34.xml><?xml version="1.0" encoding="utf-8"?>
<p:tagLst xmlns:a="http://schemas.openxmlformats.org/drawingml/2006/main" xmlns:r="http://schemas.openxmlformats.org/officeDocument/2006/relationships" xmlns:p="http://schemas.openxmlformats.org/presentationml/2006/main">
  <p:tag name="ISLIDE.ICON" val="#438741;#438744;#438747;"/>
  <p:tag name="ISLIDE.TEMPLATE" val="https://www.islide.cc;"/>
</p:tagLst>
</file>

<file path=ppt/tags/tag35.xml><?xml version="1.0" encoding="utf-8"?>
<p:tagLst xmlns:a="http://schemas.openxmlformats.org/drawingml/2006/main" xmlns:r="http://schemas.openxmlformats.org/officeDocument/2006/relationships" xmlns:p="http://schemas.openxmlformats.org/presentationml/2006/main">
  <p:tag name="ISLIDE.ICON" val="#438745;#438747;#438746;#438748;"/>
  <p:tag name="ISLIDE.TEMPLATE" val="https://www.islide.cc;"/>
</p:tagLst>
</file>

<file path=ppt/tags/tag3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39.xml><?xml version="1.0" encoding="utf-8"?>
<p:tagLst xmlns:a="http://schemas.openxmlformats.org/drawingml/2006/main" xmlns:r="http://schemas.openxmlformats.org/officeDocument/2006/relationships" xmlns:p="http://schemas.openxmlformats.org/presentationml/2006/main">
  <p:tag name="ISLIDE.COPYRIGHT" val="iSlide"/>
  <p:tag name="ISLIDE.TEMPLATE" val="https://www.islide.cc;"/>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ICON" val="#438741;#438744;#438747;#438746;"/>
  <p:tag name="ISLIDE.TEMPLAT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DIAGRAM" val="249415"/>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0.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1.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2.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3.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4.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5.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6.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7.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8.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19.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0.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1.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2.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3.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4.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5.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6.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7.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3.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4.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5.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6.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7.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8.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9.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菠萝煮茶</Template>
  <TotalTime>11</TotalTime>
  <Words>2732</Words>
  <Application>Microsoft Office PowerPoint</Application>
  <PresentationFormat>宽屏</PresentationFormat>
  <Paragraphs>413</Paragraphs>
  <Slides>29</Slides>
  <Notes>1</Notes>
  <HiddenSlides>1</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29</vt:i4>
      </vt:variant>
    </vt:vector>
  </HeadingPairs>
  <TitlesOfParts>
    <vt:vector size="36" baseType="lpstr">
      <vt:lpstr>等线</vt:lpstr>
      <vt:lpstr>Microsoft YaHei</vt:lpstr>
      <vt:lpstr>Arial</vt:lpstr>
      <vt:lpstr>Calibri</vt:lpstr>
      <vt:lpstr>Impact</vt:lpstr>
      <vt:lpstr>主题5</vt:lpstr>
      <vt:lpstr>think-cell Slide</vt:lpstr>
      <vt:lpstr>     电子科技大学 学习汇报</vt:lpstr>
      <vt:lpstr>PowerPoint 演示文稿</vt:lpstr>
      <vt:lpstr>Section He ader Here</vt:lpstr>
      <vt:lpstr>Click to edit Mast er title style</vt:lpstr>
      <vt:lpstr>Click to edit  Master title style</vt:lpstr>
      <vt:lpstr>Click to edit  Master title style</vt:lpstr>
      <vt:lpstr>Click to edit  Master title style</vt:lpstr>
      <vt:lpstr>Click to edit  Master title style</vt:lpstr>
      <vt:lpstr>Click to edit Master tit le style</vt:lpstr>
      <vt:lpstr>Click to edit Master tit le style</vt:lpstr>
      <vt:lpstr>Click to edit Master tit le style</vt:lpstr>
      <vt:lpstr>Clic k to edit Master title style</vt:lpstr>
      <vt:lpstr>Clic k to edit Master title style</vt:lpstr>
      <vt:lpstr>Clic k to edit Master title style</vt:lpstr>
      <vt:lpstr>Click to edit Master title sty le</vt:lpstr>
      <vt:lpstr>Click to edit Master title sty le</vt:lpstr>
      <vt:lpstr>Click to edit Master title sty le</vt:lpstr>
      <vt:lpstr>Click to e dit Master title style</vt:lpstr>
      <vt:lpstr>Click to e dit Master title style</vt:lpstr>
      <vt:lpstr>Click to edit Master  title style</vt:lpstr>
      <vt:lpstr>Click to edit Master  title style</vt:lpstr>
      <vt:lpstr>Click to edit Master  title style</vt:lpstr>
      <vt:lpstr>Click to edit Master  title style</vt:lpstr>
      <vt:lpstr>Click to edit Ma ster title style</vt:lpstr>
      <vt:lpstr>Click to edit Ma ster title style</vt:lpstr>
      <vt:lpstr>Click to edit Ma ster title style</vt:lpstr>
      <vt:lpstr>THANKS And Your Slogan  Here</vt:lpstr>
      <vt:lpstr>PowerPoint 演示文稿</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菠萝煮茶</dc:creator>
  <cp:lastModifiedBy>杨 孟衡</cp:lastModifiedBy>
  <cp:revision>6</cp:revision>
  <cp:lastPrinted>2020-09-09T16:00:00Z</cp:lastPrinted>
  <dcterms:created xsi:type="dcterms:W3CDTF">2020-09-09T16:00:00Z</dcterms:created>
  <dcterms:modified xsi:type="dcterms:W3CDTF">2023-07-24T12:1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ae1d0774-2377-4227-bc40-ee4b41b4477b</vt:lpwstr>
  </property>
</Properties>
</file>